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22.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4.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6.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97.xml" ContentType="application/vnd.openxmlformats-officedocument.presentationml.tags+xml"/>
  <Override PartName="/ppt/tags/tag62.xml" ContentType="application/vnd.openxmlformats-officedocument.presentationml.tags+xml"/>
  <Override PartName="/ppt/tags/tag77.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7.xml" ContentType="application/vnd.openxmlformats-officedocument.presentationml.tags+xml"/>
  <Override PartName="/ppt/tags/tag63.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7.xml" ContentType="application/vnd.openxmlformats-officedocument.presentationml.tags+xml"/>
  <Override PartName="/ppt/tags/tag36.xml" ContentType="application/vnd.openxmlformats-officedocument.presentationml.tags+xml"/>
  <Override PartName="/ppt/tags/tag18.xml" ContentType="application/vnd.openxmlformats-officedocument.presentationml.tags+xml"/>
  <Override PartName="/ppt/tags/tag64.xml" ContentType="application/vnd.openxmlformats-officedocument.presentationml.tags+xml"/>
  <Override PartName="/ppt/tags/tag61.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65.xml" ContentType="application/vnd.openxmlformats-officedocument.presentationml.tags+xml"/>
  <Override PartName="/ppt/tags/tag42.xml" ContentType="application/vnd.openxmlformats-officedocument.presentationml.tags+xml"/>
  <Override PartName="/ppt/tags/tag3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60.xml" ContentType="application/vnd.openxmlformats-officedocument.presentationml.tags+xml"/>
  <Override PartName="/ppt/tags/tag59.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 id="2147483700" r:id="rId2"/>
    <p:sldMasterId id="2147483733" r:id="rId3"/>
    <p:sldMasterId id="2147483760" r:id="rId4"/>
  </p:sldMasterIdLst>
  <p:notesMasterIdLst>
    <p:notesMasterId r:id="rId28"/>
  </p:notesMasterIdLst>
  <p:handoutMasterIdLst>
    <p:handoutMasterId r:id="rId29"/>
  </p:handoutMasterIdLst>
  <p:sldIdLst>
    <p:sldId id="257" r:id="rId5"/>
    <p:sldId id="779" r:id="rId6"/>
    <p:sldId id="15394" r:id="rId7"/>
    <p:sldId id="15393" r:id="rId8"/>
    <p:sldId id="1208" r:id="rId9"/>
    <p:sldId id="15395" r:id="rId10"/>
    <p:sldId id="15399" r:id="rId11"/>
    <p:sldId id="15396" r:id="rId12"/>
    <p:sldId id="15398" r:id="rId13"/>
    <p:sldId id="15432" r:id="rId14"/>
    <p:sldId id="2495" r:id="rId15"/>
    <p:sldId id="15400" r:id="rId16"/>
    <p:sldId id="1219" r:id="rId17"/>
    <p:sldId id="1220" r:id="rId18"/>
    <p:sldId id="1214" r:id="rId19"/>
    <p:sldId id="1215" r:id="rId20"/>
    <p:sldId id="1216" r:id="rId21"/>
    <p:sldId id="1217" r:id="rId22"/>
    <p:sldId id="15433" r:id="rId23"/>
    <p:sldId id="1218" r:id="rId24"/>
    <p:sldId id="1221" r:id="rId25"/>
    <p:sldId id="15411" r:id="rId26"/>
    <p:sldId id="258"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19B0068E-58D5-4B0F-BF59-D31288384082}">
          <p14:sldIdLst>
            <p14:sldId id="257"/>
          </p14:sldIdLst>
        </p14:section>
        <p14:section name="Agenda" id="{FF4F9912-A49F-478F-A41C-068A93868F5B}">
          <p14:sldIdLst>
            <p14:sldId id="779"/>
          </p14:sldIdLst>
        </p14:section>
        <p14:section name="Energy transition evolution" id="{29B44EEF-8774-4326-B142-E707E1008405}">
          <p14:sldIdLst>
            <p14:sldId id="15394"/>
            <p14:sldId id="15393"/>
            <p14:sldId id="1208"/>
            <p14:sldId id="15395"/>
          </p14:sldIdLst>
        </p14:section>
        <p14:section name="ES as an enabler" id="{00014863-BDBF-46B8-9144-2F454693B24E}">
          <p14:sldIdLst>
            <p14:sldId id="15399"/>
            <p14:sldId id="15396"/>
            <p14:sldId id="15398"/>
            <p14:sldId id="15432"/>
            <p14:sldId id="2495"/>
          </p14:sldIdLst>
        </p14:section>
        <p14:section name="ES user case primer" id="{276DC6A7-3138-4032-AF7E-732FD5EB53A8}">
          <p14:sldIdLst>
            <p14:sldId id="15400"/>
            <p14:sldId id="1219"/>
            <p14:sldId id="1220"/>
            <p14:sldId id="1214"/>
            <p14:sldId id="1215"/>
            <p14:sldId id="1216"/>
            <p14:sldId id="1217"/>
            <p14:sldId id="15433"/>
            <p14:sldId id="1218"/>
            <p14:sldId id="1221"/>
            <p14:sldId id="15411"/>
          </p14:sldIdLst>
        </p14:section>
        <p14:section name="Ending Slides" id="{E6E5D859-CD81-46E0-8345-BBF2B4F37B63}">
          <p14:sldIdLst>
            <p14:sldId id="258"/>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1039">
          <p15:clr>
            <a:srgbClr val="A4A3A4"/>
          </p15:clr>
        </p15:guide>
        <p15:guide id="4" orient="horz" pos="505">
          <p15:clr>
            <a:srgbClr val="A4A3A4"/>
          </p15:clr>
        </p15:guide>
        <p15:guide id="5" orient="horz" pos="1165">
          <p15:clr>
            <a:srgbClr val="A4A3A4"/>
          </p15:clr>
        </p15:guide>
        <p15:guide id="6" orient="horz" pos="3903">
          <p15:clr>
            <a:srgbClr val="A4A3A4"/>
          </p15:clr>
        </p15:guide>
        <p15:guide id="7" pos="7400">
          <p15:clr>
            <a:srgbClr val="A4A3A4"/>
          </p15:clr>
        </p15:guide>
        <p15:guide id="8" pos="1025">
          <p15:clr>
            <a:srgbClr val="A4A3A4"/>
          </p15:clr>
        </p15:guide>
        <p15:guide id="9" pos="6697">
          <p15:clr>
            <a:srgbClr val="A4A3A4"/>
          </p15:clr>
        </p15:guide>
        <p15:guide id="10" pos="421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7E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7752061-5463-48E6-A297-43E0E91C0267}">
  <a:tblStyle styleId="{0817EA92-75D0-4044-A80A-286907CE0DDB}" styleName="GE Ruled Table">
    <a:wholeTbl>
      <a:tcTxStyle>
        <a:fontRef idx="minor">
          <a:prstClr val="black"/>
        </a:fontRef>
        <a:schemeClr val="accent2"/>
      </a:tcTxStyle>
      <a:tcStyle>
        <a:tcBdr>
          <a:left>
            <a:ln w="0" cmpd="sng">
              <a:solidFill>
                <a:schemeClr val="bg1"/>
              </a:solidFill>
            </a:ln>
          </a:left>
          <a:right>
            <a:ln w="0" cmpd="sng">
              <a:solidFill>
                <a:schemeClr val="bg1"/>
              </a:solidFill>
            </a:ln>
          </a:right>
          <a:top>
            <a:ln w="19050" cmpd="sng">
              <a:gradFill>
                <a:gsLst>
                  <a:gs pos="0">
                    <a:schemeClr val="bg1"/>
                  </a:gs>
                  <a:gs pos="25000">
                    <a:srgbClr val="B7E6FF"/>
                  </a:gs>
                  <a:gs pos="100000">
                    <a:schemeClr val="accent3"/>
                  </a:gs>
                </a:gsLst>
                <a:lin ang="0" scaled="0"/>
              </a:gradFill>
            </a:ln>
          </a:top>
          <a:bottom>
            <a:ln w="0" cmpd="sng">
              <a:solidFill>
                <a:schemeClr val="bg1"/>
              </a:solidFill>
            </a:ln>
          </a:bottom>
          <a:insideH>
            <a:ln w="19050" cmpd="sng">
              <a:gradFill>
                <a:gsLst>
                  <a:gs pos="0">
                    <a:schemeClr val="bg1"/>
                  </a:gs>
                  <a:gs pos="25000">
                    <a:srgbClr val="B7E6FF"/>
                  </a:gs>
                  <a:gs pos="100000">
                    <a:schemeClr val="accent3"/>
                  </a:gs>
                </a:gsLst>
                <a:lin ang="0" scaled="0"/>
              </a:gradFill>
            </a:ln>
          </a:insideH>
          <a:insideV>
            <a:ln w="0" cmpd="sng">
              <a:solidFill>
                <a:schemeClr val="bg1"/>
              </a:solidFill>
            </a:ln>
          </a:insideV>
        </a:tcBdr>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accent2"/>
      </a:tcTxStyle>
      <a:tcStyle>
        <a:tcBdr>
          <a:top>
            <a:ln w="0" cmpd="sng">
              <a:solidFill>
                <a:schemeClr val="lt1"/>
              </a:solidFill>
            </a:ln>
          </a:top>
          <a:insideH>
            <a:ln w="0" cmpd="sng">
              <a:solidFill>
                <a:schemeClr val="lt1"/>
              </a:solidFill>
            </a:ln>
          </a:insideH>
        </a:tcBdr>
      </a:tcStyle>
    </a:firstCol>
    <a:lastRow>
      <a:tcStyle>
        <a:tcBdr/>
      </a:tcStyle>
    </a:lastRow>
    <a:firstRow>
      <a:tcStyle>
        <a:tcBdr/>
      </a:tcStyle>
    </a:firstRow>
  </a:tblStyle>
  <a:tblStyle styleId="{B7752061-5463-48E6-A297-43E0E91C0267}" styleName="GE Solid Table">
    <a:wholeTbl>
      <a:tcTxStyle>
        <a:fontRef idx="minor">
          <a:prstClr val="black"/>
        </a:fontRef>
        <a:schemeClr val="accen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showGuides="1">
      <p:cViewPr varScale="1">
        <p:scale>
          <a:sx n="110" d="100"/>
          <a:sy n="110" d="100"/>
        </p:scale>
        <p:origin x="492" y="108"/>
      </p:cViewPr>
      <p:guideLst>
        <p:guide orient="horz" pos="2160"/>
        <p:guide pos="3840"/>
        <p:guide orient="horz" pos="1039"/>
        <p:guide orient="horz" pos="505"/>
        <p:guide orient="horz" pos="1165"/>
        <p:guide orient="horz" pos="3903"/>
        <p:guide pos="7400"/>
        <p:guide pos="1025"/>
        <p:guide pos="6697"/>
        <p:guide pos="4212"/>
      </p:guideLst>
    </p:cSldViewPr>
  </p:slideViewPr>
  <p:notesTextViewPr>
    <p:cViewPr>
      <p:scale>
        <a:sx n="1" d="1"/>
        <a:sy n="1" d="1"/>
      </p:scale>
      <p:origin x="0" y="0"/>
    </p:cViewPr>
  </p:notesTextViewPr>
  <p:sorterViewPr>
    <p:cViewPr>
      <p:scale>
        <a:sx n="100" d="100"/>
        <a:sy n="100" d="100"/>
      </p:scale>
      <p:origin x="0" y="8058"/>
    </p:cViewPr>
  </p:sorterViewPr>
  <p:notesViewPr>
    <p:cSldViewPr snapToGrid="0" showGuides="1">
      <p:cViewPr varScale="1">
        <p:scale>
          <a:sx n="92" d="100"/>
          <a:sy n="92" d="100"/>
        </p:scale>
        <p:origin x="-3410" y="-81"/>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customXml" Target="../customXml/item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37" Type="http://schemas.openxmlformats.org/officeDocument/2006/relationships/customXml" Target="../customXml/item4.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openxmlformats.org/officeDocument/2006/relationships/customXml" Target="../customXml/item3.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CBF77B6-06AB-43A3-89A4-8CD1677993D0}" type="datetimeFigureOut">
              <a:rPr lang="en-CA" smtClean="0"/>
              <a:t>2021-10-18</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2762B2D-468D-4837-8CAA-70AF425658B8}" type="slidenum">
              <a:rPr lang="en-CA" smtClean="0"/>
              <a:t>‹#›</a:t>
            </a:fld>
            <a:endParaRPr lang="en-CA"/>
          </a:p>
        </p:txBody>
      </p:sp>
      <p:pic>
        <p:nvPicPr>
          <p:cNvPr id="1026" name="Picture 2" descr="I:\Dockets\1421 SmallStuff GE PPT\Graphics\GE Grey.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0291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6804B0-AD37-4623-8498-3C9AE39E25E5}" type="datetimeFigureOut">
              <a:rPr lang="en-CA" smtClean="0"/>
              <a:t>2021-10-18</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377687" y="4343400"/>
            <a:ext cx="6102626"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CDABC8-FD09-47BC-822A-A981D494E0D7}" type="slidenum">
              <a:rPr lang="en-CA" smtClean="0"/>
              <a:t>‹#›</a:t>
            </a:fld>
            <a:endParaRPr lang="en-CA"/>
          </a:p>
        </p:txBody>
      </p:sp>
      <p:pic>
        <p:nvPicPr>
          <p:cNvPr id="8" name="Picture 2" descr="I:\Dockets\1421 SmallStuff GE PPT\Graphics\GE Grey.e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8577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228600" indent="0" algn="l" defTabSz="914400" rtl="0" eaLnBrk="1" latinLnBrk="0" hangingPunct="1">
      <a:defRPr sz="1200" kern="1200">
        <a:solidFill>
          <a:schemeClr val="tx1"/>
        </a:solidFill>
        <a:latin typeface="+mn-lt"/>
        <a:ea typeface="+mn-ea"/>
        <a:cs typeface="+mn-cs"/>
      </a:defRPr>
    </a:lvl2pPr>
    <a:lvl3pPr marL="45720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4500" y="458788"/>
            <a:ext cx="6748463" cy="3797300"/>
          </a:xfrm>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We know that electrification is expected to increase significantly, and that the sources of electricity generation are increasingly going to come from renewable energies. You can see from GE’s own forecasts (top left) that Renewables and Storage will account for almost three-quarters of global capacity orders  in the next decade. This change in the generation mix is underway on all continents, and whilst it can be seen as a very positive evolution, it is not without its challenges.</a:t>
            </a:r>
          </a:p>
          <a:p>
            <a:r>
              <a:rPr lang="en-US" sz="1200" b="0" kern="1200" dirty="0">
                <a:solidFill>
                  <a:schemeClr val="tx1"/>
                </a:solidFill>
                <a:effectLst/>
                <a:latin typeface="+mn-lt"/>
                <a:ea typeface="+mn-ea"/>
                <a:cs typeface="+mn-cs"/>
              </a:rPr>
              <a:t>The focus of today’s talk is about Pumped Storage, and what role it is playing and could play, to meet these challenges. We’ll start by a quick look at the past and what is going on elsewhere in the world, before zooming in on the US and California.</a:t>
            </a:r>
          </a:p>
          <a:p>
            <a:pPr marL="174625" indent="-174625"/>
            <a:endParaRPr lang="en-US" sz="1100" dirty="0">
              <a:latin typeface="GE Inspira Sans" panose="020B0503060000000003" pitchFamily="34" charset="77"/>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ACDD6E-221E-4D43-B43B-72ED27E3A5FB}" type="slidenum">
              <a:rPr kumimoji="0" lang="en-US" sz="1200" b="0" i="0" u="none" strike="noStrike" kern="1200" cap="none" spc="0" normalizeH="0" baseline="0" noProof="0" smtClean="0">
                <a:ln>
                  <a:noFill/>
                </a:ln>
                <a:solidFill>
                  <a:prstClr val="black"/>
                </a:solidFill>
                <a:effectLst/>
                <a:uLnTx/>
                <a:uFillTx/>
                <a:latin typeface="GE Inspira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GE Inspira Sans"/>
              <a:ea typeface="+mn-ea"/>
              <a:cs typeface="+mn-cs"/>
            </a:endParaRPr>
          </a:p>
        </p:txBody>
      </p:sp>
    </p:spTree>
    <p:extLst>
      <p:ext uri="{BB962C8B-B14F-4D97-AF65-F5344CB8AC3E}">
        <p14:creationId xmlns:p14="http://schemas.microsoft.com/office/powerpoint/2010/main" val="25582107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9ABBFA-97A1-4284-8508-B9415791ED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6393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DABC8-FD09-47BC-822A-A981D494E0D7}" type="slidenum">
              <a:rPr kumimoji="0" lang="en-CA" sz="1200" b="0" i="0" u="none" strike="noStrike" kern="1200" cap="none" spc="0" normalizeH="0" baseline="0" noProof="0" smtClean="0">
                <a:ln>
                  <a:noFill/>
                </a:ln>
                <a:solidFill>
                  <a:prstClr val="black"/>
                </a:solidFill>
                <a:effectLst/>
                <a:uLnTx/>
                <a:uFillTx/>
                <a:latin typeface="GE Inspira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CA" sz="1200" b="0" i="0" u="none" strike="noStrike" kern="1200" cap="none" spc="0" normalizeH="0" baseline="0" noProof="0">
              <a:ln>
                <a:noFill/>
              </a:ln>
              <a:solidFill>
                <a:prstClr val="black"/>
              </a:solidFill>
              <a:effectLst/>
              <a:uLnTx/>
              <a:uFillTx/>
              <a:latin typeface="GE Inspira Sans"/>
              <a:ea typeface="+mn-ea"/>
              <a:cs typeface="+mn-cs"/>
            </a:endParaRPr>
          </a:p>
        </p:txBody>
      </p:sp>
    </p:spTree>
    <p:extLst>
      <p:ext uri="{BB962C8B-B14F-4D97-AF65-F5344CB8AC3E}">
        <p14:creationId xmlns:p14="http://schemas.microsoft.com/office/powerpoint/2010/main" val="36904677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7363" y="733425"/>
            <a:ext cx="6516687" cy="3665538"/>
          </a:xfrm>
        </p:spPr>
      </p:sp>
      <p:sp>
        <p:nvSpPr>
          <p:cNvPr id="3" name="Notes Placeholder 2"/>
          <p:cNvSpPr>
            <a:spLocks noGrp="1"/>
          </p:cNvSpPr>
          <p:nvPr>
            <p:ph type="body" idx="1"/>
          </p:nvPr>
        </p:nvSpPr>
        <p:spPr/>
        <p:txBody>
          <a:bodyPr/>
          <a:lstStyle/>
          <a:p>
            <a:pPr rtl="0" eaLnBrk="1" fontAlgn="ctr" latinLnBrk="0" hangingPunct="1"/>
            <a:r>
              <a:rPr lang="en-US" sz="1200" b="0" i="0" u="none" strike="noStrike" kern="1200" dirty="0">
                <a:solidFill>
                  <a:schemeClr val="tx1"/>
                </a:solidFill>
                <a:effectLst/>
                <a:latin typeface="+mn-lt"/>
                <a:ea typeface="+mn-ea"/>
                <a:cs typeface="+mn-cs"/>
              </a:rPr>
              <a:t>GE has a wide range of energy storage solutions to meet the needs of its customers: either it is large scale or small scale, short duration or bulk storage technology, and stand alone solution or hybridized with other renewable power generation asse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Pumped Hydro Storage </a:t>
            </a:r>
            <a:r>
              <a:rPr lang="en-US" sz="1200" kern="1200" dirty="0">
                <a:solidFill>
                  <a:schemeClr val="tx1"/>
                </a:solidFill>
                <a:effectLst/>
                <a:latin typeface="+mn-lt"/>
                <a:ea typeface="+mn-ea"/>
                <a:cs typeface="+mn-cs"/>
              </a:rPr>
              <a:t>accounts for more than 95% of the energy storage installed base. The technology has been present for the last 60 years, and mainly developed in the USA, Europe, Japan and China.</a:t>
            </a:r>
          </a:p>
          <a:p>
            <a:pPr defTabSz="990417">
              <a:spcBef>
                <a:spcPts val="650"/>
              </a:spcBef>
              <a:defRPr/>
            </a:pPr>
            <a:r>
              <a:rPr lang="en-US" sz="2200" b="1" kern="0" dirty="0">
                <a:solidFill>
                  <a:schemeClr val="accent3"/>
                </a:solidFill>
              </a:rPr>
              <a:t>PSP is more than large-scale storage</a:t>
            </a:r>
          </a:p>
          <a:p>
            <a:pPr marL="804714" lvl="1" indent="-309506" defTabSz="990417">
              <a:spcBef>
                <a:spcPts val="650"/>
              </a:spcBef>
              <a:buSzPct val="75000"/>
              <a:buFont typeface="Courier New" panose="02070309020205020404" pitchFamily="49" charset="0"/>
              <a:buChar char="o"/>
              <a:defRPr/>
            </a:pPr>
            <a:r>
              <a:rPr lang="en-US" sz="1700" kern="0" dirty="0">
                <a:solidFill>
                  <a:schemeClr val="accent2"/>
                </a:solidFill>
              </a:rPr>
              <a:t>Renewable</a:t>
            </a:r>
          </a:p>
          <a:p>
            <a:pPr marL="804714" lvl="1" indent="-309506" defTabSz="990417">
              <a:spcBef>
                <a:spcPts val="650"/>
              </a:spcBef>
              <a:buSzPct val="75000"/>
              <a:buFont typeface="Courier New" panose="02070309020205020404" pitchFamily="49" charset="0"/>
              <a:buChar char="o"/>
              <a:defRPr/>
            </a:pPr>
            <a:r>
              <a:rPr lang="en-US" sz="1700" kern="0" dirty="0">
                <a:solidFill>
                  <a:schemeClr val="accent2"/>
                </a:solidFill>
              </a:rPr>
              <a:t>Long discharge duration for weekly/monthly energy storage applications</a:t>
            </a:r>
          </a:p>
          <a:p>
            <a:pPr marL="804714" lvl="1" indent="-309506" defTabSz="990417">
              <a:spcBef>
                <a:spcPts val="650"/>
              </a:spcBef>
              <a:buSzPct val="75000"/>
              <a:buFont typeface="Courier New" panose="02070309020205020404" pitchFamily="49" charset="0"/>
              <a:buChar char="o"/>
              <a:defRPr/>
            </a:pPr>
            <a:r>
              <a:rPr lang="en-US" sz="1700" kern="0" dirty="0">
                <a:solidFill>
                  <a:schemeClr val="accent2"/>
                </a:solidFill>
              </a:rPr>
              <a:t>Long lifetime (minimum 40 years vs 10 years for batteries)</a:t>
            </a:r>
          </a:p>
          <a:p>
            <a:pPr marL="804714" lvl="1" indent="-309506" defTabSz="990417">
              <a:spcBef>
                <a:spcPts val="650"/>
              </a:spcBef>
              <a:buSzPct val="75000"/>
              <a:buFont typeface="Courier New" panose="02070309020205020404" pitchFamily="49" charset="0"/>
              <a:buChar char="o"/>
              <a:defRPr/>
            </a:pPr>
            <a:r>
              <a:rPr lang="en-US" sz="1700" kern="0" dirty="0">
                <a:solidFill>
                  <a:schemeClr val="accent2"/>
                </a:solidFill>
              </a:rPr>
              <a:t>Multi-purpose solution:</a:t>
            </a:r>
          </a:p>
          <a:p>
            <a:pPr marL="1299922" lvl="2" indent="-309506">
              <a:spcBef>
                <a:spcPts val="650"/>
              </a:spcBef>
              <a:buSzPct val="75000"/>
              <a:buFont typeface="Courier New" panose="02070309020205020404" pitchFamily="49" charset="0"/>
              <a:buChar char="o"/>
              <a:defRPr/>
            </a:pPr>
            <a:r>
              <a:rPr lang="en-US" sz="1500" kern="0" dirty="0">
                <a:solidFill>
                  <a:schemeClr val="accent2"/>
                </a:solidFill>
              </a:rPr>
              <a:t>Renewable integration at a regional/national level</a:t>
            </a:r>
          </a:p>
          <a:p>
            <a:pPr marL="1299922" lvl="2" indent="-309506">
              <a:spcBef>
                <a:spcPts val="650"/>
              </a:spcBef>
              <a:buSzPct val="75000"/>
              <a:buFont typeface="Courier New" panose="02070309020205020404" pitchFamily="49" charset="0"/>
              <a:buChar char="o"/>
              <a:defRPr/>
            </a:pPr>
            <a:r>
              <a:rPr lang="en-US" sz="1500" kern="0" dirty="0">
                <a:solidFill>
                  <a:schemeClr val="accent2"/>
                </a:solidFill>
              </a:rPr>
              <a:t>Transmission grid performance improvement, “ancillary services”</a:t>
            </a:r>
          </a:p>
          <a:p>
            <a:pPr marL="1299922" lvl="2" indent="-309506">
              <a:spcBef>
                <a:spcPts val="650"/>
              </a:spcBef>
              <a:buSzPct val="75000"/>
              <a:buFont typeface="Courier New" panose="02070309020205020404" pitchFamily="49" charset="0"/>
              <a:buChar char="o"/>
              <a:defRPr/>
            </a:pPr>
            <a:r>
              <a:rPr lang="en-US" sz="1500" kern="0" dirty="0">
                <a:solidFill>
                  <a:schemeClr val="accent2"/>
                </a:solidFill>
              </a:rPr>
              <a:t>Fleet optimization</a:t>
            </a:r>
            <a:endParaRPr lang="fr-FR" dirty="0"/>
          </a:p>
          <a:p>
            <a:pPr rtl="0" eaLnBrk="1" fontAlgn="auto" latinLnBrk="0" hangingPunct="1"/>
            <a:r>
              <a:rPr lang="en-US" sz="1200" b="0" i="0" u="none" strike="noStrike" kern="1200" dirty="0">
                <a:solidFill>
                  <a:schemeClr val="tx1"/>
                </a:solidFill>
                <a:effectLst/>
                <a:latin typeface="+mn-lt"/>
                <a:ea typeface="+mn-ea"/>
                <a:cs typeface="+mn-cs"/>
              </a:rPr>
              <a:t>GE is a world leader in pumped storage plant equipment and supplies in-house capabilities not only for turbines and generators but also the full electrical balance of plant. </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The Reservoir Solution is an integrated turnkey offering that combines GE’s advanced technologies and expertise in controls, power electronics, battery and operational management systems, and electrical balance of plant – all backed by GE’s performance guarantees.</a:t>
            </a:r>
          </a:p>
          <a:p>
            <a:pPr rtl="0" eaLnBrk="1" fontAlgn="ctr" latinLnBrk="0" hangingPunct="1"/>
            <a:r>
              <a:rPr lang="en-US" sz="1200" b="0" i="0" u="none" strike="noStrike" kern="1200" dirty="0">
                <a:solidFill>
                  <a:schemeClr val="tx1"/>
                </a:solidFill>
                <a:effectLst/>
                <a:latin typeface="+mn-lt"/>
                <a:ea typeface="+mn-ea"/>
                <a:cs typeface="+mn-cs"/>
              </a:rPr>
              <a:t>GE Renewable energy hybrid solutions can comprise any combination of one or more renewable generation assets with either one another and/or the integration of storage (battery or pumped hydro).</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55B9BF-99C7-425D-A1C7-4E0B8871658A}" type="slidenum">
              <a:rPr kumimoji="0" lang="en-US" sz="1200" b="0" i="0" u="none" strike="noStrike" kern="1200" cap="none" spc="0" normalizeH="0" baseline="0" noProof="0" smtClean="0">
                <a:ln>
                  <a:noFill/>
                </a:ln>
                <a:solidFill>
                  <a:prstClr val="black"/>
                </a:solidFill>
                <a:effectLst/>
                <a:uLnTx/>
                <a:uFillTx/>
                <a:latin typeface="GE Inspira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GE Inspira Sans"/>
              <a:ea typeface="+mn-ea"/>
              <a:cs typeface="+mn-cs"/>
            </a:endParaRPr>
          </a:p>
        </p:txBody>
      </p:sp>
    </p:spTree>
    <p:extLst>
      <p:ext uri="{BB962C8B-B14F-4D97-AF65-F5344CB8AC3E}">
        <p14:creationId xmlns:p14="http://schemas.microsoft.com/office/powerpoint/2010/main" val="37768924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10.emf"/><Relationship Id="rId4" Type="http://schemas.openxmlformats.org/officeDocument/2006/relationships/oleObject" Target="../embeddings/oleObject22.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0.emf"/><Relationship Id="rId4" Type="http://schemas.openxmlformats.org/officeDocument/2006/relationships/oleObject" Target="../embeddings/oleObject2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0.emf"/><Relationship Id="rId4" Type="http://schemas.openxmlformats.org/officeDocument/2006/relationships/oleObject" Target="../embeddings/oleObject24.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10.emf"/><Relationship Id="rId4" Type="http://schemas.openxmlformats.org/officeDocument/2006/relationships/oleObject" Target="../embeddings/oleObject25.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96.xml"/><Relationship Id="rId4" Type="http://schemas.openxmlformats.org/officeDocument/2006/relationships/image" Target="../media/image12.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0.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0.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0.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0.emf"/><Relationship Id="rId4" Type="http://schemas.openxmlformats.org/officeDocument/2006/relationships/oleObject" Target="../embeddings/oleObject16.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0.emf"/><Relationship Id="rId4" Type="http://schemas.openxmlformats.org/officeDocument/2006/relationships/oleObject" Target="../embeddings/oleObject18.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0.emf"/><Relationship Id="rId4" Type="http://schemas.openxmlformats.org/officeDocument/2006/relationships/oleObject" Target="../embeddings/oleObject19.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0.emf"/><Relationship Id="rId4" Type="http://schemas.openxmlformats.org/officeDocument/2006/relationships/oleObject" Target="../embeddings/oleObject20.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0.emf"/><Relationship Id="rId4" Type="http://schemas.openxmlformats.org/officeDocument/2006/relationships/oleObject" Target="../embeddings/oleObject21.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0.emf"/><Relationship Id="rId4" Type="http://schemas.openxmlformats.org/officeDocument/2006/relationships/oleObject" Target="../embeddings/oleObject22.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0.emf"/><Relationship Id="rId4" Type="http://schemas.openxmlformats.org/officeDocument/2006/relationships/oleObject" Target="../embeddings/oleObject23.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0.emf"/><Relationship Id="rId4" Type="http://schemas.openxmlformats.org/officeDocument/2006/relationships/oleObject" Target="../embeddings/oleObject24.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0.emf"/><Relationship Id="rId4" Type="http://schemas.openxmlformats.org/officeDocument/2006/relationships/oleObject" Target="../embeddings/oleObject25.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12.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63.xml"/><Relationship Id="rId4" Type="http://schemas.openxmlformats.org/officeDocument/2006/relationships/image" Target="../media/image10.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64.xml"/><Relationship Id="rId4" Type="http://schemas.openxmlformats.org/officeDocument/2006/relationships/image" Target="../media/image10.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10.emf"/></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0.emf"/><Relationship Id="rId4" Type="http://schemas.openxmlformats.org/officeDocument/2006/relationships/oleObject" Target="../embeddings/oleObject16.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10.emf"/><Relationship Id="rId4" Type="http://schemas.openxmlformats.org/officeDocument/2006/relationships/oleObject" Target="../embeddings/oleObject18.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0.emf"/><Relationship Id="rId4" Type="http://schemas.openxmlformats.org/officeDocument/2006/relationships/oleObject" Target="../embeddings/oleObject19.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10.emf"/><Relationship Id="rId4" Type="http://schemas.openxmlformats.org/officeDocument/2006/relationships/oleObject" Target="../embeddings/oleObject20.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10.emf"/><Relationship Id="rId4" Type="http://schemas.openxmlformats.org/officeDocument/2006/relationships/oleObject" Target="../embeddings/oleObject2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1630554" y="1649413"/>
            <a:ext cx="900093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1627188" y="3657600"/>
            <a:ext cx="4467288" cy="254013"/>
          </a:xfrm>
        </p:spPr>
        <p:txBody>
          <a:bodyPr/>
          <a:lstStyle>
            <a:lvl1pPr algn="l">
              <a:defRPr sz="1400" b="1">
                <a:solidFill>
                  <a:schemeClr val="accent2"/>
                </a:solidFill>
              </a:defRPr>
            </a:lvl1pPr>
          </a:lstStyle>
          <a:p>
            <a:fld id="{6050E0BC-091B-4F46-A64B-EF4A39477016}" type="datetime4">
              <a:rPr lang="en-US" smtClean="0"/>
              <a:t>October 18, 2021</a:t>
            </a:fld>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968496"/>
            <a:ext cx="8996362" cy="184666"/>
          </a:xfrm>
          <a:prstGeom prst="rect">
            <a:avLst/>
          </a:prstGeom>
          <a:noFill/>
        </p:spPr>
        <p:txBody>
          <a:bodyPr wrap="square" lIns="0" tIns="0" rIns="0" bIns="0" rtlCol="0">
            <a:spAutoFit/>
          </a:bodyPr>
          <a:lstStyle/>
          <a:p>
            <a:r>
              <a:rPr lang="en-CA" sz="1200" dirty="0">
                <a:solidFill>
                  <a:schemeClr val="accent2"/>
                </a:solidFill>
              </a:rPr>
              <a:t>©2021 General Electric Company.</a:t>
            </a:r>
          </a:p>
        </p:txBody>
      </p:sp>
      <p:sp>
        <p:nvSpPr>
          <p:cNvPr id="10"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183832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2518" cy="914400"/>
          </a:xfrm>
        </p:spPr>
        <p:txBody>
          <a:bodyPr/>
          <a:lstStyle>
            <a:lvl1pPr>
              <a:defRPr/>
            </a:lvl1pPr>
          </a:lstStyle>
          <a:p>
            <a:r>
              <a:rPr lang="en-US" dirty="0"/>
              <a:t>Three Content Layout</a:t>
            </a:r>
            <a:endParaRPr lang="en-CA" dirty="0"/>
          </a:p>
        </p:txBody>
      </p:sp>
      <p:sp>
        <p:nvSpPr>
          <p:cNvPr id="3" name="Text Placeholder 2"/>
          <p:cNvSpPr>
            <a:spLocks noGrp="1"/>
          </p:cNvSpPr>
          <p:nvPr>
            <p:ph type="body" idx="1" hasCustomPrompt="1"/>
          </p:nvPr>
        </p:nvSpPr>
        <p:spPr>
          <a:xfrm>
            <a:off x="1623697" y="1133856"/>
            <a:ext cx="3209544"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5078094" y="1133856"/>
            <a:ext cx="3209544"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7" name="Date Placeholder 6"/>
          <p:cNvSpPr>
            <a:spLocks noGrp="1"/>
          </p:cNvSpPr>
          <p:nvPr>
            <p:ph type="dt" sz="half" idx="10"/>
          </p:nvPr>
        </p:nvSpPr>
        <p:spPr/>
        <p:txBody>
          <a:bodyPr/>
          <a:lstStyle/>
          <a:p>
            <a:fld id="{BAF25C84-DC05-420E-ABA4-99596C0F9BFB}" type="datetime4">
              <a:rPr lang="en-US" smtClean="0"/>
              <a:t>October 18, 2021</a:t>
            </a:fld>
            <a:endParaRPr lang="en-CA"/>
          </a:p>
        </p:txBody>
      </p:sp>
      <p:sp>
        <p:nvSpPr>
          <p:cNvPr id="8" name="Footer Placeholder 7"/>
          <p:cNvSpPr>
            <a:spLocks noGrp="1"/>
          </p:cNvSpPr>
          <p:nvPr>
            <p:ph type="ftr" sz="quarter" idx="11"/>
          </p:nvPr>
        </p:nvSpPr>
        <p:spPr/>
        <p:txBody>
          <a:bodyPr/>
          <a:lstStyle/>
          <a:p>
            <a:r>
              <a:rPr lang="en-CA"/>
              <a:t>Presentation 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320954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5078095" y="1649541"/>
            <a:ext cx="320954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1627188" y="1848930"/>
            <a:ext cx="3209544"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5078095" y="1848930"/>
            <a:ext cx="3209544"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p:nvCxnSpPr>
        <p:spPr>
          <a:xfrm>
            <a:off x="8537956" y="1649413"/>
            <a:ext cx="320954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8534019" y="1133856"/>
            <a:ext cx="3209544" cy="338328"/>
          </a:xfrm>
        </p:spPr>
        <p:txBody>
          <a:bodyPr anchor="b" anchorCtr="0">
            <a:noAutofit/>
          </a:bodyPr>
          <a:lstStyle>
            <a:lvl1pPr marL="0" indent="0">
              <a:lnSpc>
                <a:spcPct val="90000"/>
              </a:lnSpc>
              <a:spcBef>
                <a:spcPts val="0"/>
              </a:spcBef>
              <a:buFontTx/>
              <a:buNone/>
              <a:defRPr sz="1400" b="1"/>
            </a:lvl1pPr>
          </a:lstStyle>
          <a:p>
            <a:pPr lvl="0"/>
            <a:r>
              <a:rPr lang="en-US" dirty="0"/>
              <a:t>Subtitle</a:t>
            </a:r>
          </a:p>
        </p:txBody>
      </p:sp>
      <p:sp>
        <p:nvSpPr>
          <p:cNvPr id="16" name="Content Placeholder 15"/>
          <p:cNvSpPr>
            <a:spLocks noGrp="1"/>
          </p:cNvSpPr>
          <p:nvPr>
            <p:ph sz="quarter" idx="16"/>
          </p:nvPr>
        </p:nvSpPr>
        <p:spPr>
          <a:xfrm>
            <a:off x="8533003" y="1848930"/>
            <a:ext cx="3209925" cy="4329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7" name="Straight Connector 16"/>
          <p:cNvCxnSpPr/>
          <p:nvPr userDrawn="1"/>
        </p:nvCxnSpPr>
        <p:spPr>
          <a:xfrm>
            <a:off x="1626345" y="1649541"/>
            <a:ext cx="320954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5078095" y="1649541"/>
            <a:ext cx="320954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8537956" y="1649413"/>
            <a:ext cx="320954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557989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4_Title and Content - No Ru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6A83A9F-2619-438D-BA57-D90E0CC1F66F}"/>
              </a:ext>
            </a:extLst>
          </p:cNvPr>
          <p:cNvGraphicFramePr>
            <a:graphicFrameLocks noChangeAspect="1"/>
          </p:cNvGraphicFramePr>
          <p:nvPr userDrawn="1">
            <p:custDataLst>
              <p:tags r:id="rId1"/>
            </p:custDataLst>
            <p:extLst>
              <p:ext uri="{D42A27DB-BD31-4B8C-83A1-F6EECF244321}">
                <p14:modId xmlns:p14="http://schemas.microsoft.com/office/powerpoint/2010/main" val="926437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7" name="Object 6" hidden="1">
                        <a:extLst>
                          <a:ext uri="{FF2B5EF4-FFF2-40B4-BE49-F238E27FC236}">
                            <a16:creationId xmlns:a16="http://schemas.microsoft.com/office/drawing/2014/main" id="{46A83A9F-2619-438D-BA57-D90E0CC1F6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A5C023A-BFBD-4BF0-9409-6973574F8E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Tree>
    <p:extLst>
      <p:ext uri="{BB962C8B-B14F-4D97-AF65-F5344CB8AC3E}">
        <p14:creationId xmlns:p14="http://schemas.microsoft.com/office/powerpoint/2010/main" val="25075219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itle and Content - No Ru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597E01-5B03-4D02-A9D5-286B2467775A}"/>
              </a:ext>
            </a:extLst>
          </p:cNvPr>
          <p:cNvGraphicFramePr>
            <a:graphicFrameLocks noChangeAspect="1"/>
          </p:cNvGraphicFramePr>
          <p:nvPr userDrawn="1">
            <p:custDataLst>
              <p:tags r:id="rId1"/>
            </p:custDataLst>
            <p:extLst>
              <p:ext uri="{D42A27DB-BD31-4B8C-83A1-F6EECF244321}">
                <p14:modId xmlns:p14="http://schemas.microsoft.com/office/powerpoint/2010/main" val="340525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Object 3" hidden="1">
                        <a:extLst>
                          <a:ext uri="{FF2B5EF4-FFF2-40B4-BE49-F238E27FC236}">
                            <a16:creationId xmlns:a16="http://schemas.microsoft.com/office/drawing/2014/main" id="{9F597E01-5B03-4D02-A9D5-286B246777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2E9691-0F56-4FB5-BCE2-C8027E0CB44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19" name="Content Placeholder 6"/>
          <p:cNvSpPr>
            <a:spLocks noGrp="1"/>
          </p:cNvSpPr>
          <p:nvPr>
            <p:ph sz="quarter" idx="13" hasCustomPrompt="1"/>
          </p:nvPr>
        </p:nvSpPr>
        <p:spPr>
          <a:xfrm>
            <a:off x="495300" y="1602754"/>
            <a:ext cx="11201400" cy="4324756"/>
          </a:xfrm>
        </p:spPr>
        <p:txBody>
          <a:bodyPr/>
          <a:lstStyle>
            <a:lvl1pPr>
              <a:defRPr>
                <a:solidFill>
                  <a:schemeClr val="accent3"/>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sp>
        <p:nvSpPr>
          <p:cNvPr id="8" name="Slide Number Placeholder 5"/>
          <p:cNvSpPr>
            <a:spLocks noGrp="1"/>
          </p:cNvSpPr>
          <p:nvPr>
            <p:ph type="sldNum" sz="quarter" idx="4"/>
          </p:nvPr>
        </p:nvSpPr>
        <p:spPr>
          <a:xfrm>
            <a:off x="11371032" y="6432462"/>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317215019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torytelling 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3DFAE5-B1BE-4E41-AF1B-22A6498B96EC}"/>
              </a:ext>
            </a:extLst>
          </p:cNvPr>
          <p:cNvGraphicFramePr>
            <a:graphicFrameLocks noChangeAspect="1"/>
          </p:cNvGraphicFramePr>
          <p:nvPr userDrawn="1">
            <p:custDataLst>
              <p:tags r:id="rId1"/>
            </p:custDataLst>
            <p:extLst>
              <p:ext uri="{D42A27DB-BD31-4B8C-83A1-F6EECF244321}">
                <p14:modId xmlns:p14="http://schemas.microsoft.com/office/powerpoint/2010/main" val="2353561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8" name="Object 7" hidden="1">
                        <a:extLst>
                          <a:ext uri="{FF2B5EF4-FFF2-40B4-BE49-F238E27FC236}">
                            <a16:creationId xmlns:a16="http://schemas.microsoft.com/office/drawing/2014/main" id="{0E3DFAE5-B1BE-4E41-AF1B-22A6498B96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DB7973B-C99B-4AE2-894C-9116FA20762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2" name="Title 1"/>
          <p:cNvSpPr>
            <a:spLocks noGrp="1"/>
          </p:cNvSpPr>
          <p:nvPr>
            <p:ph type="title"/>
          </p:nvPr>
        </p:nvSpPr>
        <p:spPr/>
        <p:txBody>
          <a:bodyPr/>
          <a:lstStyle>
            <a:lvl1pPr>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00E6A5BD-C011-4A45-AA3A-201790FB7F2B}" type="slidenum">
              <a:rPr lang="en-US" smtClean="0"/>
              <a:pPr/>
              <a:t>‹#›</a:t>
            </a:fld>
            <a:endParaRPr lang="en-US" dirty="0"/>
          </a:p>
        </p:txBody>
      </p:sp>
      <p:sp>
        <p:nvSpPr>
          <p:cNvPr id="6" name="Content Placeholder 2"/>
          <p:cNvSpPr>
            <a:spLocks noGrp="1"/>
          </p:cNvSpPr>
          <p:nvPr>
            <p:ph idx="1" hasCustomPrompt="1"/>
          </p:nvPr>
        </p:nvSpPr>
        <p:spPr>
          <a:xfrm>
            <a:off x="495300" y="1603166"/>
            <a:ext cx="11201400" cy="4319584"/>
          </a:xfrm>
        </p:spPr>
        <p:txBody>
          <a:bodyPr/>
          <a:lstStyle>
            <a:lvl1pPr>
              <a:defRPr sz="2800">
                <a:solidFill>
                  <a:schemeClr val="accent3"/>
                </a:solidFill>
              </a:defRPr>
            </a:lvl1pPr>
            <a:lvl2pPr marL="237744" indent="-182880">
              <a:defRPr sz="2600"/>
            </a:lvl2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942714802"/>
      </p:ext>
    </p:extLst>
  </p:cSld>
  <p:clrMapOvr>
    <a:masterClrMapping/>
  </p:clrMapOvr>
  <p:extLst>
    <p:ext uri="{DCECCB84-F9BA-43D5-87BE-67443E8EF086}">
      <p15:sldGuideLst xmlns:p15="http://schemas.microsoft.com/office/powerpoint/2012/main">
        <p15:guide id="1" orient="horz" pos="105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and Content Text Heavy 1-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8C7E54-43D2-4F0E-BC0A-5358759ADC7E}"/>
              </a:ext>
            </a:extLst>
          </p:cNvPr>
          <p:cNvGraphicFramePr>
            <a:graphicFrameLocks noChangeAspect="1"/>
          </p:cNvGraphicFramePr>
          <p:nvPr userDrawn="1">
            <p:custDataLst>
              <p:tags r:id="rId1"/>
            </p:custDataLst>
            <p:extLst>
              <p:ext uri="{D42A27DB-BD31-4B8C-83A1-F6EECF244321}">
                <p14:modId xmlns:p14="http://schemas.microsoft.com/office/powerpoint/2010/main" val="1715952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Object 3" hidden="1">
                        <a:extLst>
                          <a:ext uri="{FF2B5EF4-FFF2-40B4-BE49-F238E27FC236}">
                            <a16:creationId xmlns:a16="http://schemas.microsoft.com/office/drawing/2014/main" id="{858C7E54-43D2-4F0E-BC0A-5358759ADC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73B4197-0836-4FAD-B006-C8F96F06AF4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Tree>
    <p:extLst>
      <p:ext uri="{BB962C8B-B14F-4D97-AF65-F5344CB8AC3E}">
        <p14:creationId xmlns:p14="http://schemas.microsoft.com/office/powerpoint/2010/main" val="176969083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059140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652056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2518" cy="914400"/>
          </a:xfrm>
        </p:spPr>
        <p:txBody>
          <a:bodyPr/>
          <a:lstStyle>
            <a:lvl1pPr>
              <a:defRPr/>
            </a:lvl1pPr>
          </a:lstStyle>
          <a:p>
            <a:r>
              <a:rPr lang="en-US" dirty="0"/>
              <a:t>Four Content Layout</a:t>
            </a:r>
            <a:endParaRPr lang="en-CA" dirty="0"/>
          </a:p>
        </p:txBody>
      </p:sp>
      <p:sp>
        <p:nvSpPr>
          <p:cNvPr id="3" name="Text Placeholder 2"/>
          <p:cNvSpPr>
            <a:spLocks noGrp="1"/>
          </p:cNvSpPr>
          <p:nvPr>
            <p:ph type="body" idx="1" hasCustomPrompt="1"/>
          </p:nvPr>
        </p:nvSpPr>
        <p:spPr>
          <a:xfrm>
            <a:off x="1623697" y="1133856"/>
            <a:ext cx="2386584"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4201437" y="1133856"/>
            <a:ext cx="2386584"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7" name="Date Placeholder 6"/>
          <p:cNvSpPr>
            <a:spLocks noGrp="1"/>
          </p:cNvSpPr>
          <p:nvPr>
            <p:ph type="dt" sz="half" idx="10"/>
          </p:nvPr>
        </p:nvSpPr>
        <p:spPr/>
        <p:txBody>
          <a:bodyPr/>
          <a:lstStyle/>
          <a:p>
            <a:fld id="{BAF25C84-DC05-420E-ABA4-99596C0F9BFB}" type="datetime4">
              <a:rPr lang="en-US" smtClean="0"/>
              <a:t>October 18, 2021</a:t>
            </a:fld>
            <a:endParaRPr lang="en-CA"/>
          </a:p>
        </p:txBody>
      </p:sp>
      <p:sp>
        <p:nvSpPr>
          <p:cNvPr id="8" name="Footer Placeholder 7"/>
          <p:cNvSpPr>
            <a:spLocks noGrp="1"/>
          </p:cNvSpPr>
          <p:nvPr>
            <p:ph type="ftr" sz="quarter" idx="11"/>
          </p:nvPr>
        </p:nvSpPr>
        <p:spPr/>
        <p:txBody>
          <a:bodyPr/>
          <a:lstStyle/>
          <a:p>
            <a:r>
              <a:rPr lang="en-CA"/>
              <a:t>Presentation 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238658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4204535" y="1649541"/>
            <a:ext cx="238658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1627188" y="1848930"/>
            <a:ext cx="2386584" cy="4343400"/>
          </a:xfrm>
        </p:spPr>
        <p:txBody>
          <a:bodyPr/>
          <a:lstStyle>
            <a:lvl1pPr>
              <a:spcBef>
                <a:spcPts val="1200"/>
              </a:spcBef>
              <a:defRPr sz="2400"/>
            </a:lvl1pPr>
            <a:lvl2pPr>
              <a:defRPr sz="2400"/>
            </a:lvl2pPr>
            <a:lvl3pPr>
              <a:spcBef>
                <a:spcPts val="1000"/>
              </a:spcBef>
              <a:defRPr sz="2100"/>
            </a:lvl3pPr>
            <a:lvl4pPr>
              <a:defRPr sz="21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4203361" y="1848930"/>
            <a:ext cx="2386584" cy="4343400"/>
          </a:xfrm>
        </p:spPr>
        <p:txBody>
          <a:bodyPr/>
          <a:lstStyle>
            <a:lvl1pPr>
              <a:spcBef>
                <a:spcPts val="1200"/>
              </a:spcBef>
              <a:defRPr sz="2400"/>
            </a:lvl1pPr>
            <a:lvl2pPr>
              <a:defRPr sz="2400"/>
            </a:lvl2pPr>
            <a:lvl3pPr>
              <a:spcBef>
                <a:spcPts val="1000"/>
              </a:spcBef>
              <a:defRPr sz="2100"/>
            </a:lvl3pPr>
            <a:lvl4pPr>
              <a:defRPr sz="21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p:nvCxnSpPr>
        <p:spPr>
          <a:xfrm>
            <a:off x="6782725" y="1649413"/>
            <a:ext cx="238658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6779177"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p>
        </p:txBody>
      </p:sp>
      <p:sp>
        <p:nvSpPr>
          <p:cNvPr id="16" name="Content Placeholder 15"/>
          <p:cNvSpPr>
            <a:spLocks noGrp="1"/>
          </p:cNvSpPr>
          <p:nvPr>
            <p:ph sz="quarter" idx="16"/>
          </p:nvPr>
        </p:nvSpPr>
        <p:spPr>
          <a:xfrm>
            <a:off x="6779534" y="1848930"/>
            <a:ext cx="2386584" cy="4329112"/>
          </a:xfrm>
        </p:spPr>
        <p:txBody>
          <a:bodyPr/>
          <a:lstStyle>
            <a:lvl1pPr>
              <a:spcBef>
                <a:spcPts val="1200"/>
              </a:spcBef>
              <a:defRPr sz="2400"/>
            </a:lvl1pPr>
            <a:lvl2pPr>
              <a:defRPr sz="2400"/>
            </a:lvl2pPr>
            <a:lvl3pPr>
              <a:spcBef>
                <a:spcPts val="1000"/>
              </a:spcBef>
              <a:defRPr sz="2100"/>
            </a:lvl3pPr>
            <a:lvl4pPr>
              <a:defRPr sz="21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7" name="Straight Connector 16"/>
          <p:cNvCxnSpPr/>
          <p:nvPr/>
        </p:nvCxnSpPr>
        <p:spPr>
          <a:xfrm>
            <a:off x="9360916" y="1649541"/>
            <a:ext cx="2386584"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7" hasCustomPrompt="1"/>
          </p:nvPr>
        </p:nvSpPr>
        <p:spPr>
          <a:xfrm>
            <a:off x="9356916"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p>
        </p:txBody>
      </p:sp>
      <p:sp>
        <p:nvSpPr>
          <p:cNvPr id="20" name="Content Placeholder 19"/>
          <p:cNvSpPr>
            <a:spLocks noGrp="1"/>
          </p:cNvSpPr>
          <p:nvPr>
            <p:ph sz="quarter" idx="18"/>
          </p:nvPr>
        </p:nvSpPr>
        <p:spPr>
          <a:xfrm>
            <a:off x="9355708" y="1848929"/>
            <a:ext cx="2386584" cy="4343400"/>
          </a:xfrm>
        </p:spPr>
        <p:txBody>
          <a:bodyPr/>
          <a:lstStyle>
            <a:lvl1pPr>
              <a:spcBef>
                <a:spcPts val="1200"/>
              </a:spcBef>
              <a:defRPr sz="2400"/>
            </a:lvl1pPr>
            <a:lvl2pPr>
              <a:defRPr sz="2400"/>
            </a:lvl2pPr>
            <a:lvl3pPr>
              <a:spcBef>
                <a:spcPts val="1000"/>
              </a:spcBef>
              <a:defRPr sz="2100"/>
            </a:lvl3pPr>
            <a:lvl4pPr>
              <a:defRPr sz="21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8" name="Straight Connector 17"/>
          <p:cNvCxnSpPr/>
          <p:nvPr userDrawn="1"/>
        </p:nvCxnSpPr>
        <p:spPr>
          <a:xfrm>
            <a:off x="1626345" y="1649541"/>
            <a:ext cx="238658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204535" y="1649541"/>
            <a:ext cx="238658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6782725" y="1649413"/>
            <a:ext cx="2386584" cy="0"/>
          </a:xfrm>
          <a:prstGeom prst="line">
            <a:avLst/>
          </a:prstGeom>
          <a:ln w="19050">
            <a:gradFill>
              <a:gsLst>
                <a:gs pos="0">
                  <a:schemeClr val="bg1"/>
                </a:gs>
                <a:gs pos="25000">
                  <a:schemeClr val="accent1">
                    <a:tint val="44500"/>
                    <a:satMod val="160000"/>
                  </a:schemeClr>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9360916" y="1649541"/>
            <a:ext cx="238658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82635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5156" cy="914400"/>
          </a:xfrm>
        </p:spPr>
        <p:txBody>
          <a:bodyPr/>
          <a:lstStyle>
            <a:lvl1pPr>
              <a:defRPr/>
            </a:lvl1pPr>
          </a:lstStyle>
          <a:p>
            <a:r>
              <a:rPr lang="en-US" dirty="0"/>
              <a:t>2-Column Table Layout</a:t>
            </a:r>
            <a:endParaRPr lang="en-CA" dirty="0"/>
          </a:p>
        </p:txBody>
      </p:sp>
      <p:sp>
        <p:nvSpPr>
          <p:cNvPr id="3" name="Text Placeholder 2"/>
          <p:cNvSpPr>
            <a:spLocks noGrp="1"/>
          </p:cNvSpPr>
          <p:nvPr>
            <p:ph type="body" idx="1" hasCustomPrompt="1"/>
          </p:nvPr>
        </p:nvSpPr>
        <p:spPr>
          <a:xfrm>
            <a:off x="1627187" y="1133856"/>
            <a:ext cx="4937760"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7" name="Date Placeholder 6"/>
          <p:cNvSpPr>
            <a:spLocks noGrp="1"/>
          </p:cNvSpPr>
          <p:nvPr>
            <p:ph type="dt" sz="half" idx="10"/>
          </p:nvPr>
        </p:nvSpPr>
        <p:spPr/>
        <p:txBody>
          <a:bodyPr/>
          <a:lstStyle/>
          <a:p>
            <a:fld id="{F5C60C1E-BE52-444A-B903-D3D3A7A6ABD9}" type="datetime4">
              <a:rPr lang="en-US" smtClean="0"/>
              <a:t>October 18, 2021</a:t>
            </a:fld>
            <a:endParaRPr lang="en-CA"/>
          </a:p>
        </p:txBody>
      </p:sp>
      <p:sp>
        <p:nvSpPr>
          <p:cNvPr id="8" name="Footer Placeholder 7"/>
          <p:cNvSpPr>
            <a:spLocks noGrp="1"/>
          </p:cNvSpPr>
          <p:nvPr>
            <p:ph type="ftr" sz="quarter" idx="11"/>
          </p:nvPr>
        </p:nvSpPr>
        <p:spPr/>
        <p:txBody>
          <a:bodyPr/>
          <a:lstStyle/>
          <a:p>
            <a:r>
              <a:rPr lang="en-CA"/>
              <a:t>Presentation 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438912" y="1853076"/>
            <a:ext cx="11302438"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6813550" y="1133856"/>
            <a:ext cx="4933950" cy="338328"/>
          </a:xfrm>
        </p:spPr>
        <p:txBody>
          <a:bodyPr anchor="b" anchorCtr="0"/>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41595782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5156" cy="914400"/>
          </a:xfrm>
        </p:spPr>
        <p:txBody>
          <a:bodyPr/>
          <a:lstStyle>
            <a:lvl1pPr>
              <a:defRPr/>
            </a:lvl1pPr>
          </a:lstStyle>
          <a:p>
            <a:r>
              <a:rPr lang="en-US" dirty="0"/>
              <a:t>3-Column Table Layout</a:t>
            </a:r>
            <a:endParaRPr lang="en-CA" dirty="0"/>
          </a:p>
        </p:txBody>
      </p:sp>
      <p:sp>
        <p:nvSpPr>
          <p:cNvPr id="3" name="Text Placeholder 2"/>
          <p:cNvSpPr>
            <a:spLocks noGrp="1"/>
          </p:cNvSpPr>
          <p:nvPr>
            <p:ph type="body" idx="1" hasCustomPrompt="1"/>
          </p:nvPr>
        </p:nvSpPr>
        <p:spPr>
          <a:xfrm>
            <a:off x="1627187" y="1133856"/>
            <a:ext cx="320954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7" name="Date Placeholder 6"/>
          <p:cNvSpPr>
            <a:spLocks noGrp="1"/>
          </p:cNvSpPr>
          <p:nvPr>
            <p:ph type="dt" sz="half" idx="10"/>
          </p:nvPr>
        </p:nvSpPr>
        <p:spPr/>
        <p:txBody>
          <a:bodyPr/>
          <a:lstStyle/>
          <a:p>
            <a:fld id="{F5C60C1E-BE52-444A-B903-D3D3A7A6ABD9}" type="datetime4">
              <a:rPr lang="en-US" smtClean="0"/>
              <a:t>October 18, 2021</a:t>
            </a:fld>
            <a:endParaRPr lang="en-CA"/>
          </a:p>
        </p:txBody>
      </p:sp>
      <p:sp>
        <p:nvSpPr>
          <p:cNvPr id="8" name="Footer Placeholder 7"/>
          <p:cNvSpPr>
            <a:spLocks noGrp="1"/>
          </p:cNvSpPr>
          <p:nvPr>
            <p:ph type="ftr" sz="quarter" idx="11"/>
          </p:nvPr>
        </p:nvSpPr>
        <p:spPr/>
        <p:txBody>
          <a:bodyPr/>
          <a:lstStyle/>
          <a:p>
            <a:r>
              <a:rPr lang="en-CA"/>
              <a:t>Presentation 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438912" y="1853076"/>
            <a:ext cx="11302438"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5084064" y="1133856"/>
            <a:ext cx="320954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5" hasCustomPrompt="1"/>
          </p:nvPr>
        </p:nvSpPr>
        <p:spPr>
          <a:xfrm>
            <a:off x="8534400" y="1133856"/>
            <a:ext cx="3213100" cy="338328"/>
          </a:xfrm>
        </p:spPr>
        <p:txBody>
          <a:bodyPr anchor="b" anchorCtr="0">
            <a:noAutofit/>
          </a:bodyPr>
          <a:lstStyle>
            <a:lvl1pPr marL="0" indent="0">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29712265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5156" cy="914400"/>
          </a:xfrm>
        </p:spPr>
        <p:txBody>
          <a:bodyPr/>
          <a:lstStyle>
            <a:lvl1pPr>
              <a:defRPr/>
            </a:lvl1pPr>
          </a:lstStyle>
          <a:p>
            <a:r>
              <a:rPr lang="en-US" dirty="0"/>
              <a:t>4-Column Table Layout</a:t>
            </a:r>
            <a:endParaRPr lang="en-CA" dirty="0"/>
          </a:p>
        </p:txBody>
      </p:sp>
      <p:sp>
        <p:nvSpPr>
          <p:cNvPr id="3" name="Text Placeholder 2"/>
          <p:cNvSpPr>
            <a:spLocks noGrp="1"/>
          </p:cNvSpPr>
          <p:nvPr>
            <p:ph type="body" idx="1" hasCustomPrompt="1"/>
          </p:nvPr>
        </p:nvSpPr>
        <p:spPr>
          <a:xfrm>
            <a:off x="1627187" y="1133856"/>
            <a:ext cx="2386584"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7" name="Date Placeholder 6"/>
          <p:cNvSpPr>
            <a:spLocks noGrp="1"/>
          </p:cNvSpPr>
          <p:nvPr>
            <p:ph type="dt" sz="half" idx="10"/>
          </p:nvPr>
        </p:nvSpPr>
        <p:spPr/>
        <p:txBody>
          <a:bodyPr/>
          <a:lstStyle/>
          <a:p>
            <a:fld id="{F5C60C1E-BE52-444A-B903-D3D3A7A6ABD9}" type="datetime4">
              <a:rPr lang="en-US" smtClean="0"/>
              <a:t>October 18, 2021</a:t>
            </a:fld>
            <a:endParaRPr lang="en-CA"/>
          </a:p>
        </p:txBody>
      </p:sp>
      <p:sp>
        <p:nvSpPr>
          <p:cNvPr id="8" name="Footer Placeholder 7"/>
          <p:cNvSpPr>
            <a:spLocks noGrp="1"/>
          </p:cNvSpPr>
          <p:nvPr>
            <p:ph type="ftr" sz="quarter" idx="11"/>
          </p:nvPr>
        </p:nvSpPr>
        <p:spPr/>
        <p:txBody>
          <a:bodyPr/>
          <a:lstStyle/>
          <a:p>
            <a:r>
              <a:rPr lang="en-CA"/>
              <a:t>Presentation 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sp>
        <p:nvSpPr>
          <p:cNvPr id="13" name="Table Placeholder 12"/>
          <p:cNvSpPr>
            <a:spLocks noGrp="1"/>
          </p:cNvSpPr>
          <p:nvPr>
            <p:ph type="tbl" sz="quarter" idx="13"/>
          </p:nvPr>
        </p:nvSpPr>
        <p:spPr>
          <a:xfrm>
            <a:off x="438912" y="1853076"/>
            <a:ext cx="11302438" cy="4342937"/>
          </a:xfrm>
        </p:spPr>
        <p:txBody>
          <a:bodyPr/>
          <a:lstStyle/>
          <a:p>
            <a:r>
              <a:rPr lang="en-US"/>
              <a:t>Click icon to add table</a:t>
            </a:r>
            <a:endParaRPr lang="en-CA" dirty="0"/>
          </a:p>
        </p:txBody>
      </p:sp>
      <p:sp>
        <p:nvSpPr>
          <p:cNvPr id="6" name="Text Placeholder 5"/>
          <p:cNvSpPr>
            <a:spLocks noGrp="1"/>
          </p:cNvSpPr>
          <p:nvPr>
            <p:ph type="body" sz="quarter" idx="14" hasCustomPrompt="1"/>
          </p:nvPr>
        </p:nvSpPr>
        <p:spPr>
          <a:xfrm>
            <a:off x="4203805"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5" name="Text Placeholder 4"/>
          <p:cNvSpPr>
            <a:spLocks noGrp="1"/>
          </p:cNvSpPr>
          <p:nvPr>
            <p:ph type="body" sz="quarter" idx="15" hasCustomPrompt="1"/>
          </p:nvPr>
        </p:nvSpPr>
        <p:spPr>
          <a:xfrm>
            <a:off x="6780423"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
        <p:nvSpPr>
          <p:cNvPr id="12" name="Text Placeholder 11"/>
          <p:cNvSpPr>
            <a:spLocks noGrp="1"/>
          </p:cNvSpPr>
          <p:nvPr>
            <p:ph type="body" sz="quarter" idx="16" hasCustomPrompt="1"/>
          </p:nvPr>
        </p:nvSpPr>
        <p:spPr>
          <a:xfrm>
            <a:off x="9357042" y="1133856"/>
            <a:ext cx="2386584" cy="338328"/>
          </a:xfrm>
        </p:spPr>
        <p:txBody>
          <a:bodyPr anchor="b" anchorCtr="0">
            <a:noAutofit/>
          </a:bodyPr>
          <a:lstStyle>
            <a:lvl1pPr marL="0" indent="0">
              <a:lnSpc>
                <a:spcPct val="90000"/>
              </a:lnSpc>
              <a:spcBef>
                <a:spcPts val="0"/>
              </a:spcBef>
              <a:buFontTx/>
              <a:buNone/>
              <a:defRPr sz="1400" b="1"/>
            </a:lvl1pPr>
          </a:lstStyle>
          <a:p>
            <a:pPr lvl="0"/>
            <a:r>
              <a:rPr lang="en-US" dirty="0"/>
              <a:t>Subtitle</a:t>
            </a:r>
            <a:endParaRPr lang="en-CA" dirty="0"/>
          </a:p>
        </p:txBody>
      </p:sp>
    </p:spTree>
    <p:extLst>
      <p:ext uri="{BB962C8B-B14F-4D97-AF65-F5344CB8AC3E}">
        <p14:creationId xmlns:p14="http://schemas.microsoft.com/office/powerpoint/2010/main" val="3158951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lvl1pPr>
              <a:defRPr/>
            </a:lvl1pPr>
          </a:lstStyle>
          <a:p>
            <a:r>
              <a:rPr lang="en-US" dirty="0"/>
              <a:t>Content with Caption Layout</a:t>
            </a:r>
            <a:endParaRPr lang="en-CA" dirty="0"/>
          </a:p>
        </p:txBody>
      </p:sp>
      <p:sp>
        <p:nvSpPr>
          <p:cNvPr id="7" name="Date Placeholder 6"/>
          <p:cNvSpPr>
            <a:spLocks noGrp="1"/>
          </p:cNvSpPr>
          <p:nvPr>
            <p:ph type="dt" sz="half" idx="11"/>
          </p:nvPr>
        </p:nvSpPr>
        <p:spPr>
          <a:xfrm>
            <a:off x="9537192" y="6472936"/>
            <a:ext cx="1876388" cy="182880"/>
          </a:xfrm>
        </p:spPr>
        <p:txBody>
          <a:bodyPr/>
          <a:lstStyle/>
          <a:p>
            <a:fld id="{F5C60C1E-BE52-444A-B903-D3D3A7A6ABD9}" type="datetime4">
              <a:rPr lang="en-US" smtClean="0"/>
              <a:t>October 18, 2021</a:t>
            </a:fld>
            <a:endParaRPr lang="en-CA"/>
          </a:p>
        </p:txBody>
      </p:sp>
      <p:sp>
        <p:nvSpPr>
          <p:cNvPr id="8" name="Footer Placeholder 7"/>
          <p:cNvSpPr>
            <a:spLocks noGrp="1"/>
          </p:cNvSpPr>
          <p:nvPr>
            <p:ph type="ftr" sz="quarter" idx="12"/>
          </p:nvPr>
        </p:nvSpPr>
        <p:spPr>
          <a:xfrm>
            <a:off x="1627632" y="6472976"/>
            <a:ext cx="2688336" cy="182880"/>
          </a:xfrm>
        </p:spPr>
        <p:txBody>
          <a:bodyPr/>
          <a:lstStyle/>
          <a:p>
            <a:r>
              <a:rPr lang="en-CA"/>
              <a:t>Presentation Title</a:t>
            </a:r>
          </a:p>
        </p:txBody>
      </p:sp>
      <p:sp>
        <p:nvSpPr>
          <p:cNvPr id="9" name="Slide Number Placeholder 8"/>
          <p:cNvSpPr>
            <a:spLocks noGrp="1"/>
          </p:cNvSpPr>
          <p:nvPr>
            <p:ph type="sldNum" sz="quarter" idx="13"/>
          </p:nvPr>
        </p:nvSpPr>
        <p:spPr>
          <a:xfrm>
            <a:off x="11413998" y="6475080"/>
            <a:ext cx="329636" cy="182880"/>
          </a:xfrm>
        </p:spPr>
        <p:txBody>
          <a:bodyPr/>
          <a:lstStyle/>
          <a:p>
            <a:fld id="{00E6A5BD-C011-4A45-AA3A-201790FB7F2B}" type="slidenum">
              <a:rPr lang="en-CA" smtClean="0"/>
              <a:t>‹#›</a:t>
            </a:fld>
            <a:endParaRPr lang="en-CA"/>
          </a:p>
        </p:txBody>
      </p:sp>
      <p:sp>
        <p:nvSpPr>
          <p:cNvPr id="10" name="Content Placeholder 9"/>
          <p:cNvSpPr>
            <a:spLocks noGrp="1"/>
          </p:cNvSpPr>
          <p:nvPr>
            <p:ph sz="quarter" idx="14"/>
          </p:nvPr>
        </p:nvSpPr>
        <p:spPr>
          <a:xfrm>
            <a:off x="1627188" y="1649413"/>
            <a:ext cx="9004300" cy="44897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1" name="Text Placeholder 4"/>
          <p:cNvSpPr>
            <a:spLocks noGrp="1"/>
          </p:cNvSpPr>
          <p:nvPr>
            <p:ph type="body" sz="quarter" idx="3" hasCustomPrompt="1"/>
          </p:nvPr>
        </p:nvSpPr>
        <p:spPr>
          <a:xfrm>
            <a:off x="1633538" y="1133856"/>
            <a:ext cx="8997950" cy="338328"/>
          </a:xfrm>
        </p:spPr>
        <p:txBody>
          <a:bodyPr anchor="b">
            <a:noAutofit/>
          </a:bodyPr>
          <a:lstStyle>
            <a:lvl1pPr marL="0" indent="0">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Tree>
    <p:extLst>
      <p:ext uri="{BB962C8B-B14F-4D97-AF65-F5344CB8AC3E}">
        <p14:creationId xmlns:p14="http://schemas.microsoft.com/office/powerpoint/2010/main" val="26946781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627188" y="1649413"/>
            <a:ext cx="8992616" cy="4546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5" name="Date Placeholder 4"/>
          <p:cNvSpPr>
            <a:spLocks noGrp="1"/>
          </p:cNvSpPr>
          <p:nvPr>
            <p:ph type="dt" sz="half" idx="10"/>
          </p:nvPr>
        </p:nvSpPr>
        <p:spPr/>
        <p:txBody>
          <a:bodyPr/>
          <a:lstStyle/>
          <a:p>
            <a:fld id="{CDBE93D9-1E7C-4963-AD25-D0E8D4EECEE5}" type="datetime4">
              <a:rPr lang="en-US" smtClean="0"/>
              <a:t>October 18, 2021</a:t>
            </a:fld>
            <a:endParaRPr lang="en-CA"/>
          </a:p>
        </p:txBody>
      </p:sp>
      <p:sp>
        <p:nvSpPr>
          <p:cNvPr id="6" name="Footer Placeholder 5"/>
          <p:cNvSpPr>
            <a:spLocks noGrp="1"/>
          </p:cNvSpPr>
          <p:nvPr>
            <p:ph type="ftr" sz="quarter" idx="11"/>
          </p:nvPr>
        </p:nvSpPr>
        <p:spPr/>
        <p:txBody>
          <a:bodyPr/>
          <a:lstStyle/>
          <a:p>
            <a:r>
              <a:rPr lang="en-CA"/>
              <a:t>Presentation Title</a:t>
            </a:r>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sp>
        <p:nvSpPr>
          <p:cNvPr id="8" name="Title 7"/>
          <p:cNvSpPr>
            <a:spLocks noGrp="1"/>
          </p:cNvSpPr>
          <p:nvPr>
            <p:ph type="title" hasCustomPrompt="1"/>
          </p:nvPr>
        </p:nvSpPr>
        <p:spPr/>
        <p:txBody>
          <a:bodyPr/>
          <a:lstStyle>
            <a:lvl1pPr>
              <a:defRPr/>
            </a:lvl1pPr>
          </a:lstStyle>
          <a:p>
            <a:r>
              <a:rPr lang="en-US" dirty="0"/>
              <a:t>Picture with Caption Layout</a:t>
            </a:r>
            <a:endParaRPr lang="en-CA" dirty="0"/>
          </a:p>
        </p:txBody>
      </p:sp>
    </p:spTree>
    <p:extLst>
      <p:ext uri="{BB962C8B-B14F-4D97-AF65-F5344CB8AC3E}">
        <p14:creationId xmlns:p14="http://schemas.microsoft.com/office/powerpoint/2010/main" val="4962483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itle Only Layout</a:t>
            </a:r>
            <a:endParaRPr lang="en-CA" dirty="0"/>
          </a:p>
        </p:txBody>
      </p:sp>
      <p:sp>
        <p:nvSpPr>
          <p:cNvPr id="3" name="Date Placeholder 2"/>
          <p:cNvSpPr>
            <a:spLocks noGrp="1"/>
          </p:cNvSpPr>
          <p:nvPr>
            <p:ph type="dt" sz="half" idx="10"/>
          </p:nvPr>
        </p:nvSpPr>
        <p:spPr/>
        <p:txBody>
          <a:bodyPr/>
          <a:lstStyle/>
          <a:p>
            <a:fld id="{9AC9EBFE-5BA1-460F-BE92-8CF5579A714B}" type="datetime4">
              <a:rPr lang="en-US" smtClean="0"/>
              <a:t>October 18, 2021</a:t>
            </a:fld>
            <a:endParaRPr lang="en-CA"/>
          </a:p>
        </p:txBody>
      </p:sp>
      <p:sp>
        <p:nvSpPr>
          <p:cNvPr id="4" name="Footer Placeholder 3"/>
          <p:cNvSpPr>
            <a:spLocks noGrp="1"/>
          </p:cNvSpPr>
          <p:nvPr>
            <p:ph type="ftr" sz="quarter" idx="11"/>
          </p:nvPr>
        </p:nvSpPr>
        <p:spPr/>
        <p:txBody>
          <a:bodyPr/>
          <a:lstStyle/>
          <a:p>
            <a:r>
              <a:rPr lang="en-CA"/>
              <a:t>Presentation Title</a:t>
            </a:r>
          </a:p>
        </p:txBody>
      </p:sp>
      <p:sp>
        <p:nvSpPr>
          <p:cNvPr id="5" name="Slide Number Placeholder 4"/>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7092966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61146A8-A192-4F5D-A963-F694E58B90FD}" type="datetime4">
              <a:rPr lang="en-US" smtClean="0"/>
              <a:t>October 18, 2021</a:t>
            </a:fld>
            <a:endParaRPr lang="en-CA"/>
          </a:p>
        </p:txBody>
      </p:sp>
      <p:sp>
        <p:nvSpPr>
          <p:cNvPr id="3" name="Footer Placeholder 2"/>
          <p:cNvSpPr>
            <a:spLocks noGrp="1"/>
          </p:cNvSpPr>
          <p:nvPr>
            <p:ph type="ftr" sz="quarter" idx="11"/>
          </p:nvPr>
        </p:nvSpPr>
        <p:spPr/>
        <p:txBody>
          <a:bodyPr/>
          <a:lstStyle/>
          <a:p>
            <a:r>
              <a:rPr lang="en-CA"/>
              <a:t>Presentation Title</a:t>
            </a:r>
          </a:p>
        </p:txBody>
      </p:sp>
      <p:sp>
        <p:nvSpPr>
          <p:cNvPr id="4" name="Slide Number Placeholder 3"/>
          <p:cNvSpPr>
            <a:spLocks noGrp="1"/>
          </p:cNvSpPr>
          <p:nvPr>
            <p:ph type="sldNum" sz="quarter" idx="12"/>
          </p:nvPr>
        </p:nvSpPr>
        <p:spPr/>
        <p:txBody>
          <a:bodyPr/>
          <a:lstStyle/>
          <a:p>
            <a:fld id="{00E6A5BD-C011-4A45-AA3A-201790FB7F2B}" type="slidenum">
              <a:rPr lang="en-CA" smtClean="0"/>
              <a:t>‹#›</a:t>
            </a:fld>
            <a:endParaRPr lang="en-CA"/>
          </a:p>
        </p:txBody>
      </p:sp>
    </p:spTree>
    <p:extLst>
      <p:ext uri="{BB962C8B-B14F-4D97-AF65-F5344CB8AC3E}">
        <p14:creationId xmlns:p14="http://schemas.microsoft.com/office/powerpoint/2010/main" val="14204686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agline">
    <p:bg>
      <p:bgPr>
        <a:solidFill>
          <a:schemeClr val="bg1"/>
        </a:solidFill>
        <a:effectLst/>
      </p:bgPr>
    </p:bg>
    <p:spTree>
      <p:nvGrpSpPr>
        <p:cNvPr id="1" name=""/>
        <p:cNvGrpSpPr/>
        <p:nvPr/>
      </p:nvGrpSpPr>
      <p:grpSpPr>
        <a:xfrm>
          <a:off x="0" y="0"/>
          <a:ext cx="0" cy="0"/>
          <a:chOff x="0" y="0"/>
          <a:chExt cx="0" cy="0"/>
        </a:xfrm>
      </p:grpSpPr>
      <p:sp>
        <p:nvSpPr>
          <p:cNvPr id="3" name="AutoShape 3"/>
          <p:cNvSpPr>
            <a:spLocks noChangeAspect="1" noChangeArrowheads="1" noTextEdit="1"/>
          </p:cNvSpPr>
          <p:nvPr/>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5" name="AutoShape 3"/>
          <p:cNvSpPr>
            <a:spLocks noChangeAspect="1" noChangeArrowheads="1" noTextEdit="1"/>
          </p:cNvSpPr>
          <p:nvPr userDrawn="1"/>
        </p:nvSpPr>
        <p:spPr bwMode="auto">
          <a:xfrm>
            <a:off x="2230438" y="2952750"/>
            <a:ext cx="791051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6" name="Freeform 5"/>
          <p:cNvSpPr>
            <a:spLocks noEditPoints="1"/>
          </p:cNvSpPr>
          <p:nvPr userDrawn="1"/>
        </p:nvSpPr>
        <p:spPr bwMode="auto">
          <a:xfrm>
            <a:off x="2231136" y="2951163"/>
            <a:ext cx="7927974" cy="949325"/>
          </a:xfrm>
          <a:custGeom>
            <a:avLst/>
            <a:gdLst>
              <a:gd name="T0" fmla="*/ 20 w 9061"/>
              <a:gd name="T1" fmla="*/ 64 h 1076"/>
              <a:gd name="T2" fmla="*/ 310 w 9061"/>
              <a:gd name="T3" fmla="*/ 832 h 1076"/>
              <a:gd name="T4" fmla="*/ 607 w 9061"/>
              <a:gd name="T5" fmla="*/ 832 h 1076"/>
              <a:gd name="T6" fmla="*/ 932 w 9061"/>
              <a:gd name="T7" fmla="*/ 811 h 1076"/>
              <a:gd name="T8" fmla="*/ 647 w 9061"/>
              <a:gd name="T9" fmla="*/ 352 h 1076"/>
              <a:gd name="T10" fmla="*/ 240 w 9061"/>
              <a:gd name="T11" fmla="*/ 296 h 1076"/>
              <a:gd name="T12" fmla="*/ 1565 w 9061"/>
              <a:gd name="T13" fmla="*/ 811 h 1076"/>
              <a:gd name="T14" fmla="*/ 1198 w 9061"/>
              <a:gd name="T15" fmla="*/ 386 h 1076"/>
              <a:gd name="T16" fmla="*/ 1307 w 9061"/>
              <a:gd name="T17" fmla="*/ 844 h 1076"/>
              <a:gd name="T18" fmla="*/ 1322 w 9061"/>
              <a:gd name="T19" fmla="*/ 770 h 1076"/>
              <a:gd name="T20" fmla="*/ 2155 w 9061"/>
              <a:gd name="T21" fmla="*/ 888 h 1076"/>
              <a:gd name="T22" fmla="*/ 1884 w 9061"/>
              <a:gd name="T23" fmla="*/ 658 h 1076"/>
              <a:gd name="T24" fmla="*/ 2127 w 9061"/>
              <a:gd name="T25" fmla="*/ 275 h 1076"/>
              <a:gd name="T26" fmla="*/ 1732 w 9061"/>
              <a:gd name="T27" fmla="*/ 801 h 1076"/>
              <a:gd name="T28" fmla="*/ 1792 w 9061"/>
              <a:gd name="T29" fmla="*/ 820 h 1076"/>
              <a:gd name="T30" fmla="*/ 1766 w 9061"/>
              <a:gd name="T31" fmla="*/ 461 h 1076"/>
              <a:gd name="T32" fmla="*/ 2300 w 9061"/>
              <a:gd name="T33" fmla="*/ 832 h 1076"/>
              <a:gd name="T34" fmla="*/ 2230 w 9061"/>
              <a:gd name="T35" fmla="*/ 811 h 1076"/>
              <a:gd name="T36" fmla="*/ 2214 w 9061"/>
              <a:gd name="T37" fmla="*/ 74 h 1076"/>
              <a:gd name="T38" fmla="*/ 2549 w 9061"/>
              <a:gd name="T39" fmla="*/ 413 h 1076"/>
              <a:gd name="T40" fmla="*/ 2908 w 9061"/>
              <a:gd name="T41" fmla="*/ 811 h 1076"/>
              <a:gd name="T42" fmla="*/ 2480 w 9061"/>
              <a:gd name="T43" fmla="*/ 275 h 1076"/>
              <a:gd name="T44" fmla="*/ 3428 w 9061"/>
              <a:gd name="T45" fmla="*/ 832 h 1076"/>
              <a:gd name="T46" fmla="*/ 3054 w 9061"/>
              <a:gd name="T47" fmla="*/ 382 h 1076"/>
              <a:gd name="T48" fmla="*/ 3006 w 9061"/>
              <a:gd name="T49" fmla="*/ 675 h 1076"/>
              <a:gd name="T50" fmla="*/ 3207 w 9061"/>
              <a:gd name="T51" fmla="*/ 770 h 1076"/>
              <a:gd name="T52" fmla="*/ 3207 w 9061"/>
              <a:gd name="T53" fmla="*/ 770 h 1076"/>
              <a:gd name="T54" fmla="*/ 3876 w 9061"/>
              <a:gd name="T55" fmla="*/ 788 h 1076"/>
              <a:gd name="T56" fmla="*/ 3856 w 9061"/>
              <a:gd name="T57" fmla="*/ 346 h 1076"/>
              <a:gd name="T58" fmla="*/ 3678 w 9061"/>
              <a:gd name="T59" fmla="*/ 125 h 1076"/>
              <a:gd name="T60" fmla="*/ 3513 w 9061"/>
              <a:gd name="T61" fmla="*/ 325 h 1076"/>
              <a:gd name="T62" fmla="*/ 4051 w 9061"/>
              <a:gd name="T63" fmla="*/ 296 h 1076"/>
              <a:gd name="T64" fmla="*/ 4030 w 9061"/>
              <a:gd name="T65" fmla="*/ 832 h 1076"/>
              <a:gd name="T66" fmla="*/ 4068 w 9061"/>
              <a:gd name="T67" fmla="*/ 74 h 1076"/>
              <a:gd name="T68" fmla="*/ 4248 w 9061"/>
              <a:gd name="T69" fmla="*/ 554 h 1076"/>
              <a:gd name="T70" fmla="*/ 4667 w 9061"/>
              <a:gd name="T71" fmla="*/ 554 h 1076"/>
              <a:gd name="T72" fmla="*/ 5132 w 9061"/>
              <a:gd name="T73" fmla="*/ 483 h 1076"/>
              <a:gd name="T74" fmla="*/ 5030 w 9061"/>
              <a:gd name="T75" fmla="*/ 264 h 1076"/>
              <a:gd name="T76" fmla="*/ 4774 w 9061"/>
              <a:gd name="T77" fmla="*/ 811 h 1076"/>
              <a:gd name="T78" fmla="*/ 6045 w 9061"/>
              <a:gd name="T79" fmla="*/ 465 h 1076"/>
              <a:gd name="T80" fmla="*/ 5824 w 9061"/>
              <a:gd name="T81" fmla="*/ 340 h 1076"/>
              <a:gd name="T82" fmla="*/ 5961 w 9061"/>
              <a:gd name="T83" fmla="*/ 761 h 1076"/>
              <a:gd name="T84" fmla="*/ 5694 w 9061"/>
              <a:gd name="T85" fmla="*/ 673 h 1076"/>
              <a:gd name="T86" fmla="*/ 6204 w 9061"/>
              <a:gd name="T87" fmla="*/ 346 h 1076"/>
              <a:gd name="T88" fmla="*/ 6434 w 9061"/>
              <a:gd name="T89" fmla="*/ 750 h 1076"/>
              <a:gd name="T90" fmla="*/ 6473 w 9061"/>
              <a:gd name="T91" fmla="*/ 296 h 1076"/>
              <a:gd name="T92" fmla="*/ 6204 w 9061"/>
              <a:gd name="T93" fmla="*/ 146 h 1076"/>
              <a:gd name="T94" fmla="*/ 6204 w 9061"/>
              <a:gd name="T95" fmla="*/ 346 h 1076"/>
              <a:gd name="T96" fmla="*/ 7189 w 9061"/>
              <a:gd name="T97" fmla="*/ 275 h 1076"/>
              <a:gd name="T98" fmla="*/ 6788 w 9061"/>
              <a:gd name="T99" fmla="*/ 275 h 1076"/>
              <a:gd name="T100" fmla="*/ 7040 w 9061"/>
              <a:gd name="T101" fmla="*/ 812 h 1076"/>
              <a:gd name="T102" fmla="*/ 7566 w 9061"/>
              <a:gd name="T103" fmla="*/ 306 h 1076"/>
              <a:gd name="T104" fmla="*/ 7868 w 9061"/>
              <a:gd name="T105" fmla="*/ 335 h 1076"/>
              <a:gd name="T106" fmla="*/ 7868 w 9061"/>
              <a:gd name="T107" fmla="*/ 264 h 1076"/>
              <a:gd name="T108" fmla="*/ 8321 w 9061"/>
              <a:gd name="T109" fmla="*/ 811 h 1076"/>
              <a:gd name="T110" fmla="*/ 8522 w 9061"/>
              <a:gd name="T111" fmla="*/ 269 h 1076"/>
              <a:gd name="T112" fmla="*/ 8231 w 9061"/>
              <a:gd name="T113" fmla="*/ 296 h 1076"/>
              <a:gd name="T114" fmla="*/ 9056 w 9061"/>
              <a:gd name="T115" fmla="*/ 813 h 1076"/>
              <a:gd name="T116" fmla="*/ 8704 w 9061"/>
              <a:gd name="T117" fmla="*/ 526 h 1076"/>
              <a:gd name="T118" fmla="*/ 8634 w 9061"/>
              <a:gd name="T119" fmla="*/ 832 h 1076"/>
              <a:gd name="T120" fmla="*/ 8988 w 9061"/>
              <a:gd name="T121" fmla="*/ 832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61" h="1076">
                <a:moveTo>
                  <a:pt x="74" y="832"/>
                </a:moveTo>
                <a:lnTo>
                  <a:pt x="74" y="832"/>
                </a:lnTo>
                <a:cubicBezTo>
                  <a:pt x="89" y="832"/>
                  <a:pt x="95" y="826"/>
                  <a:pt x="95" y="811"/>
                </a:cubicBezTo>
                <a:lnTo>
                  <a:pt x="95" y="85"/>
                </a:lnTo>
                <a:cubicBezTo>
                  <a:pt x="95" y="70"/>
                  <a:pt x="89" y="64"/>
                  <a:pt x="74" y="64"/>
                </a:cubicBezTo>
                <a:lnTo>
                  <a:pt x="20" y="64"/>
                </a:lnTo>
                <a:cubicBezTo>
                  <a:pt x="5" y="64"/>
                  <a:pt x="0" y="70"/>
                  <a:pt x="0" y="85"/>
                </a:cubicBezTo>
                <a:lnTo>
                  <a:pt x="0" y="811"/>
                </a:lnTo>
                <a:cubicBezTo>
                  <a:pt x="0" y="826"/>
                  <a:pt x="5" y="832"/>
                  <a:pt x="20" y="832"/>
                </a:cubicBezTo>
                <a:lnTo>
                  <a:pt x="74" y="832"/>
                </a:lnTo>
                <a:close/>
                <a:moveTo>
                  <a:pt x="310" y="832"/>
                </a:moveTo>
                <a:lnTo>
                  <a:pt x="310" y="832"/>
                </a:lnTo>
                <a:cubicBezTo>
                  <a:pt x="325" y="832"/>
                  <a:pt x="331" y="826"/>
                  <a:pt x="331" y="811"/>
                </a:cubicBezTo>
                <a:lnTo>
                  <a:pt x="331" y="413"/>
                </a:lnTo>
                <a:cubicBezTo>
                  <a:pt x="369" y="357"/>
                  <a:pt x="425" y="339"/>
                  <a:pt x="471" y="339"/>
                </a:cubicBezTo>
                <a:cubicBezTo>
                  <a:pt x="565" y="339"/>
                  <a:pt x="586" y="418"/>
                  <a:pt x="586" y="483"/>
                </a:cubicBezTo>
                <a:lnTo>
                  <a:pt x="586" y="811"/>
                </a:lnTo>
                <a:cubicBezTo>
                  <a:pt x="586" y="826"/>
                  <a:pt x="592" y="832"/>
                  <a:pt x="607" y="832"/>
                </a:cubicBezTo>
                <a:lnTo>
                  <a:pt x="655" y="832"/>
                </a:lnTo>
                <a:cubicBezTo>
                  <a:pt x="671" y="832"/>
                  <a:pt x="676" y="826"/>
                  <a:pt x="676" y="811"/>
                </a:cubicBezTo>
                <a:lnTo>
                  <a:pt x="676" y="413"/>
                </a:lnTo>
                <a:cubicBezTo>
                  <a:pt x="715" y="357"/>
                  <a:pt x="771" y="339"/>
                  <a:pt x="817" y="339"/>
                </a:cubicBezTo>
                <a:cubicBezTo>
                  <a:pt x="912" y="339"/>
                  <a:pt x="932" y="418"/>
                  <a:pt x="932" y="483"/>
                </a:cubicBezTo>
                <a:lnTo>
                  <a:pt x="932" y="811"/>
                </a:lnTo>
                <a:cubicBezTo>
                  <a:pt x="932" y="826"/>
                  <a:pt x="937" y="832"/>
                  <a:pt x="952" y="832"/>
                </a:cubicBezTo>
                <a:lnTo>
                  <a:pt x="1001" y="832"/>
                </a:lnTo>
                <a:cubicBezTo>
                  <a:pt x="1016" y="832"/>
                  <a:pt x="1022" y="826"/>
                  <a:pt x="1022" y="811"/>
                </a:cubicBezTo>
                <a:lnTo>
                  <a:pt x="1022" y="475"/>
                </a:lnTo>
                <a:cubicBezTo>
                  <a:pt x="1022" y="361"/>
                  <a:pt x="971" y="264"/>
                  <a:pt x="834" y="264"/>
                </a:cubicBezTo>
                <a:cubicBezTo>
                  <a:pt x="747" y="264"/>
                  <a:pt x="687" y="304"/>
                  <a:pt x="647" y="352"/>
                </a:cubicBezTo>
                <a:cubicBezTo>
                  <a:pt x="619" y="298"/>
                  <a:pt x="568" y="264"/>
                  <a:pt x="490" y="264"/>
                </a:cubicBezTo>
                <a:cubicBezTo>
                  <a:pt x="405" y="264"/>
                  <a:pt x="355" y="303"/>
                  <a:pt x="325" y="342"/>
                </a:cubicBezTo>
                <a:lnTo>
                  <a:pt x="325" y="296"/>
                </a:lnTo>
                <a:cubicBezTo>
                  <a:pt x="325" y="281"/>
                  <a:pt x="319" y="275"/>
                  <a:pt x="304" y="275"/>
                </a:cubicBezTo>
                <a:lnTo>
                  <a:pt x="261" y="275"/>
                </a:lnTo>
                <a:cubicBezTo>
                  <a:pt x="246" y="275"/>
                  <a:pt x="240" y="281"/>
                  <a:pt x="240" y="296"/>
                </a:cubicBezTo>
                <a:lnTo>
                  <a:pt x="240" y="811"/>
                </a:lnTo>
                <a:cubicBezTo>
                  <a:pt x="240" y="826"/>
                  <a:pt x="246" y="832"/>
                  <a:pt x="261" y="832"/>
                </a:cubicBezTo>
                <a:lnTo>
                  <a:pt x="310" y="832"/>
                </a:lnTo>
                <a:close/>
                <a:moveTo>
                  <a:pt x="1544" y="832"/>
                </a:moveTo>
                <a:lnTo>
                  <a:pt x="1544" y="832"/>
                </a:lnTo>
                <a:cubicBezTo>
                  <a:pt x="1559" y="832"/>
                  <a:pt x="1565" y="826"/>
                  <a:pt x="1565" y="811"/>
                </a:cubicBezTo>
                <a:lnTo>
                  <a:pt x="1565" y="465"/>
                </a:lnTo>
                <a:cubicBezTo>
                  <a:pt x="1565" y="346"/>
                  <a:pt x="1502" y="264"/>
                  <a:pt x="1351" y="264"/>
                </a:cubicBezTo>
                <a:cubicBezTo>
                  <a:pt x="1274" y="264"/>
                  <a:pt x="1203" y="286"/>
                  <a:pt x="1155" y="325"/>
                </a:cubicBezTo>
                <a:cubicBezTo>
                  <a:pt x="1145" y="333"/>
                  <a:pt x="1144" y="344"/>
                  <a:pt x="1151" y="355"/>
                </a:cubicBezTo>
                <a:lnTo>
                  <a:pt x="1169" y="382"/>
                </a:lnTo>
                <a:cubicBezTo>
                  <a:pt x="1179" y="395"/>
                  <a:pt x="1186" y="396"/>
                  <a:pt x="1198" y="386"/>
                </a:cubicBezTo>
                <a:cubicBezTo>
                  <a:pt x="1238" y="355"/>
                  <a:pt x="1292" y="340"/>
                  <a:pt x="1343" y="340"/>
                </a:cubicBezTo>
                <a:cubicBezTo>
                  <a:pt x="1454" y="340"/>
                  <a:pt x="1474" y="411"/>
                  <a:pt x="1474" y="479"/>
                </a:cubicBezTo>
                <a:lnTo>
                  <a:pt x="1474" y="526"/>
                </a:lnTo>
                <a:cubicBezTo>
                  <a:pt x="1444" y="513"/>
                  <a:pt x="1398" y="504"/>
                  <a:pt x="1343" y="504"/>
                </a:cubicBezTo>
                <a:cubicBezTo>
                  <a:pt x="1190" y="504"/>
                  <a:pt x="1122" y="578"/>
                  <a:pt x="1122" y="675"/>
                </a:cubicBezTo>
                <a:cubicBezTo>
                  <a:pt x="1122" y="772"/>
                  <a:pt x="1187" y="844"/>
                  <a:pt x="1307" y="844"/>
                </a:cubicBezTo>
                <a:cubicBezTo>
                  <a:pt x="1400" y="844"/>
                  <a:pt x="1450" y="801"/>
                  <a:pt x="1480" y="761"/>
                </a:cubicBezTo>
                <a:lnTo>
                  <a:pt x="1480" y="811"/>
                </a:lnTo>
                <a:cubicBezTo>
                  <a:pt x="1480" y="826"/>
                  <a:pt x="1486" y="832"/>
                  <a:pt x="1501" y="832"/>
                </a:cubicBezTo>
                <a:lnTo>
                  <a:pt x="1544" y="832"/>
                </a:lnTo>
                <a:close/>
                <a:moveTo>
                  <a:pt x="1322" y="770"/>
                </a:moveTo>
                <a:lnTo>
                  <a:pt x="1322" y="770"/>
                </a:lnTo>
                <a:cubicBezTo>
                  <a:pt x="1237" y="770"/>
                  <a:pt x="1213" y="719"/>
                  <a:pt x="1213" y="673"/>
                </a:cubicBezTo>
                <a:cubicBezTo>
                  <a:pt x="1213" y="615"/>
                  <a:pt x="1251" y="573"/>
                  <a:pt x="1355" y="573"/>
                </a:cubicBezTo>
                <a:cubicBezTo>
                  <a:pt x="1390" y="573"/>
                  <a:pt x="1444" y="578"/>
                  <a:pt x="1474" y="592"/>
                </a:cubicBezTo>
                <a:lnTo>
                  <a:pt x="1474" y="690"/>
                </a:lnTo>
                <a:cubicBezTo>
                  <a:pt x="1435" y="747"/>
                  <a:pt x="1380" y="770"/>
                  <a:pt x="1322" y="770"/>
                </a:cubicBezTo>
                <a:close/>
                <a:moveTo>
                  <a:pt x="2155" y="888"/>
                </a:moveTo>
                <a:lnTo>
                  <a:pt x="2155" y="888"/>
                </a:lnTo>
                <a:cubicBezTo>
                  <a:pt x="2155" y="790"/>
                  <a:pt x="2075" y="746"/>
                  <a:pt x="1974" y="746"/>
                </a:cubicBezTo>
                <a:lnTo>
                  <a:pt x="1834" y="746"/>
                </a:lnTo>
                <a:cubicBezTo>
                  <a:pt x="1766" y="746"/>
                  <a:pt x="1760" y="726"/>
                  <a:pt x="1760" y="709"/>
                </a:cubicBezTo>
                <a:cubicBezTo>
                  <a:pt x="1760" y="688"/>
                  <a:pt x="1771" y="666"/>
                  <a:pt x="1794" y="644"/>
                </a:cubicBezTo>
                <a:cubicBezTo>
                  <a:pt x="1820" y="653"/>
                  <a:pt x="1850" y="658"/>
                  <a:pt x="1884" y="658"/>
                </a:cubicBezTo>
                <a:cubicBezTo>
                  <a:pt x="2037" y="658"/>
                  <a:pt x="2094" y="559"/>
                  <a:pt x="2094" y="460"/>
                </a:cubicBezTo>
                <a:cubicBezTo>
                  <a:pt x="2094" y="409"/>
                  <a:pt x="2079" y="369"/>
                  <a:pt x="2039" y="335"/>
                </a:cubicBezTo>
                <a:cubicBezTo>
                  <a:pt x="2062" y="341"/>
                  <a:pt x="2098" y="346"/>
                  <a:pt x="2127" y="346"/>
                </a:cubicBezTo>
                <a:cubicBezTo>
                  <a:pt x="2141" y="346"/>
                  <a:pt x="2148" y="340"/>
                  <a:pt x="2148" y="325"/>
                </a:cubicBezTo>
                <a:lnTo>
                  <a:pt x="2148" y="296"/>
                </a:lnTo>
                <a:cubicBezTo>
                  <a:pt x="2148" y="281"/>
                  <a:pt x="2142" y="275"/>
                  <a:pt x="2127" y="275"/>
                </a:cubicBezTo>
                <a:lnTo>
                  <a:pt x="1958" y="275"/>
                </a:lnTo>
                <a:cubicBezTo>
                  <a:pt x="1937" y="268"/>
                  <a:pt x="1913" y="264"/>
                  <a:pt x="1881" y="264"/>
                </a:cubicBezTo>
                <a:cubicBezTo>
                  <a:pt x="1736" y="264"/>
                  <a:pt x="1677" y="362"/>
                  <a:pt x="1677" y="462"/>
                </a:cubicBezTo>
                <a:cubicBezTo>
                  <a:pt x="1677" y="522"/>
                  <a:pt x="1699" y="584"/>
                  <a:pt x="1754" y="622"/>
                </a:cubicBezTo>
                <a:cubicBezTo>
                  <a:pt x="1719" y="642"/>
                  <a:pt x="1681" y="674"/>
                  <a:pt x="1681" y="724"/>
                </a:cubicBezTo>
                <a:cubicBezTo>
                  <a:pt x="1681" y="762"/>
                  <a:pt x="1702" y="788"/>
                  <a:pt x="1732" y="801"/>
                </a:cubicBezTo>
                <a:cubicBezTo>
                  <a:pt x="1677" y="823"/>
                  <a:pt x="1640" y="862"/>
                  <a:pt x="1640" y="922"/>
                </a:cubicBezTo>
                <a:cubicBezTo>
                  <a:pt x="1640" y="1020"/>
                  <a:pt x="1736" y="1076"/>
                  <a:pt x="1882" y="1076"/>
                </a:cubicBezTo>
                <a:cubicBezTo>
                  <a:pt x="2060" y="1076"/>
                  <a:pt x="2155" y="994"/>
                  <a:pt x="2155" y="888"/>
                </a:cubicBezTo>
                <a:close/>
                <a:moveTo>
                  <a:pt x="1728" y="911"/>
                </a:moveTo>
                <a:lnTo>
                  <a:pt x="1728" y="911"/>
                </a:lnTo>
                <a:cubicBezTo>
                  <a:pt x="1728" y="873"/>
                  <a:pt x="1747" y="841"/>
                  <a:pt x="1792" y="820"/>
                </a:cubicBezTo>
                <a:lnTo>
                  <a:pt x="1956" y="820"/>
                </a:lnTo>
                <a:cubicBezTo>
                  <a:pt x="2038" y="820"/>
                  <a:pt x="2065" y="854"/>
                  <a:pt x="2065" y="897"/>
                </a:cubicBezTo>
                <a:cubicBezTo>
                  <a:pt x="2065" y="960"/>
                  <a:pt x="2009" y="1011"/>
                  <a:pt x="1884" y="1011"/>
                </a:cubicBezTo>
                <a:cubicBezTo>
                  <a:pt x="1762" y="1011"/>
                  <a:pt x="1728" y="963"/>
                  <a:pt x="1728" y="911"/>
                </a:cubicBezTo>
                <a:close/>
                <a:moveTo>
                  <a:pt x="1766" y="461"/>
                </a:moveTo>
                <a:lnTo>
                  <a:pt x="1766" y="461"/>
                </a:lnTo>
                <a:cubicBezTo>
                  <a:pt x="1766" y="385"/>
                  <a:pt x="1808" y="328"/>
                  <a:pt x="1886" y="328"/>
                </a:cubicBezTo>
                <a:cubicBezTo>
                  <a:pt x="1964" y="328"/>
                  <a:pt x="2005" y="385"/>
                  <a:pt x="2005" y="461"/>
                </a:cubicBezTo>
                <a:cubicBezTo>
                  <a:pt x="2005" y="537"/>
                  <a:pt x="1964" y="593"/>
                  <a:pt x="1886" y="593"/>
                </a:cubicBezTo>
                <a:cubicBezTo>
                  <a:pt x="1808" y="593"/>
                  <a:pt x="1766" y="537"/>
                  <a:pt x="1766" y="461"/>
                </a:cubicBezTo>
                <a:close/>
                <a:moveTo>
                  <a:pt x="2300" y="832"/>
                </a:moveTo>
                <a:lnTo>
                  <a:pt x="2300" y="832"/>
                </a:lnTo>
                <a:cubicBezTo>
                  <a:pt x="2315" y="832"/>
                  <a:pt x="2320" y="826"/>
                  <a:pt x="2320" y="811"/>
                </a:cubicBezTo>
                <a:lnTo>
                  <a:pt x="2320" y="296"/>
                </a:lnTo>
                <a:cubicBezTo>
                  <a:pt x="2320" y="281"/>
                  <a:pt x="2315" y="275"/>
                  <a:pt x="2300" y="275"/>
                </a:cubicBezTo>
                <a:lnTo>
                  <a:pt x="2251" y="275"/>
                </a:lnTo>
                <a:cubicBezTo>
                  <a:pt x="2236" y="275"/>
                  <a:pt x="2230" y="281"/>
                  <a:pt x="2230" y="296"/>
                </a:cubicBezTo>
                <a:lnTo>
                  <a:pt x="2230" y="811"/>
                </a:lnTo>
                <a:cubicBezTo>
                  <a:pt x="2230" y="826"/>
                  <a:pt x="2236" y="832"/>
                  <a:pt x="2251" y="832"/>
                </a:cubicBezTo>
                <a:lnTo>
                  <a:pt x="2300" y="832"/>
                </a:lnTo>
                <a:close/>
                <a:moveTo>
                  <a:pt x="2337" y="74"/>
                </a:moveTo>
                <a:lnTo>
                  <a:pt x="2337" y="74"/>
                </a:lnTo>
                <a:cubicBezTo>
                  <a:pt x="2337" y="40"/>
                  <a:pt x="2314" y="12"/>
                  <a:pt x="2275" y="12"/>
                </a:cubicBezTo>
                <a:cubicBezTo>
                  <a:pt x="2237" y="12"/>
                  <a:pt x="2214" y="40"/>
                  <a:pt x="2214" y="74"/>
                </a:cubicBezTo>
                <a:cubicBezTo>
                  <a:pt x="2214" y="109"/>
                  <a:pt x="2237" y="137"/>
                  <a:pt x="2275" y="137"/>
                </a:cubicBezTo>
                <a:cubicBezTo>
                  <a:pt x="2314" y="137"/>
                  <a:pt x="2337" y="109"/>
                  <a:pt x="2337" y="74"/>
                </a:cubicBezTo>
                <a:close/>
                <a:moveTo>
                  <a:pt x="2528" y="832"/>
                </a:moveTo>
                <a:lnTo>
                  <a:pt x="2528" y="832"/>
                </a:lnTo>
                <a:cubicBezTo>
                  <a:pt x="2543" y="832"/>
                  <a:pt x="2549" y="826"/>
                  <a:pt x="2549" y="811"/>
                </a:cubicBezTo>
                <a:lnTo>
                  <a:pt x="2549" y="413"/>
                </a:lnTo>
                <a:cubicBezTo>
                  <a:pt x="2590" y="357"/>
                  <a:pt x="2648" y="339"/>
                  <a:pt x="2696" y="339"/>
                </a:cubicBezTo>
                <a:cubicBezTo>
                  <a:pt x="2795" y="339"/>
                  <a:pt x="2817" y="418"/>
                  <a:pt x="2817" y="483"/>
                </a:cubicBezTo>
                <a:lnTo>
                  <a:pt x="2817" y="811"/>
                </a:lnTo>
                <a:cubicBezTo>
                  <a:pt x="2817" y="826"/>
                  <a:pt x="2823" y="832"/>
                  <a:pt x="2838" y="832"/>
                </a:cubicBezTo>
                <a:lnTo>
                  <a:pt x="2887" y="832"/>
                </a:lnTo>
                <a:cubicBezTo>
                  <a:pt x="2902" y="832"/>
                  <a:pt x="2908" y="826"/>
                  <a:pt x="2908" y="811"/>
                </a:cubicBezTo>
                <a:lnTo>
                  <a:pt x="2908" y="475"/>
                </a:lnTo>
                <a:cubicBezTo>
                  <a:pt x="2908" y="361"/>
                  <a:pt x="2853" y="264"/>
                  <a:pt x="2715" y="264"/>
                </a:cubicBezTo>
                <a:cubicBezTo>
                  <a:pt x="2627" y="264"/>
                  <a:pt x="2575" y="303"/>
                  <a:pt x="2543" y="342"/>
                </a:cubicBezTo>
                <a:lnTo>
                  <a:pt x="2543" y="296"/>
                </a:lnTo>
                <a:cubicBezTo>
                  <a:pt x="2543" y="281"/>
                  <a:pt x="2538" y="275"/>
                  <a:pt x="2522" y="275"/>
                </a:cubicBezTo>
                <a:lnTo>
                  <a:pt x="2480" y="275"/>
                </a:lnTo>
                <a:cubicBezTo>
                  <a:pt x="2464" y="275"/>
                  <a:pt x="2459" y="281"/>
                  <a:pt x="2459" y="296"/>
                </a:cubicBezTo>
                <a:lnTo>
                  <a:pt x="2459" y="811"/>
                </a:lnTo>
                <a:cubicBezTo>
                  <a:pt x="2459" y="826"/>
                  <a:pt x="2464" y="832"/>
                  <a:pt x="2480" y="832"/>
                </a:cubicBezTo>
                <a:lnTo>
                  <a:pt x="2528" y="832"/>
                </a:lnTo>
                <a:close/>
                <a:moveTo>
                  <a:pt x="3428" y="832"/>
                </a:moveTo>
                <a:lnTo>
                  <a:pt x="3428" y="832"/>
                </a:lnTo>
                <a:cubicBezTo>
                  <a:pt x="3443" y="832"/>
                  <a:pt x="3449" y="826"/>
                  <a:pt x="3449" y="811"/>
                </a:cubicBezTo>
                <a:lnTo>
                  <a:pt x="3449" y="465"/>
                </a:lnTo>
                <a:cubicBezTo>
                  <a:pt x="3449" y="346"/>
                  <a:pt x="3387" y="264"/>
                  <a:pt x="3236" y="264"/>
                </a:cubicBezTo>
                <a:cubicBezTo>
                  <a:pt x="3158" y="264"/>
                  <a:pt x="3087" y="286"/>
                  <a:pt x="3040" y="325"/>
                </a:cubicBezTo>
                <a:cubicBezTo>
                  <a:pt x="3029" y="333"/>
                  <a:pt x="3028" y="344"/>
                  <a:pt x="3035" y="355"/>
                </a:cubicBezTo>
                <a:lnTo>
                  <a:pt x="3054" y="382"/>
                </a:lnTo>
                <a:cubicBezTo>
                  <a:pt x="3063" y="395"/>
                  <a:pt x="3070" y="396"/>
                  <a:pt x="3083" y="386"/>
                </a:cubicBezTo>
                <a:cubicBezTo>
                  <a:pt x="3122" y="355"/>
                  <a:pt x="3177" y="340"/>
                  <a:pt x="3228" y="340"/>
                </a:cubicBezTo>
                <a:cubicBezTo>
                  <a:pt x="3338" y="340"/>
                  <a:pt x="3359" y="411"/>
                  <a:pt x="3359" y="479"/>
                </a:cubicBezTo>
                <a:lnTo>
                  <a:pt x="3359" y="526"/>
                </a:lnTo>
                <a:cubicBezTo>
                  <a:pt x="3329" y="513"/>
                  <a:pt x="3282" y="504"/>
                  <a:pt x="3228" y="504"/>
                </a:cubicBezTo>
                <a:cubicBezTo>
                  <a:pt x="3074" y="504"/>
                  <a:pt x="3006" y="578"/>
                  <a:pt x="3006" y="675"/>
                </a:cubicBezTo>
                <a:cubicBezTo>
                  <a:pt x="3006" y="772"/>
                  <a:pt x="3071" y="844"/>
                  <a:pt x="3192" y="844"/>
                </a:cubicBezTo>
                <a:cubicBezTo>
                  <a:pt x="3284" y="844"/>
                  <a:pt x="3334" y="801"/>
                  <a:pt x="3364" y="761"/>
                </a:cubicBezTo>
                <a:lnTo>
                  <a:pt x="3364" y="811"/>
                </a:lnTo>
                <a:cubicBezTo>
                  <a:pt x="3364" y="826"/>
                  <a:pt x="3370" y="832"/>
                  <a:pt x="3385" y="832"/>
                </a:cubicBezTo>
                <a:lnTo>
                  <a:pt x="3428" y="832"/>
                </a:lnTo>
                <a:close/>
                <a:moveTo>
                  <a:pt x="3207" y="770"/>
                </a:moveTo>
                <a:lnTo>
                  <a:pt x="3207" y="770"/>
                </a:lnTo>
                <a:cubicBezTo>
                  <a:pt x="3121" y="770"/>
                  <a:pt x="3098" y="719"/>
                  <a:pt x="3098" y="673"/>
                </a:cubicBezTo>
                <a:cubicBezTo>
                  <a:pt x="3098" y="615"/>
                  <a:pt x="3135" y="573"/>
                  <a:pt x="3239" y="573"/>
                </a:cubicBezTo>
                <a:cubicBezTo>
                  <a:pt x="3274" y="573"/>
                  <a:pt x="3329" y="578"/>
                  <a:pt x="3359" y="592"/>
                </a:cubicBezTo>
                <a:lnTo>
                  <a:pt x="3359" y="690"/>
                </a:lnTo>
                <a:cubicBezTo>
                  <a:pt x="3319" y="747"/>
                  <a:pt x="3265" y="770"/>
                  <a:pt x="3207" y="770"/>
                </a:cubicBezTo>
                <a:close/>
                <a:moveTo>
                  <a:pt x="3608" y="346"/>
                </a:moveTo>
                <a:lnTo>
                  <a:pt x="3608" y="346"/>
                </a:lnTo>
                <a:lnTo>
                  <a:pt x="3608" y="676"/>
                </a:lnTo>
                <a:cubicBezTo>
                  <a:pt x="3608" y="799"/>
                  <a:pt x="3663" y="844"/>
                  <a:pt x="3760" y="844"/>
                </a:cubicBezTo>
                <a:cubicBezTo>
                  <a:pt x="3798" y="844"/>
                  <a:pt x="3834" y="837"/>
                  <a:pt x="3867" y="818"/>
                </a:cubicBezTo>
                <a:cubicBezTo>
                  <a:pt x="3878" y="811"/>
                  <a:pt x="3882" y="802"/>
                  <a:pt x="3876" y="788"/>
                </a:cubicBezTo>
                <a:lnTo>
                  <a:pt x="3863" y="758"/>
                </a:lnTo>
                <a:cubicBezTo>
                  <a:pt x="3858" y="745"/>
                  <a:pt x="3851" y="743"/>
                  <a:pt x="3838" y="750"/>
                </a:cubicBezTo>
                <a:cubicBezTo>
                  <a:pt x="3818" y="761"/>
                  <a:pt x="3797" y="768"/>
                  <a:pt x="3772" y="768"/>
                </a:cubicBezTo>
                <a:cubicBezTo>
                  <a:pt x="3717" y="768"/>
                  <a:pt x="3699" y="734"/>
                  <a:pt x="3699" y="673"/>
                </a:cubicBezTo>
                <a:lnTo>
                  <a:pt x="3699" y="346"/>
                </a:lnTo>
                <a:lnTo>
                  <a:pt x="3856" y="346"/>
                </a:lnTo>
                <a:cubicBezTo>
                  <a:pt x="3871" y="346"/>
                  <a:pt x="3877" y="340"/>
                  <a:pt x="3877" y="325"/>
                </a:cubicBezTo>
                <a:lnTo>
                  <a:pt x="3877" y="296"/>
                </a:lnTo>
                <a:cubicBezTo>
                  <a:pt x="3877" y="281"/>
                  <a:pt x="3871" y="275"/>
                  <a:pt x="3856" y="275"/>
                </a:cubicBezTo>
                <a:lnTo>
                  <a:pt x="3699" y="275"/>
                </a:lnTo>
                <a:lnTo>
                  <a:pt x="3699" y="146"/>
                </a:lnTo>
                <a:cubicBezTo>
                  <a:pt x="3699" y="131"/>
                  <a:pt x="3693" y="125"/>
                  <a:pt x="3678" y="125"/>
                </a:cubicBezTo>
                <a:lnTo>
                  <a:pt x="3629" y="125"/>
                </a:lnTo>
                <a:cubicBezTo>
                  <a:pt x="3614" y="125"/>
                  <a:pt x="3608" y="131"/>
                  <a:pt x="3608" y="146"/>
                </a:cubicBezTo>
                <a:lnTo>
                  <a:pt x="3608" y="275"/>
                </a:lnTo>
                <a:lnTo>
                  <a:pt x="3534" y="275"/>
                </a:lnTo>
                <a:cubicBezTo>
                  <a:pt x="3519" y="275"/>
                  <a:pt x="3513" y="281"/>
                  <a:pt x="3513" y="296"/>
                </a:cubicBezTo>
                <a:lnTo>
                  <a:pt x="3513" y="325"/>
                </a:lnTo>
                <a:cubicBezTo>
                  <a:pt x="3513" y="340"/>
                  <a:pt x="3519" y="346"/>
                  <a:pt x="3534" y="346"/>
                </a:cubicBezTo>
                <a:lnTo>
                  <a:pt x="3608" y="346"/>
                </a:lnTo>
                <a:close/>
                <a:moveTo>
                  <a:pt x="4030" y="832"/>
                </a:moveTo>
                <a:lnTo>
                  <a:pt x="4030" y="832"/>
                </a:lnTo>
                <a:cubicBezTo>
                  <a:pt x="4045" y="832"/>
                  <a:pt x="4051" y="826"/>
                  <a:pt x="4051" y="811"/>
                </a:cubicBezTo>
                <a:lnTo>
                  <a:pt x="4051" y="296"/>
                </a:lnTo>
                <a:cubicBezTo>
                  <a:pt x="4051" y="281"/>
                  <a:pt x="4045" y="275"/>
                  <a:pt x="4030" y="275"/>
                </a:cubicBezTo>
                <a:lnTo>
                  <a:pt x="3982" y="275"/>
                </a:lnTo>
                <a:cubicBezTo>
                  <a:pt x="3967" y="275"/>
                  <a:pt x="3961" y="281"/>
                  <a:pt x="3961" y="296"/>
                </a:cubicBezTo>
                <a:lnTo>
                  <a:pt x="3961" y="811"/>
                </a:lnTo>
                <a:cubicBezTo>
                  <a:pt x="3961" y="826"/>
                  <a:pt x="3967" y="832"/>
                  <a:pt x="3982" y="832"/>
                </a:cubicBezTo>
                <a:lnTo>
                  <a:pt x="4030" y="832"/>
                </a:lnTo>
                <a:close/>
                <a:moveTo>
                  <a:pt x="4068" y="74"/>
                </a:moveTo>
                <a:lnTo>
                  <a:pt x="4068" y="74"/>
                </a:lnTo>
                <a:cubicBezTo>
                  <a:pt x="4068" y="40"/>
                  <a:pt x="4044" y="12"/>
                  <a:pt x="4006" y="12"/>
                </a:cubicBezTo>
                <a:cubicBezTo>
                  <a:pt x="3968" y="12"/>
                  <a:pt x="3945" y="40"/>
                  <a:pt x="3945" y="74"/>
                </a:cubicBezTo>
                <a:cubicBezTo>
                  <a:pt x="3945" y="109"/>
                  <a:pt x="3968" y="137"/>
                  <a:pt x="4006" y="137"/>
                </a:cubicBezTo>
                <a:cubicBezTo>
                  <a:pt x="4044" y="137"/>
                  <a:pt x="4068" y="109"/>
                  <a:pt x="4068" y="74"/>
                </a:cubicBezTo>
                <a:close/>
                <a:moveTo>
                  <a:pt x="4248" y="554"/>
                </a:moveTo>
                <a:lnTo>
                  <a:pt x="4248" y="554"/>
                </a:lnTo>
                <a:cubicBezTo>
                  <a:pt x="4248" y="439"/>
                  <a:pt x="4295" y="335"/>
                  <a:pt x="4411" y="335"/>
                </a:cubicBezTo>
                <a:cubicBezTo>
                  <a:pt x="4527" y="335"/>
                  <a:pt x="4573" y="439"/>
                  <a:pt x="4573" y="554"/>
                </a:cubicBezTo>
                <a:cubicBezTo>
                  <a:pt x="4573" y="668"/>
                  <a:pt x="4527" y="772"/>
                  <a:pt x="4411" y="772"/>
                </a:cubicBezTo>
                <a:cubicBezTo>
                  <a:pt x="4295" y="772"/>
                  <a:pt x="4248" y="668"/>
                  <a:pt x="4248" y="554"/>
                </a:cubicBezTo>
                <a:close/>
                <a:moveTo>
                  <a:pt x="4667" y="554"/>
                </a:moveTo>
                <a:lnTo>
                  <a:pt x="4667" y="554"/>
                </a:lnTo>
                <a:cubicBezTo>
                  <a:pt x="4667" y="404"/>
                  <a:pt x="4593" y="264"/>
                  <a:pt x="4411" y="264"/>
                </a:cubicBezTo>
                <a:cubicBezTo>
                  <a:pt x="4232" y="264"/>
                  <a:pt x="4155" y="404"/>
                  <a:pt x="4155" y="554"/>
                </a:cubicBezTo>
                <a:cubicBezTo>
                  <a:pt x="4155" y="703"/>
                  <a:pt x="4229" y="844"/>
                  <a:pt x="4411" y="844"/>
                </a:cubicBezTo>
                <a:cubicBezTo>
                  <a:pt x="4590" y="844"/>
                  <a:pt x="4667" y="703"/>
                  <a:pt x="4667" y="554"/>
                </a:cubicBezTo>
                <a:close/>
                <a:moveTo>
                  <a:pt x="4844" y="832"/>
                </a:moveTo>
                <a:lnTo>
                  <a:pt x="4844" y="832"/>
                </a:lnTo>
                <a:cubicBezTo>
                  <a:pt x="4859" y="832"/>
                  <a:pt x="4864" y="826"/>
                  <a:pt x="4864" y="811"/>
                </a:cubicBezTo>
                <a:lnTo>
                  <a:pt x="4864" y="413"/>
                </a:lnTo>
                <a:cubicBezTo>
                  <a:pt x="4905" y="357"/>
                  <a:pt x="4963" y="339"/>
                  <a:pt x="5012" y="339"/>
                </a:cubicBezTo>
                <a:cubicBezTo>
                  <a:pt x="5110" y="339"/>
                  <a:pt x="5132" y="418"/>
                  <a:pt x="5132" y="483"/>
                </a:cubicBezTo>
                <a:lnTo>
                  <a:pt x="5132" y="811"/>
                </a:lnTo>
                <a:cubicBezTo>
                  <a:pt x="5132" y="826"/>
                  <a:pt x="5138" y="832"/>
                  <a:pt x="5153" y="832"/>
                </a:cubicBezTo>
                <a:lnTo>
                  <a:pt x="5202" y="832"/>
                </a:lnTo>
                <a:cubicBezTo>
                  <a:pt x="5217" y="832"/>
                  <a:pt x="5223" y="826"/>
                  <a:pt x="5223" y="811"/>
                </a:cubicBezTo>
                <a:lnTo>
                  <a:pt x="5223" y="475"/>
                </a:lnTo>
                <a:cubicBezTo>
                  <a:pt x="5223" y="361"/>
                  <a:pt x="5168" y="264"/>
                  <a:pt x="5030" y="264"/>
                </a:cubicBezTo>
                <a:cubicBezTo>
                  <a:pt x="4942" y="264"/>
                  <a:pt x="4890" y="303"/>
                  <a:pt x="4859" y="342"/>
                </a:cubicBezTo>
                <a:lnTo>
                  <a:pt x="4859" y="296"/>
                </a:lnTo>
                <a:cubicBezTo>
                  <a:pt x="4859" y="281"/>
                  <a:pt x="4853" y="275"/>
                  <a:pt x="4838" y="275"/>
                </a:cubicBezTo>
                <a:lnTo>
                  <a:pt x="4795" y="275"/>
                </a:lnTo>
                <a:cubicBezTo>
                  <a:pt x="4780" y="275"/>
                  <a:pt x="4774" y="281"/>
                  <a:pt x="4774" y="296"/>
                </a:cubicBezTo>
                <a:lnTo>
                  <a:pt x="4774" y="811"/>
                </a:lnTo>
                <a:cubicBezTo>
                  <a:pt x="4774" y="826"/>
                  <a:pt x="4780" y="832"/>
                  <a:pt x="4795" y="832"/>
                </a:cubicBezTo>
                <a:lnTo>
                  <a:pt x="4844" y="832"/>
                </a:lnTo>
                <a:close/>
                <a:moveTo>
                  <a:pt x="6024" y="832"/>
                </a:moveTo>
                <a:lnTo>
                  <a:pt x="6024" y="832"/>
                </a:lnTo>
                <a:cubicBezTo>
                  <a:pt x="6039" y="832"/>
                  <a:pt x="6045" y="826"/>
                  <a:pt x="6045" y="811"/>
                </a:cubicBezTo>
                <a:lnTo>
                  <a:pt x="6045" y="465"/>
                </a:lnTo>
                <a:cubicBezTo>
                  <a:pt x="6045" y="346"/>
                  <a:pt x="5983" y="264"/>
                  <a:pt x="5832" y="264"/>
                </a:cubicBezTo>
                <a:cubicBezTo>
                  <a:pt x="5754" y="264"/>
                  <a:pt x="5683" y="286"/>
                  <a:pt x="5636" y="325"/>
                </a:cubicBezTo>
                <a:cubicBezTo>
                  <a:pt x="5625" y="333"/>
                  <a:pt x="5624" y="344"/>
                  <a:pt x="5631" y="355"/>
                </a:cubicBezTo>
                <a:lnTo>
                  <a:pt x="5650" y="382"/>
                </a:lnTo>
                <a:cubicBezTo>
                  <a:pt x="5659" y="395"/>
                  <a:pt x="5666" y="396"/>
                  <a:pt x="5679" y="386"/>
                </a:cubicBezTo>
                <a:cubicBezTo>
                  <a:pt x="5718" y="355"/>
                  <a:pt x="5773" y="340"/>
                  <a:pt x="5824" y="340"/>
                </a:cubicBezTo>
                <a:cubicBezTo>
                  <a:pt x="5934" y="340"/>
                  <a:pt x="5955" y="411"/>
                  <a:pt x="5955" y="479"/>
                </a:cubicBezTo>
                <a:lnTo>
                  <a:pt x="5955" y="526"/>
                </a:lnTo>
                <a:cubicBezTo>
                  <a:pt x="5925" y="513"/>
                  <a:pt x="5878" y="504"/>
                  <a:pt x="5824" y="504"/>
                </a:cubicBezTo>
                <a:cubicBezTo>
                  <a:pt x="5671" y="504"/>
                  <a:pt x="5602" y="578"/>
                  <a:pt x="5602" y="675"/>
                </a:cubicBezTo>
                <a:cubicBezTo>
                  <a:pt x="5602" y="772"/>
                  <a:pt x="5667" y="844"/>
                  <a:pt x="5788" y="844"/>
                </a:cubicBezTo>
                <a:cubicBezTo>
                  <a:pt x="5881" y="844"/>
                  <a:pt x="5930" y="801"/>
                  <a:pt x="5961" y="761"/>
                </a:cubicBezTo>
                <a:lnTo>
                  <a:pt x="5961" y="811"/>
                </a:lnTo>
                <a:cubicBezTo>
                  <a:pt x="5961" y="826"/>
                  <a:pt x="5966" y="832"/>
                  <a:pt x="5981" y="832"/>
                </a:cubicBezTo>
                <a:lnTo>
                  <a:pt x="6024" y="832"/>
                </a:lnTo>
                <a:close/>
                <a:moveTo>
                  <a:pt x="5803" y="770"/>
                </a:moveTo>
                <a:lnTo>
                  <a:pt x="5803" y="770"/>
                </a:lnTo>
                <a:cubicBezTo>
                  <a:pt x="5717" y="770"/>
                  <a:pt x="5694" y="719"/>
                  <a:pt x="5694" y="673"/>
                </a:cubicBezTo>
                <a:cubicBezTo>
                  <a:pt x="5694" y="615"/>
                  <a:pt x="5731" y="573"/>
                  <a:pt x="5835" y="573"/>
                </a:cubicBezTo>
                <a:cubicBezTo>
                  <a:pt x="5870" y="573"/>
                  <a:pt x="5925" y="578"/>
                  <a:pt x="5955" y="592"/>
                </a:cubicBezTo>
                <a:lnTo>
                  <a:pt x="5955" y="690"/>
                </a:lnTo>
                <a:cubicBezTo>
                  <a:pt x="5915" y="747"/>
                  <a:pt x="5861" y="770"/>
                  <a:pt x="5803" y="770"/>
                </a:cubicBezTo>
                <a:close/>
                <a:moveTo>
                  <a:pt x="6204" y="346"/>
                </a:moveTo>
                <a:lnTo>
                  <a:pt x="6204" y="346"/>
                </a:lnTo>
                <a:lnTo>
                  <a:pt x="6204" y="676"/>
                </a:lnTo>
                <a:cubicBezTo>
                  <a:pt x="6204" y="799"/>
                  <a:pt x="6259" y="844"/>
                  <a:pt x="6356" y="844"/>
                </a:cubicBezTo>
                <a:cubicBezTo>
                  <a:pt x="6395" y="844"/>
                  <a:pt x="6431" y="837"/>
                  <a:pt x="6463" y="818"/>
                </a:cubicBezTo>
                <a:cubicBezTo>
                  <a:pt x="6475" y="811"/>
                  <a:pt x="6478" y="802"/>
                  <a:pt x="6472" y="788"/>
                </a:cubicBezTo>
                <a:lnTo>
                  <a:pt x="6460" y="758"/>
                </a:lnTo>
                <a:cubicBezTo>
                  <a:pt x="6454" y="745"/>
                  <a:pt x="6447" y="743"/>
                  <a:pt x="6434" y="750"/>
                </a:cubicBezTo>
                <a:cubicBezTo>
                  <a:pt x="6414" y="761"/>
                  <a:pt x="6393" y="768"/>
                  <a:pt x="6368" y="768"/>
                </a:cubicBezTo>
                <a:cubicBezTo>
                  <a:pt x="6313" y="768"/>
                  <a:pt x="6295" y="734"/>
                  <a:pt x="6295" y="673"/>
                </a:cubicBezTo>
                <a:lnTo>
                  <a:pt x="6295" y="346"/>
                </a:lnTo>
                <a:lnTo>
                  <a:pt x="6453" y="346"/>
                </a:lnTo>
                <a:cubicBezTo>
                  <a:pt x="6468" y="346"/>
                  <a:pt x="6473" y="340"/>
                  <a:pt x="6473" y="325"/>
                </a:cubicBezTo>
                <a:lnTo>
                  <a:pt x="6473" y="296"/>
                </a:lnTo>
                <a:cubicBezTo>
                  <a:pt x="6473" y="281"/>
                  <a:pt x="6468" y="275"/>
                  <a:pt x="6453" y="275"/>
                </a:cubicBezTo>
                <a:lnTo>
                  <a:pt x="6295" y="275"/>
                </a:lnTo>
                <a:lnTo>
                  <a:pt x="6295" y="146"/>
                </a:lnTo>
                <a:cubicBezTo>
                  <a:pt x="6295" y="131"/>
                  <a:pt x="6289" y="125"/>
                  <a:pt x="6274" y="125"/>
                </a:cubicBezTo>
                <a:lnTo>
                  <a:pt x="6225" y="125"/>
                </a:lnTo>
                <a:cubicBezTo>
                  <a:pt x="6210" y="125"/>
                  <a:pt x="6204" y="131"/>
                  <a:pt x="6204" y="146"/>
                </a:cubicBezTo>
                <a:lnTo>
                  <a:pt x="6204" y="275"/>
                </a:lnTo>
                <a:lnTo>
                  <a:pt x="6130" y="275"/>
                </a:lnTo>
                <a:cubicBezTo>
                  <a:pt x="6115" y="275"/>
                  <a:pt x="6109" y="281"/>
                  <a:pt x="6109" y="296"/>
                </a:cubicBezTo>
                <a:lnTo>
                  <a:pt x="6109" y="325"/>
                </a:lnTo>
                <a:cubicBezTo>
                  <a:pt x="6109" y="340"/>
                  <a:pt x="6115" y="346"/>
                  <a:pt x="6130" y="346"/>
                </a:cubicBezTo>
                <a:lnTo>
                  <a:pt x="6204" y="346"/>
                </a:lnTo>
                <a:close/>
                <a:moveTo>
                  <a:pt x="7502" y="275"/>
                </a:moveTo>
                <a:lnTo>
                  <a:pt x="7502" y="275"/>
                </a:lnTo>
                <a:cubicBezTo>
                  <a:pt x="7487" y="275"/>
                  <a:pt x="7480" y="281"/>
                  <a:pt x="7478" y="296"/>
                </a:cubicBezTo>
                <a:cubicBezTo>
                  <a:pt x="7451" y="447"/>
                  <a:pt x="7398" y="628"/>
                  <a:pt x="7350" y="741"/>
                </a:cubicBezTo>
                <a:cubicBezTo>
                  <a:pt x="7298" y="628"/>
                  <a:pt x="7241" y="447"/>
                  <a:pt x="7214" y="296"/>
                </a:cubicBezTo>
                <a:cubicBezTo>
                  <a:pt x="7211" y="281"/>
                  <a:pt x="7204" y="275"/>
                  <a:pt x="7189" y="275"/>
                </a:cubicBezTo>
                <a:lnTo>
                  <a:pt x="7150" y="275"/>
                </a:lnTo>
                <a:cubicBezTo>
                  <a:pt x="7135" y="275"/>
                  <a:pt x="7128" y="281"/>
                  <a:pt x="7125" y="296"/>
                </a:cubicBezTo>
                <a:cubicBezTo>
                  <a:pt x="7099" y="447"/>
                  <a:pt x="7042" y="628"/>
                  <a:pt x="6990" y="741"/>
                </a:cubicBezTo>
                <a:cubicBezTo>
                  <a:pt x="6942" y="628"/>
                  <a:pt x="6889" y="447"/>
                  <a:pt x="6862" y="296"/>
                </a:cubicBezTo>
                <a:cubicBezTo>
                  <a:pt x="6860" y="281"/>
                  <a:pt x="6853" y="275"/>
                  <a:pt x="6838" y="275"/>
                </a:cubicBezTo>
                <a:lnTo>
                  <a:pt x="6788" y="275"/>
                </a:lnTo>
                <a:cubicBezTo>
                  <a:pt x="6776" y="275"/>
                  <a:pt x="6770" y="281"/>
                  <a:pt x="6770" y="290"/>
                </a:cubicBezTo>
                <a:cubicBezTo>
                  <a:pt x="6770" y="295"/>
                  <a:pt x="6772" y="301"/>
                  <a:pt x="6773" y="306"/>
                </a:cubicBezTo>
                <a:cubicBezTo>
                  <a:pt x="6808" y="483"/>
                  <a:pt x="6877" y="688"/>
                  <a:pt x="6935" y="813"/>
                </a:cubicBezTo>
                <a:cubicBezTo>
                  <a:pt x="6941" y="826"/>
                  <a:pt x="6950" y="832"/>
                  <a:pt x="6965" y="832"/>
                </a:cubicBezTo>
                <a:lnTo>
                  <a:pt x="7011" y="832"/>
                </a:lnTo>
                <a:cubicBezTo>
                  <a:pt x="7026" y="832"/>
                  <a:pt x="7034" y="826"/>
                  <a:pt x="7040" y="812"/>
                </a:cubicBezTo>
                <a:cubicBezTo>
                  <a:pt x="7104" y="659"/>
                  <a:pt x="7147" y="533"/>
                  <a:pt x="7169" y="412"/>
                </a:cubicBezTo>
                <a:cubicBezTo>
                  <a:pt x="7193" y="533"/>
                  <a:pt x="7234" y="659"/>
                  <a:pt x="7301" y="813"/>
                </a:cubicBezTo>
                <a:cubicBezTo>
                  <a:pt x="7306" y="826"/>
                  <a:pt x="7314" y="832"/>
                  <a:pt x="7330" y="832"/>
                </a:cubicBezTo>
                <a:lnTo>
                  <a:pt x="7374" y="832"/>
                </a:lnTo>
                <a:cubicBezTo>
                  <a:pt x="7389" y="832"/>
                  <a:pt x="7398" y="825"/>
                  <a:pt x="7404" y="813"/>
                </a:cubicBezTo>
                <a:cubicBezTo>
                  <a:pt x="7465" y="690"/>
                  <a:pt x="7531" y="483"/>
                  <a:pt x="7566" y="306"/>
                </a:cubicBezTo>
                <a:cubicBezTo>
                  <a:pt x="7567" y="301"/>
                  <a:pt x="7568" y="295"/>
                  <a:pt x="7568" y="290"/>
                </a:cubicBezTo>
                <a:cubicBezTo>
                  <a:pt x="7568" y="281"/>
                  <a:pt x="7563" y="275"/>
                  <a:pt x="7551" y="275"/>
                </a:cubicBezTo>
                <a:lnTo>
                  <a:pt x="7502" y="275"/>
                </a:lnTo>
                <a:close/>
                <a:moveTo>
                  <a:pt x="7705" y="554"/>
                </a:moveTo>
                <a:lnTo>
                  <a:pt x="7705" y="554"/>
                </a:lnTo>
                <a:cubicBezTo>
                  <a:pt x="7705" y="439"/>
                  <a:pt x="7752" y="335"/>
                  <a:pt x="7868" y="335"/>
                </a:cubicBezTo>
                <a:cubicBezTo>
                  <a:pt x="7984" y="335"/>
                  <a:pt x="8030" y="439"/>
                  <a:pt x="8030" y="554"/>
                </a:cubicBezTo>
                <a:cubicBezTo>
                  <a:pt x="8030" y="668"/>
                  <a:pt x="7984" y="772"/>
                  <a:pt x="7868" y="772"/>
                </a:cubicBezTo>
                <a:cubicBezTo>
                  <a:pt x="7752" y="772"/>
                  <a:pt x="7705" y="668"/>
                  <a:pt x="7705" y="554"/>
                </a:cubicBezTo>
                <a:close/>
                <a:moveTo>
                  <a:pt x="8124" y="554"/>
                </a:moveTo>
                <a:lnTo>
                  <a:pt x="8124" y="554"/>
                </a:lnTo>
                <a:cubicBezTo>
                  <a:pt x="8124" y="404"/>
                  <a:pt x="8050" y="264"/>
                  <a:pt x="7868" y="264"/>
                </a:cubicBezTo>
                <a:cubicBezTo>
                  <a:pt x="7689" y="264"/>
                  <a:pt x="7611" y="404"/>
                  <a:pt x="7611" y="554"/>
                </a:cubicBezTo>
                <a:cubicBezTo>
                  <a:pt x="7611" y="703"/>
                  <a:pt x="7686" y="844"/>
                  <a:pt x="7868" y="844"/>
                </a:cubicBezTo>
                <a:cubicBezTo>
                  <a:pt x="8046" y="844"/>
                  <a:pt x="8124" y="703"/>
                  <a:pt x="8124" y="554"/>
                </a:cubicBezTo>
                <a:close/>
                <a:moveTo>
                  <a:pt x="8300" y="832"/>
                </a:moveTo>
                <a:lnTo>
                  <a:pt x="8300" y="832"/>
                </a:lnTo>
                <a:cubicBezTo>
                  <a:pt x="8315" y="832"/>
                  <a:pt x="8321" y="826"/>
                  <a:pt x="8321" y="811"/>
                </a:cubicBezTo>
                <a:lnTo>
                  <a:pt x="8321" y="413"/>
                </a:lnTo>
                <a:cubicBezTo>
                  <a:pt x="8357" y="363"/>
                  <a:pt x="8410" y="346"/>
                  <a:pt x="8455" y="346"/>
                </a:cubicBezTo>
                <a:cubicBezTo>
                  <a:pt x="8471" y="346"/>
                  <a:pt x="8487" y="348"/>
                  <a:pt x="8503" y="353"/>
                </a:cubicBezTo>
                <a:cubicBezTo>
                  <a:pt x="8518" y="356"/>
                  <a:pt x="8524" y="353"/>
                  <a:pt x="8528" y="338"/>
                </a:cubicBezTo>
                <a:lnTo>
                  <a:pt x="8537" y="295"/>
                </a:lnTo>
                <a:cubicBezTo>
                  <a:pt x="8540" y="282"/>
                  <a:pt x="8535" y="273"/>
                  <a:pt x="8522" y="269"/>
                </a:cubicBezTo>
                <a:cubicBezTo>
                  <a:pt x="8506" y="265"/>
                  <a:pt x="8488" y="264"/>
                  <a:pt x="8473" y="264"/>
                </a:cubicBezTo>
                <a:cubicBezTo>
                  <a:pt x="8392" y="264"/>
                  <a:pt x="8347" y="308"/>
                  <a:pt x="8315" y="348"/>
                </a:cubicBezTo>
                <a:lnTo>
                  <a:pt x="8315" y="296"/>
                </a:lnTo>
                <a:cubicBezTo>
                  <a:pt x="8315" y="281"/>
                  <a:pt x="8310" y="275"/>
                  <a:pt x="8294" y="275"/>
                </a:cubicBezTo>
                <a:lnTo>
                  <a:pt x="8252" y="275"/>
                </a:lnTo>
                <a:cubicBezTo>
                  <a:pt x="8236" y="275"/>
                  <a:pt x="8231" y="281"/>
                  <a:pt x="8231" y="296"/>
                </a:cubicBezTo>
                <a:lnTo>
                  <a:pt x="8231" y="811"/>
                </a:lnTo>
                <a:cubicBezTo>
                  <a:pt x="8231" y="826"/>
                  <a:pt x="8236" y="832"/>
                  <a:pt x="8252" y="832"/>
                </a:cubicBezTo>
                <a:lnTo>
                  <a:pt x="8300" y="832"/>
                </a:lnTo>
                <a:close/>
                <a:moveTo>
                  <a:pt x="9044" y="832"/>
                </a:moveTo>
                <a:lnTo>
                  <a:pt x="9044" y="832"/>
                </a:lnTo>
                <a:cubicBezTo>
                  <a:pt x="9058" y="832"/>
                  <a:pt x="9061" y="825"/>
                  <a:pt x="9056" y="813"/>
                </a:cubicBezTo>
                <a:cubicBezTo>
                  <a:pt x="9009" y="716"/>
                  <a:pt x="8919" y="595"/>
                  <a:pt x="8833" y="515"/>
                </a:cubicBezTo>
                <a:cubicBezTo>
                  <a:pt x="8909" y="447"/>
                  <a:pt x="8978" y="369"/>
                  <a:pt x="9028" y="293"/>
                </a:cubicBezTo>
                <a:cubicBezTo>
                  <a:pt x="9035" y="282"/>
                  <a:pt x="9031" y="275"/>
                  <a:pt x="9018" y="275"/>
                </a:cubicBezTo>
                <a:lnTo>
                  <a:pt x="8962" y="275"/>
                </a:lnTo>
                <a:cubicBezTo>
                  <a:pt x="8945" y="275"/>
                  <a:pt x="8937" y="280"/>
                  <a:pt x="8928" y="293"/>
                </a:cubicBezTo>
                <a:cubicBezTo>
                  <a:pt x="8878" y="367"/>
                  <a:pt x="8789" y="465"/>
                  <a:pt x="8704" y="526"/>
                </a:cubicBezTo>
                <a:lnTo>
                  <a:pt x="8704" y="20"/>
                </a:lnTo>
                <a:cubicBezTo>
                  <a:pt x="8704" y="5"/>
                  <a:pt x="8698" y="0"/>
                  <a:pt x="8683" y="0"/>
                </a:cubicBezTo>
                <a:lnTo>
                  <a:pt x="8634" y="0"/>
                </a:lnTo>
                <a:cubicBezTo>
                  <a:pt x="8619" y="0"/>
                  <a:pt x="8614" y="5"/>
                  <a:pt x="8614" y="20"/>
                </a:cubicBezTo>
                <a:lnTo>
                  <a:pt x="8614" y="811"/>
                </a:lnTo>
                <a:cubicBezTo>
                  <a:pt x="8614" y="826"/>
                  <a:pt x="8619" y="832"/>
                  <a:pt x="8634" y="832"/>
                </a:cubicBezTo>
                <a:lnTo>
                  <a:pt x="8683" y="832"/>
                </a:lnTo>
                <a:cubicBezTo>
                  <a:pt x="8698" y="832"/>
                  <a:pt x="8704" y="826"/>
                  <a:pt x="8704" y="811"/>
                </a:cubicBezTo>
                <a:lnTo>
                  <a:pt x="8704" y="613"/>
                </a:lnTo>
                <a:cubicBezTo>
                  <a:pt x="8727" y="598"/>
                  <a:pt x="8750" y="581"/>
                  <a:pt x="8773" y="564"/>
                </a:cubicBezTo>
                <a:cubicBezTo>
                  <a:pt x="8846" y="634"/>
                  <a:pt x="8914" y="732"/>
                  <a:pt x="8958" y="813"/>
                </a:cubicBezTo>
                <a:cubicBezTo>
                  <a:pt x="8965" y="827"/>
                  <a:pt x="8973" y="832"/>
                  <a:pt x="8988" y="832"/>
                </a:cubicBezTo>
                <a:lnTo>
                  <a:pt x="9044" y="83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7534125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1" y="-8587"/>
            <a:ext cx="12207234" cy="6874623"/>
          </a:xfrm>
          <a:prstGeom prst="rect">
            <a:avLst/>
          </a:prstGeom>
        </p:spPr>
      </p:pic>
      <p:sp>
        <p:nvSpPr>
          <p:cNvPr id="2" name="Title 1"/>
          <p:cNvSpPr>
            <a:spLocks noGrp="1"/>
          </p:cNvSpPr>
          <p:nvPr>
            <p:ph type="ctrTitle" hasCustomPrompt="1"/>
          </p:nvPr>
        </p:nvSpPr>
        <p:spPr>
          <a:xfrm>
            <a:off x="1624903" y="1649413"/>
            <a:ext cx="9000934" cy="1417468"/>
          </a:xfrm>
        </p:spPr>
        <p:txBody>
          <a:bodyPr anchor="t" anchorCtr="0">
            <a:noAutofit/>
          </a:bodyPr>
          <a:lstStyle>
            <a:lvl1pPr algn="l">
              <a:lnSpc>
                <a:spcPct val="90000"/>
              </a:lnSpc>
              <a:defRPr sz="4800">
                <a:solidFill>
                  <a:schemeClr val="accent2"/>
                </a:solidFill>
              </a:defRPr>
            </a:lvl1pPr>
          </a:lstStyle>
          <a:p>
            <a:r>
              <a:rPr lang="en-US" dirty="0"/>
              <a:t>Title Slide 2 Layout</a:t>
            </a:r>
            <a:endParaRPr lang="en-CA" dirty="0"/>
          </a:p>
        </p:txBody>
      </p:sp>
      <p:sp>
        <p:nvSpPr>
          <p:cNvPr id="4" name="Date Placeholder 3"/>
          <p:cNvSpPr>
            <a:spLocks noGrp="1"/>
          </p:cNvSpPr>
          <p:nvPr>
            <p:ph type="dt" sz="half" idx="10"/>
          </p:nvPr>
        </p:nvSpPr>
        <p:spPr>
          <a:xfrm>
            <a:off x="1627188" y="3072384"/>
            <a:ext cx="3979927" cy="254013"/>
          </a:xfrm>
        </p:spPr>
        <p:txBody>
          <a:bodyPr/>
          <a:lstStyle>
            <a:lvl1pPr algn="l">
              <a:defRPr sz="1300" b="1">
                <a:solidFill>
                  <a:schemeClr val="accent2"/>
                </a:solidFill>
              </a:defRPr>
            </a:lvl1pPr>
          </a:lstStyle>
          <a:p>
            <a:fld id="{11A10271-0286-4BA7-AF61-91EDADC7C7D8}" type="datetime4">
              <a:rPr lang="en-US" smtClean="0"/>
              <a:t>October 18, 2021</a:t>
            </a:fld>
            <a:endParaRPr lang="en-CA"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65760" y="365760"/>
            <a:ext cx="901153" cy="901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29475" y="3383280"/>
            <a:ext cx="3977640" cy="1684307"/>
          </a:xfrm>
          <a:prstGeom prst="rect">
            <a:avLst/>
          </a:prstGeom>
          <a:noFill/>
        </p:spPr>
        <p:txBody>
          <a:bodyPr wrap="square" lIns="0" tIns="0" rIns="0" bIns="0" rtlCol="0">
            <a:spAutoFit/>
          </a:bodyPr>
          <a:lstStyle/>
          <a:p>
            <a:pPr>
              <a:lnSpc>
                <a:spcPct val="110000"/>
              </a:lnSpc>
            </a:pPr>
            <a:r>
              <a:rPr lang="en-CA" sz="800" b="1" dirty="0">
                <a:solidFill>
                  <a:schemeClr val="accent2"/>
                </a:solidFill>
              </a:rPr>
              <a:t>Confidential. Not to be copied, reproduced, or distributed without prior approval.</a:t>
            </a:r>
          </a:p>
          <a:p>
            <a:pPr>
              <a:lnSpc>
                <a:spcPct val="110000"/>
              </a:lnSpc>
            </a:pPr>
            <a:endParaRPr lang="en-CA" sz="800" b="1" dirty="0">
              <a:solidFill>
                <a:schemeClr val="accent2"/>
              </a:solidFill>
            </a:endParaRPr>
          </a:p>
          <a:p>
            <a:pPr>
              <a:lnSpc>
                <a:spcPct val="110000"/>
              </a:lnSpc>
            </a:pPr>
            <a:r>
              <a:rPr lang="en-CA" sz="800" b="1" dirty="0">
                <a:solidFill>
                  <a:schemeClr val="accent2"/>
                </a:solidFill>
              </a:rPr>
              <a:t>CAUTION CONCERNING FORWARD-LOOKING STATEMENTS:</a:t>
            </a:r>
          </a:p>
          <a:p>
            <a:pPr>
              <a:lnSpc>
                <a:spcPct val="110000"/>
              </a:lnSpc>
            </a:pPr>
            <a:r>
              <a:rPr lang="en-CA" sz="800" dirty="0">
                <a:solidFill>
                  <a:schemeClr val="accent2"/>
                </a:solidFill>
              </a:rPr>
              <a:t>This document contains "forward-looking statements" – that is, statements related to future events that by their nature address matters that are, to different degrees, uncertain. For details on the uncertainties that may cause our actual future results to be materially different than those expressed in our forward-looking statements, see </a:t>
            </a:r>
            <a:br>
              <a:rPr lang="en-CA" sz="800" dirty="0">
                <a:solidFill>
                  <a:schemeClr val="accent2"/>
                </a:solidFill>
              </a:rPr>
            </a:br>
            <a:r>
              <a:rPr lang="en-CA" sz="800" dirty="0">
                <a:solidFill>
                  <a:schemeClr val="accent2"/>
                </a:solidFill>
              </a:rPr>
              <a:t>http://www.ge.com/investor-relations/disclaimer-caution-concerning-forwardlooking-statements as well as our annual reports on Form 10-K and quarterly reports on Form 10-Q. We do not undertake to update our forward-looking statements. This document also includes certain forward-looking projected financial information that is based on current estimates and forecasts. Actual results could differ materially. to total risk-weighted assets.]</a:t>
            </a:r>
          </a:p>
        </p:txBody>
      </p:sp>
      <p:sp>
        <p:nvSpPr>
          <p:cNvPr id="7" name="TextBox 6"/>
          <p:cNvSpPr txBox="1"/>
          <p:nvPr/>
        </p:nvSpPr>
        <p:spPr>
          <a:xfrm>
            <a:off x="5820377" y="3383280"/>
            <a:ext cx="4800600" cy="3114122"/>
          </a:xfrm>
          <a:prstGeom prst="rect">
            <a:avLst/>
          </a:prstGeom>
          <a:noFill/>
        </p:spPr>
        <p:txBody>
          <a:bodyPr wrap="square" lIns="0" tIns="0" rIns="0" bIns="0" rtlCol="0">
            <a:spAutoFit/>
          </a:bodyPr>
          <a:lstStyle/>
          <a:p>
            <a:pPr>
              <a:lnSpc>
                <a:spcPct val="110000"/>
              </a:lnSpc>
            </a:pPr>
            <a:r>
              <a:rPr lang="en-CA" sz="800" b="1" dirty="0">
                <a:solidFill>
                  <a:schemeClr val="accent2"/>
                </a:solidFill>
              </a:rPr>
              <a:t>NON-GAAP FINANCIAL MEASURES:</a:t>
            </a:r>
          </a:p>
          <a:p>
            <a:pPr>
              <a:lnSpc>
                <a:spcPct val="110000"/>
              </a:lnSpc>
            </a:pPr>
            <a:r>
              <a:rPr lang="en-CA" sz="800" dirty="0">
                <a:solidFill>
                  <a:schemeClr val="accent2"/>
                </a:solidFill>
              </a:rPr>
              <a:t>In this document, we sometimes use information derived from consolidated financial data but not presented in our financial statements prepared in accordance with U.S. generally accepted accounting principles (GAAP). Certain of these data are considered “non-GAAP financial measures” under the U.S. Securities and Exchange Commission rules. These non-GAAP financial measures supplement our GAAP disclosures and should not be considered an alternative to the GAAP measure. The reasons we use these non-GAAP financial measures and the reconciliations to their most directly comparable GAAP financial measures are posted to the investor relations section of our website at www.ge.com. [We use non-GAAP financial measures including the following:</a:t>
            </a:r>
          </a:p>
          <a:p>
            <a:pPr>
              <a:lnSpc>
                <a:spcPct val="110000"/>
              </a:lnSpc>
            </a:pPr>
            <a:r>
              <a:rPr lang="en-CA" sz="800" dirty="0">
                <a:solidFill>
                  <a:schemeClr val="accent2"/>
                </a:solidFill>
              </a:rPr>
              <a:t>•  Operating earnings and EPS, which is earnings from continuing operations excluding non-service-related pension costs of our principal pension plans.</a:t>
            </a:r>
          </a:p>
          <a:p>
            <a:pPr>
              <a:lnSpc>
                <a:spcPct val="110000"/>
              </a:lnSpc>
            </a:pPr>
            <a:r>
              <a:rPr lang="en-CA" sz="800" dirty="0">
                <a:solidFill>
                  <a:schemeClr val="accent2"/>
                </a:solidFill>
              </a:rPr>
              <a:t>•  GE Industrial operating &amp; Verticals earnings and EPS, which is operating earnings of our industrial businesses and the GE Capital businesses that we expect to retain.</a:t>
            </a:r>
          </a:p>
          <a:p>
            <a:pPr>
              <a:lnSpc>
                <a:spcPct val="110000"/>
              </a:lnSpc>
            </a:pPr>
            <a:r>
              <a:rPr lang="en-CA" sz="800" dirty="0">
                <a:solidFill>
                  <a:schemeClr val="accent2"/>
                </a:solidFill>
              </a:rPr>
              <a:t>•  GE Industrial &amp; Verticals revenues, which is revenue of our industrial businesses and the GE Capital businesses that we expect to retain.</a:t>
            </a:r>
          </a:p>
          <a:p>
            <a:pPr>
              <a:lnSpc>
                <a:spcPct val="110000"/>
              </a:lnSpc>
            </a:pPr>
            <a:r>
              <a:rPr lang="en-CA" sz="800" dirty="0">
                <a:solidFill>
                  <a:schemeClr val="accent2"/>
                </a:solidFill>
              </a:rPr>
              <a:t>•  Industrial segment organic revenue, which is the sum of revenue from all of our industrial segments less the effects of acquisitions/dispositions and currency exchange.</a:t>
            </a:r>
          </a:p>
          <a:p>
            <a:pPr>
              <a:lnSpc>
                <a:spcPct val="110000"/>
              </a:lnSpc>
            </a:pPr>
            <a:r>
              <a:rPr lang="en-CA" sz="800" dirty="0">
                <a:solidFill>
                  <a:schemeClr val="accent2"/>
                </a:solidFill>
              </a:rPr>
              <a:t>•  Industrial segment organic operating profit, which is the sum of segment profit from all of our industrial segments less the effects of acquisitions/dispositions and currency exchange.</a:t>
            </a:r>
          </a:p>
          <a:p>
            <a:pPr>
              <a:lnSpc>
                <a:spcPct val="110000"/>
              </a:lnSpc>
            </a:pPr>
            <a:r>
              <a:rPr lang="en-CA" sz="800" dirty="0">
                <a:solidFill>
                  <a:schemeClr val="accent2"/>
                </a:solidFill>
              </a:rPr>
              <a:t>•  Industrial cash flows from operating activities (Industrial CFOA), which is GE’s cash flow from operating activities excluding dividends received from GE Capital.</a:t>
            </a:r>
          </a:p>
          <a:p>
            <a:pPr>
              <a:lnSpc>
                <a:spcPct val="110000"/>
              </a:lnSpc>
            </a:pPr>
            <a:r>
              <a:rPr lang="en-CA" sz="800" dirty="0">
                <a:solidFill>
                  <a:schemeClr val="accent2"/>
                </a:solidFill>
              </a:rPr>
              <a:t>•  Capital ending net investment (ENI), excluding liquidity, which is a measure we use to measure the size of our Capital segment.</a:t>
            </a:r>
          </a:p>
          <a:p>
            <a:pPr>
              <a:lnSpc>
                <a:spcPct val="110000"/>
              </a:lnSpc>
            </a:pPr>
            <a:r>
              <a:rPr lang="en-CA" sz="800" dirty="0">
                <a:solidFill>
                  <a:schemeClr val="accent2"/>
                </a:solidFill>
              </a:rPr>
              <a:t>•  GE Capital Tier 1 Common ratio estimate is a ratio of equity</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302394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3"/>
          <p:cNvSpPr>
            <a:spLocks noChangeAspect="1" noChangeArrowheads="1" noTextEdit="1"/>
          </p:cNvSpPr>
          <p:nvPr userDrawn="1"/>
        </p:nvSpPr>
        <p:spPr bwMode="auto">
          <a:xfrm>
            <a:off x="4819650" y="2185988"/>
            <a:ext cx="2543175"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Tree>
    <p:extLst>
      <p:ext uri="{BB962C8B-B14F-4D97-AF65-F5344CB8AC3E}">
        <p14:creationId xmlns:p14="http://schemas.microsoft.com/office/powerpoint/2010/main" val="19351951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pic>
        <p:nvPicPr>
          <p:cNvPr id="3" name="Picture 3" descr="I:\Dockets\1421 SmallStuff GE PPT\Graphics\GEWhite.emf"/>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18888" y="2185416"/>
            <a:ext cx="2542032" cy="254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9981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011" y="4303727"/>
            <a:ext cx="12188952" cy="1836431"/>
          </a:xfrm>
          <a:prstGeom prst="rect">
            <a:avLst/>
          </a:prstGeom>
        </p:spPr>
      </p:pic>
      <p:sp>
        <p:nvSpPr>
          <p:cNvPr id="2" name="Title 1"/>
          <p:cNvSpPr>
            <a:spLocks noGrp="1"/>
          </p:cNvSpPr>
          <p:nvPr>
            <p:ph type="ctrTitle" hasCustomPrompt="1"/>
          </p:nvPr>
        </p:nvSpPr>
        <p:spPr>
          <a:xfrm>
            <a:off x="2558964" y="585216"/>
            <a:ext cx="739942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2558964" y="2441889"/>
            <a:ext cx="4467288" cy="254013"/>
          </a:xfrm>
        </p:spPr>
        <p:txBody>
          <a:bodyPr/>
          <a:lstStyle>
            <a:lvl1pPr algn="l">
              <a:defRPr sz="1400" b="1">
                <a:solidFill>
                  <a:schemeClr val="accent2"/>
                </a:solidFill>
              </a:defRPr>
            </a:lvl1pPr>
          </a:lstStyle>
          <a:p>
            <a:fld id="{D0F23978-26A4-4DFA-A14F-106B237D5107}" type="datetime4">
              <a:rPr lang="en-US" smtClean="0"/>
              <a:t>October 18, 2021</a:t>
            </a:fld>
            <a:endParaRPr lang="en-CA" dirty="0"/>
          </a:p>
        </p:txBody>
      </p:sp>
      <p:sp>
        <p:nvSpPr>
          <p:cNvPr id="11" name="TextBox 10"/>
          <p:cNvSpPr txBox="1"/>
          <p:nvPr userDrawn="1"/>
        </p:nvSpPr>
        <p:spPr>
          <a:xfrm>
            <a:off x="2559607" y="3017520"/>
            <a:ext cx="8047433" cy="276999"/>
          </a:xfrm>
          <a:prstGeom prst="rect">
            <a:avLst/>
          </a:prstGeom>
          <a:noFill/>
        </p:spPr>
        <p:txBody>
          <a:bodyPr wrap="square" lIns="0" tIns="0" rIns="0" bIns="0" rtlCol="0" anchor="b">
            <a:spAutoFit/>
          </a:bodyPr>
          <a:lstStyle/>
          <a:p>
            <a:r>
              <a:rPr lang="en-US" sz="900" dirty="0">
                <a:solidFill>
                  <a:schemeClr val="accent2"/>
                </a:solidFill>
              </a:rPr>
              <a:t>Placeholder confidentiality disclosure. Edit or delete from layout master if not needed.</a:t>
            </a:r>
          </a:p>
          <a:p>
            <a:r>
              <a:rPr lang="en-US" sz="900" baseline="0" dirty="0">
                <a:solidFill>
                  <a:srgbClr val="63666A"/>
                </a:solidFill>
                <a:latin typeface="GE Inspira Sans" charset="0"/>
                <a:ea typeface="GE Inspira Sans" charset="0"/>
                <a:cs typeface="GE Inspira Sans" charset="0"/>
              </a:rPr>
              <a:t>Use this second line if additional confidentiality disclosure information is required. </a:t>
            </a:r>
            <a:endParaRPr lang="en-US" sz="2000" dirty="0">
              <a:solidFill>
                <a:srgbClr val="63666A"/>
              </a:solidFill>
              <a:latin typeface="GE Inspira Sans" charset="0"/>
              <a:ea typeface="GE Inspira Sans" charset="0"/>
              <a:cs typeface="GE Inspira Sans" charset="0"/>
            </a:endParaRPr>
          </a:p>
        </p:txBody>
      </p:sp>
      <p:sp>
        <p:nvSpPr>
          <p:cNvPr id="9" name="Freeform 5"/>
          <p:cNvSpPr>
            <a:spLocks noChangeAspect="1" noEditPoints="1"/>
          </p:cNvSpPr>
          <p:nvPr userDrawn="1"/>
        </p:nvSpPr>
        <p:spPr bwMode="auto">
          <a:xfrm>
            <a:off x="754593" y="475512"/>
            <a:ext cx="914400" cy="914400"/>
          </a:xfrm>
          <a:custGeom>
            <a:avLst/>
            <a:gdLst>
              <a:gd name="T0" fmla="*/ 3869 w 5760"/>
              <a:gd name="T1" fmla="*/ 1545 h 5760"/>
              <a:gd name="T2" fmla="*/ 2018 w 5760"/>
              <a:gd name="T3" fmla="*/ 2250 h 5760"/>
              <a:gd name="T4" fmla="*/ 2018 w 5760"/>
              <a:gd name="T5" fmla="*/ 2250 h 5760"/>
              <a:gd name="T6" fmla="*/ 1556 w 5760"/>
              <a:gd name="T7" fmla="*/ 3934 h 5760"/>
              <a:gd name="T8" fmla="*/ 1755 w 5760"/>
              <a:gd name="T9" fmla="*/ 4133 h 5760"/>
              <a:gd name="T10" fmla="*/ 3470 w 5760"/>
              <a:gd name="T11" fmla="*/ 3455 h 5760"/>
              <a:gd name="T12" fmla="*/ 3861 w 5760"/>
              <a:gd name="T13" fmla="*/ 3710 h 5760"/>
              <a:gd name="T14" fmla="*/ 3933 w 5760"/>
              <a:gd name="T15" fmla="*/ 3255 h 5760"/>
              <a:gd name="T16" fmla="*/ 3734 w 5760"/>
              <a:gd name="T17" fmla="*/ 4133 h 5760"/>
              <a:gd name="T18" fmla="*/ 3694 w 5760"/>
              <a:gd name="T19" fmla="*/ 2712 h 5760"/>
              <a:gd name="T20" fmla="*/ 3905 w 5760"/>
              <a:gd name="T21" fmla="*/ 2466 h 5760"/>
              <a:gd name="T22" fmla="*/ 3574 w 5760"/>
              <a:gd name="T23" fmla="*/ 2354 h 5760"/>
              <a:gd name="T24" fmla="*/ 3853 w 5760"/>
              <a:gd name="T25" fmla="*/ 1324 h 5760"/>
              <a:gd name="T26" fmla="*/ 3295 w 5760"/>
              <a:gd name="T27" fmla="*/ 2298 h 5760"/>
              <a:gd name="T28" fmla="*/ 2685 w 5760"/>
              <a:gd name="T29" fmla="*/ 2469 h 5760"/>
              <a:gd name="T30" fmla="*/ 2816 w 5760"/>
              <a:gd name="T31" fmla="*/ 1987 h 5760"/>
              <a:gd name="T32" fmla="*/ 2170 w 5760"/>
              <a:gd name="T33" fmla="*/ 2593 h 5760"/>
              <a:gd name="T34" fmla="*/ 2712 w 5760"/>
              <a:gd name="T35" fmla="*/ 1580 h 5760"/>
              <a:gd name="T36" fmla="*/ 1779 w 5760"/>
              <a:gd name="T37" fmla="*/ 2274 h 5760"/>
              <a:gd name="T38" fmla="*/ 1643 w 5760"/>
              <a:gd name="T39" fmla="*/ 1795 h 5760"/>
              <a:gd name="T40" fmla="*/ 1388 w 5760"/>
              <a:gd name="T41" fmla="*/ 2066 h 5760"/>
              <a:gd name="T42" fmla="*/ 2122 w 5760"/>
              <a:gd name="T43" fmla="*/ 2792 h 5760"/>
              <a:gd name="T44" fmla="*/ 2417 w 5760"/>
              <a:gd name="T45" fmla="*/ 2832 h 5760"/>
              <a:gd name="T46" fmla="*/ 1292 w 5760"/>
              <a:gd name="T47" fmla="*/ 3917 h 5760"/>
              <a:gd name="T48" fmla="*/ 2537 w 5760"/>
              <a:gd name="T49" fmla="*/ 3678 h 5760"/>
              <a:gd name="T50" fmla="*/ 3374 w 5760"/>
              <a:gd name="T51" fmla="*/ 2489 h 5760"/>
              <a:gd name="T52" fmla="*/ 2888 w 5760"/>
              <a:gd name="T53" fmla="*/ 3502 h 5760"/>
              <a:gd name="T54" fmla="*/ 4484 w 5760"/>
              <a:gd name="T55" fmla="*/ 3646 h 5760"/>
              <a:gd name="T56" fmla="*/ 5321 w 5760"/>
              <a:gd name="T57" fmla="*/ 3701 h 5760"/>
              <a:gd name="T58" fmla="*/ 5297 w 5760"/>
              <a:gd name="T59" fmla="*/ 3694 h 5760"/>
              <a:gd name="T60" fmla="*/ 5066 w 5760"/>
              <a:gd name="T61" fmla="*/ 2513 h 5760"/>
              <a:gd name="T62" fmla="*/ 5138 w 5760"/>
              <a:gd name="T63" fmla="*/ 3415 h 5760"/>
              <a:gd name="T64" fmla="*/ 2880 w 5760"/>
              <a:gd name="T65" fmla="*/ 5449 h 5760"/>
              <a:gd name="T66" fmla="*/ 2063 w 5760"/>
              <a:gd name="T67" fmla="*/ 5306 h 5760"/>
              <a:gd name="T68" fmla="*/ 2689 w 5760"/>
              <a:gd name="T69" fmla="*/ 5393 h 5760"/>
              <a:gd name="T70" fmla="*/ 3047 w 5760"/>
              <a:gd name="T71" fmla="*/ 4875 h 5760"/>
              <a:gd name="T72" fmla="*/ 1771 w 5760"/>
              <a:gd name="T73" fmla="*/ 5042 h 5760"/>
              <a:gd name="T74" fmla="*/ 440 w 5760"/>
              <a:gd name="T75" fmla="*/ 2067 h 5760"/>
              <a:gd name="T76" fmla="*/ 462 w 5760"/>
              <a:gd name="T77" fmla="*/ 2075 h 5760"/>
              <a:gd name="T78" fmla="*/ 694 w 5760"/>
              <a:gd name="T79" fmla="*/ 3247 h 5760"/>
              <a:gd name="T80" fmla="*/ 622 w 5760"/>
              <a:gd name="T81" fmla="*/ 2354 h 5760"/>
              <a:gd name="T82" fmla="*/ 2880 w 5760"/>
              <a:gd name="T83" fmla="*/ 311 h 5760"/>
              <a:gd name="T84" fmla="*/ 3696 w 5760"/>
              <a:gd name="T85" fmla="*/ 461 h 5760"/>
              <a:gd name="T86" fmla="*/ 3071 w 5760"/>
              <a:gd name="T87" fmla="*/ 367 h 5760"/>
              <a:gd name="T88" fmla="*/ 2712 w 5760"/>
              <a:gd name="T89" fmla="*/ 885 h 5760"/>
              <a:gd name="T90" fmla="*/ 3989 w 5760"/>
              <a:gd name="T91" fmla="*/ 726 h 5760"/>
              <a:gd name="T92" fmla="*/ 5321 w 5760"/>
              <a:gd name="T93" fmla="*/ 3701 h 5760"/>
              <a:gd name="T94" fmla="*/ 135 w 5760"/>
              <a:gd name="T95" fmla="*/ 2880 h 5760"/>
              <a:gd name="T96" fmla="*/ 5624 w 5760"/>
              <a:gd name="T97" fmla="*/ 2880 h 5760"/>
              <a:gd name="T98" fmla="*/ 2880 w 5760"/>
              <a:gd name="T99" fmla="*/ 5760 h 5760"/>
              <a:gd name="T100" fmla="*/ 2880 w 5760"/>
              <a:gd name="T101" fmla="*/ 0 h 5760"/>
              <a:gd name="T102" fmla="*/ 2880 w 5760"/>
              <a:gd name="T103" fmla="*/ 576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5760">
                <a:moveTo>
                  <a:pt x="3526" y="2130"/>
                </a:moveTo>
                <a:cubicBezTo>
                  <a:pt x="3526" y="1803"/>
                  <a:pt x="3748" y="1485"/>
                  <a:pt x="3869" y="1545"/>
                </a:cubicBezTo>
                <a:cubicBezTo>
                  <a:pt x="4006" y="1614"/>
                  <a:pt x="3766" y="1923"/>
                  <a:pt x="3526" y="2130"/>
                </a:cubicBezTo>
                <a:moveTo>
                  <a:pt x="2018" y="2250"/>
                </a:moveTo>
                <a:cubicBezTo>
                  <a:pt x="2018" y="1987"/>
                  <a:pt x="2278" y="1486"/>
                  <a:pt x="2437" y="1539"/>
                </a:cubicBezTo>
                <a:cubicBezTo>
                  <a:pt x="2625" y="1601"/>
                  <a:pt x="2282" y="2106"/>
                  <a:pt x="2018" y="2250"/>
                </a:cubicBezTo>
                <a:close/>
                <a:moveTo>
                  <a:pt x="1755" y="4133"/>
                </a:moveTo>
                <a:cubicBezTo>
                  <a:pt x="1635" y="4138"/>
                  <a:pt x="1556" y="4062"/>
                  <a:pt x="1556" y="3934"/>
                </a:cubicBezTo>
                <a:cubicBezTo>
                  <a:pt x="1556" y="3591"/>
                  <a:pt x="2031" y="3264"/>
                  <a:pt x="2390" y="3088"/>
                </a:cubicBezTo>
                <a:cubicBezTo>
                  <a:pt x="2327" y="3567"/>
                  <a:pt x="2165" y="4114"/>
                  <a:pt x="1755" y="4133"/>
                </a:cubicBezTo>
                <a:close/>
                <a:moveTo>
                  <a:pt x="3949" y="3016"/>
                </a:moveTo>
                <a:cubicBezTo>
                  <a:pt x="3678" y="3016"/>
                  <a:pt x="3470" y="3215"/>
                  <a:pt x="3470" y="3455"/>
                </a:cubicBezTo>
                <a:cubicBezTo>
                  <a:pt x="3470" y="3654"/>
                  <a:pt x="3590" y="3813"/>
                  <a:pt x="3750" y="3813"/>
                </a:cubicBezTo>
                <a:cubicBezTo>
                  <a:pt x="3806" y="3813"/>
                  <a:pt x="3861" y="3782"/>
                  <a:pt x="3861" y="3710"/>
                </a:cubicBezTo>
                <a:cubicBezTo>
                  <a:pt x="3861" y="3606"/>
                  <a:pt x="3724" y="3581"/>
                  <a:pt x="3734" y="3426"/>
                </a:cubicBezTo>
                <a:cubicBezTo>
                  <a:pt x="3741" y="3323"/>
                  <a:pt x="3837" y="3255"/>
                  <a:pt x="3933" y="3255"/>
                </a:cubicBezTo>
                <a:cubicBezTo>
                  <a:pt x="4124" y="3255"/>
                  <a:pt x="4214" y="3440"/>
                  <a:pt x="4214" y="3632"/>
                </a:cubicBezTo>
                <a:cubicBezTo>
                  <a:pt x="4206" y="3927"/>
                  <a:pt x="3989" y="4133"/>
                  <a:pt x="3734" y="4133"/>
                </a:cubicBezTo>
                <a:cubicBezTo>
                  <a:pt x="3398" y="4133"/>
                  <a:pt x="3183" y="3813"/>
                  <a:pt x="3183" y="3470"/>
                </a:cubicBezTo>
                <a:cubicBezTo>
                  <a:pt x="3183" y="2960"/>
                  <a:pt x="3518" y="2760"/>
                  <a:pt x="3694" y="2712"/>
                </a:cubicBezTo>
                <a:cubicBezTo>
                  <a:pt x="3696" y="2712"/>
                  <a:pt x="4153" y="2794"/>
                  <a:pt x="4138" y="2592"/>
                </a:cubicBezTo>
                <a:cubicBezTo>
                  <a:pt x="4132" y="2504"/>
                  <a:pt x="4000" y="2470"/>
                  <a:pt x="3905" y="2466"/>
                </a:cubicBezTo>
                <a:cubicBezTo>
                  <a:pt x="3799" y="2462"/>
                  <a:pt x="3692" y="2500"/>
                  <a:pt x="3692" y="2500"/>
                </a:cubicBezTo>
                <a:cubicBezTo>
                  <a:pt x="3636" y="2472"/>
                  <a:pt x="3598" y="2417"/>
                  <a:pt x="3574" y="2354"/>
                </a:cubicBezTo>
                <a:cubicBezTo>
                  <a:pt x="3901" y="2106"/>
                  <a:pt x="4133" y="1867"/>
                  <a:pt x="4133" y="1596"/>
                </a:cubicBezTo>
                <a:cubicBezTo>
                  <a:pt x="4133" y="1452"/>
                  <a:pt x="4037" y="1324"/>
                  <a:pt x="3853" y="1324"/>
                </a:cubicBezTo>
                <a:cubicBezTo>
                  <a:pt x="3526" y="1324"/>
                  <a:pt x="3279" y="1739"/>
                  <a:pt x="3279" y="2114"/>
                </a:cubicBezTo>
                <a:cubicBezTo>
                  <a:pt x="3279" y="2178"/>
                  <a:pt x="3279" y="2242"/>
                  <a:pt x="3295" y="2298"/>
                </a:cubicBezTo>
                <a:cubicBezTo>
                  <a:pt x="3087" y="2449"/>
                  <a:pt x="2933" y="2543"/>
                  <a:pt x="2654" y="2711"/>
                </a:cubicBezTo>
                <a:cubicBezTo>
                  <a:pt x="2654" y="2676"/>
                  <a:pt x="2661" y="2586"/>
                  <a:pt x="2685" y="2469"/>
                </a:cubicBezTo>
                <a:cubicBezTo>
                  <a:pt x="2780" y="2365"/>
                  <a:pt x="2912" y="2210"/>
                  <a:pt x="2912" y="2090"/>
                </a:cubicBezTo>
                <a:cubicBezTo>
                  <a:pt x="2912" y="2034"/>
                  <a:pt x="2880" y="1987"/>
                  <a:pt x="2816" y="1987"/>
                </a:cubicBezTo>
                <a:cubicBezTo>
                  <a:pt x="2657" y="1987"/>
                  <a:pt x="2537" y="2226"/>
                  <a:pt x="2505" y="2393"/>
                </a:cubicBezTo>
                <a:cubicBezTo>
                  <a:pt x="2433" y="2481"/>
                  <a:pt x="2290" y="2593"/>
                  <a:pt x="2170" y="2593"/>
                </a:cubicBezTo>
                <a:cubicBezTo>
                  <a:pt x="2074" y="2593"/>
                  <a:pt x="2042" y="2505"/>
                  <a:pt x="2034" y="2473"/>
                </a:cubicBezTo>
                <a:cubicBezTo>
                  <a:pt x="2338" y="2369"/>
                  <a:pt x="2712" y="1955"/>
                  <a:pt x="2712" y="1580"/>
                </a:cubicBezTo>
                <a:cubicBezTo>
                  <a:pt x="2712" y="1500"/>
                  <a:pt x="2681" y="1324"/>
                  <a:pt x="2441" y="1324"/>
                </a:cubicBezTo>
                <a:cubicBezTo>
                  <a:pt x="2082" y="1324"/>
                  <a:pt x="1779" y="1859"/>
                  <a:pt x="1779" y="2274"/>
                </a:cubicBezTo>
                <a:cubicBezTo>
                  <a:pt x="1651" y="2274"/>
                  <a:pt x="1604" y="2138"/>
                  <a:pt x="1604" y="2034"/>
                </a:cubicBezTo>
                <a:cubicBezTo>
                  <a:pt x="1604" y="1931"/>
                  <a:pt x="1643" y="1827"/>
                  <a:pt x="1643" y="1795"/>
                </a:cubicBezTo>
                <a:cubicBezTo>
                  <a:pt x="1643" y="1763"/>
                  <a:pt x="1627" y="1723"/>
                  <a:pt x="1580" y="1723"/>
                </a:cubicBezTo>
                <a:cubicBezTo>
                  <a:pt x="1460" y="1723"/>
                  <a:pt x="1388" y="1883"/>
                  <a:pt x="1388" y="2066"/>
                </a:cubicBezTo>
                <a:cubicBezTo>
                  <a:pt x="1396" y="2322"/>
                  <a:pt x="1564" y="2481"/>
                  <a:pt x="1787" y="2497"/>
                </a:cubicBezTo>
                <a:cubicBezTo>
                  <a:pt x="1819" y="2649"/>
                  <a:pt x="1955" y="2792"/>
                  <a:pt x="2122" y="2792"/>
                </a:cubicBezTo>
                <a:cubicBezTo>
                  <a:pt x="2226" y="2792"/>
                  <a:pt x="2353" y="2760"/>
                  <a:pt x="2441" y="2681"/>
                </a:cubicBezTo>
                <a:cubicBezTo>
                  <a:pt x="2433" y="2737"/>
                  <a:pt x="2425" y="2784"/>
                  <a:pt x="2417" y="2832"/>
                </a:cubicBezTo>
                <a:cubicBezTo>
                  <a:pt x="2066" y="3016"/>
                  <a:pt x="1811" y="3143"/>
                  <a:pt x="1580" y="3351"/>
                </a:cubicBezTo>
                <a:cubicBezTo>
                  <a:pt x="1396" y="3518"/>
                  <a:pt x="1292" y="3742"/>
                  <a:pt x="1292" y="3917"/>
                </a:cubicBezTo>
                <a:cubicBezTo>
                  <a:pt x="1292" y="4157"/>
                  <a:pt x="1444" y="4380"/>
                  <a:pt x="1755" y="4380"/>
                </a:cubicBezTo>
                <a:cubicBezTo>
                  <a:pt x="2122" y="4380"/>
                  <a:pt x="2401" y="4085"/>
                  <a:pt x="2537" y="3678"/>
                </a:cubicBezTo>
                <a:cubicBezTo>
                  <a:pt x="2601" y="3486"/>
                  <a:pt x="2626" y="3208"/>
                  <a:pt x="2642" y="2952"/>
                </a:cubicBezTo>
                <a:cubicBezTo>
                  <a:pt x="3009" y="2745"/>
                  <a:pt x="3183" y="2625"/>
                  <a:pt x="3374" y="2489"/>
                </a:cubicBezTo>
                <a:cubicBezTo>
                  <a:pt x="3398" y="2529"/>
                  <a:pt x="3423" y="2561"/>
                  <a:pt x="3454" y="2585"/>
                </a:cubicBezTo>
                <a:cubicBezTo>
                  <a:pt x="3287" y="2673"/>
                  <a:pt x="2888" y="2920"/>
                  <a:pt x="2888" y="3502"/>
                </a:cubicBezTo>
                <a:cubicBezTo>
                  <a:pt x="2888" y="3917"/>
                  <a:pt x="3167" y="4380"/>
                  <a:pt x="3718" y="4380"/>
                </a:cubicBezTo>
                <a:cubicBezTo>
                  <a:pt x="4172" y="4380"/>
                  <a:pt x="4484" y="4005"/>
                  <a:pt x="4484" y="3646"/>
                </a:cubicBezTo>
                <a:cubicBezTo>
                  <a:pt x="4484" y="3319"/>
                  <a:pt x="4300" y="3016"/>
                  <a:pt x="3949" y="3016"/>
                </a:cubicBezTo>
                <a:close/>
                <a:moveTo>
                  <a:pt x="5321" y="3701"/>
                </a:moveTo>
                <a:cubicBezTo>
                  <a:pt x="5319" y="3703"/>
                  <a:pt x="5315" y="3707"/>
                  <a:pt x="5306" y="3704"/>
                </a:cubicBezTo>
                <a:cubicBezTo>
                  <a:pt x="5299" y="3702"/>
                  <a:pt x="5297" y="3698"/>
                  <a:pt x="5297" y="3694"/>
                </a:cubicBezTo>
                <a:cubicBezTo>
                  <a:pt x="5298" y="3689"/>
                  <a:pt x="5394" y="3405"/>
                  <a:pt x="5393" y="3080"/>
                </a:cubicBezTo>
                <a:cubicBezTo>
                  <a:pt x="5392" y="2728"/>
                  <a:pt x="5249" y="2513"/>
                  <a:pt x="5066" y="2513"/>
                </a:cubicBezTo>
                <a:cubicBezTo>
                  <a:pt x="4954" y="2513"/>
                  <a:pt x="4874" y="2593"/>
                  <a:pt x="4874" y="2712"/>
                </a:cubicBezTo>
                <a:cubicBezTo>
                  <a:pt x="4874" y="2928"/>
                  <a:pt x="5138" y="2944"/>
                  <a:pt x="5138" y="3415"/>
                </a:cubicBezTo>
                <a:cubicBezTo>
                  <a:pt x="5138" y="3606"/>
                  <a:pt x="5098" y="3789"/>
                  <a:pt x="5034" y="3989"/>
                </a:cubicBezTo>
                <a:cubicBezTo>
                  <a:pt x="4739" y="4986"/>
                  <a:pt x="3797" y="5449"/>
                  <a:pt x="2880" y="5449"/>
                </a:cubicBezTo>
                <a:cubicBezTo>
                  <a:pt x="2457" y="5449"/>
                  <a:pt x="2157" y="5362"/>
                  <a:pt x="2067" y="5322"/>
                </a:cubicBezTo>
                <a:cubicBezTo>
                  <a:pt x="2063" y="5320"/>
                  <a:pt x="2061" y="5313"/>
                  <a:pt x="2063" y="5306"/>
                </a:cubicBezTo>
                <a:cubicBezTo>
                  <a:pt x="2065" y="5300"/>
                  <a:pt x="2072" y="5296"/>
                  <a:pt x="2075" y="5298"/>
                </a:cubicBezTo>
                <a:cubicBezTo>
                  <a:pt x="2111" y="5312"/>
                  <a:pt x="2369" y="5393"/>
                  <a:pt x="2689" y="5393"/>
                </a:cubicBezTo>
                <a:cubicBezTo>
                  <a:pt x="3040" y="5393"/>
                  <a:pt x="3247" y="5250"/>
                  <a:pt x="3247" y="5074"/>
                </a:cubicBezTo>
                <a:cubicBezTo>
                  <a:pt x="3247" y="4962"/>
                  <a:pt x="3159" y="4875"/>
                  <a:pt x="3047" y="4875"/>
                </a:cubicBezTo>
                <a:cubicBezTo>
                  <a:pt x="2832" y="4875"/>
                  <a:pt x="2816" y="5146"/>
                  <a:pt x="2353" y="5146"/>
                </a:cubicBezTo>
                <a:cubicBezTo>
                  <a:pt x="2154" y="5146"/>
                  <a:pt x="1979" y="5106"/>
                  <a:pt x="1771" y="5042"/>
                </a:cubicBezTo>
                <a:cubicBezTo>
                  <a:pt x="782" y="4739"/>
                  <a:pt x="310" y="3805"/>
                  <a:pt x="311" y="2880"/>
                </a:cubicBezTo>
                <a:cubicBezTo>
                  <a:pt x="311" y="2429"/>
                  <a:pt x="438" y="2070"/>
                  <a:pt x="440" y="2067"/>
                </a:cubicBezTo>
                <a:cubicBezTo>
                  <a:pt x="441" y="2065"/>
                  <a:pt x="447" y="2062"/>
                  <a:pt x="454" y="2065"/>
                </a:cubicBezTo>
                <a:cubicBezTo>
                  <a:pt x="461" y="2067"/>
                  <a:pt x="463" y="2073"/>
                  <a:pt x="462" y="2075"/>
                </a:cubicBezTo>
                <a:cubicBezTo>
                  <a:pt x="451" y="2112"/>
                  <a:pt x="367" y="2370"/>
                  <a:pt x="367" y="2688"/>
                </a:cubicBezTo>
                <a:cubicBezTo>
                  <a:pt x="367" y="3040"/>
                  <a:pt x="511" y="3247"/>
                  <a:pt x="694" y="3247"/>
                </a:cubicBezTo>
                <a:cubicBezTo>
                  <a:pt x="798" y="3247"/>
                  <a:pt x="885" y="3167"/>
                  <a:pt x="885" y="3056"/>
                </a:cubicBezTo>
                <a:cubicBezTo>
                  <a:pt x="885" y="2840"/>
                  <a:pt x="622" y="2816"/>
                  <a:pt x="622" y="2354"/>
                </a:cubicBezTo>
                <a:cubicBezTo>
                  <a:pt x="622" y="2154"/>
                  <a:pt x="662" y="1978"/>
                  <a:pt x="726" y="1771"/>
                </a:cubicBezTo>
                <a:cubicBezTo>
                  <a:pt x="1029" y="782"/>
                  <a:pt x="1963" y="318"/>
                  <a:pt x="2880" y="311"/>
                </a:cubicBezTo>
                <a:cubicBezTo>
                  <a:pt x="3306" y="308"/>
                  <a:pt x="3680" y="435"/>
                  <a:pt x="3694" y="447"/>
                </a:cubicBezTo>
                <a:cubicBezTo>
                  <a:pt x="3696" y="449"/>
                  <a:pt x="3699" y="455"/>
                  <a:pt x="3696" y="461"/>
                </a:cubicBezTo>
                <a:cubicBezTo>
                  <a:pt x="3693" y="468"/>
                  <a:pt x="3688" y="469"/>
                  <a:pt x="3686" y="469"/>
                </a:cubicBezTo>
                <a:cubicBezTo>
                  <a:pt x="3681" y="468"/>
                  <a:pt x="3439" y="367"/>
                  <a:pt x="3071" y="367"/>
                </a:cubicBezTo>
                <a:cubicBezTo>
                  <a:pt x="2728" y="367"/>
                  <a:pt x="2513" y="510"/>
                  <a:pt x="2513" y="694"/>
                </a:cubicBezTo>
                <a:cubicBezTo>
                  <a:pt x="2513" y="798"/>
                  <a:pt x="2593" y="885"/>
                  <a:pt x="2712" y="885"/>
                </a:cubicBezTo>
                <a:cubicBezTo>
                  <a:pt x="2928" y="885"/>
                  <a:pt x="2944" y="622"/>
                  <a:pt x="3406" y="622"/>
                </a:cubicBezTo>
                <a:cubicBezTo>
                  <a:pt x="3606" y="622"/>
                  <a:pt x="3781" y="662"/>
                  <a:pt x="3989" y="726"/>
                </a:cubicBezTo>
                <a:cubicBezTo>
                  <a:pt x="4986" y="1029"/>
                  <a:pt x="5440" y="1971"/>
                  <a:pt x="5449" y="2880"/>
                </a:cubicBezTo>
                <a:cubicBezTo>
                  <a:pt x="5453" y="3346"/>
                  <a:pt x="5322" y="3699"/>
                  <a:pt x="5321" y="3701"/>
                </a:cubicBezTo>
                <a:close/>
                <a:moveTo>
                  <a:pt x="2880" y="136"/>
                </a:moveTo>
                <a:cubicBezTo>
                  <a:pt x="1364" y="136"/>
                  <a:pt x="135" y="1364"/>
                  <a:pt x="135" y="2880"/>
                </a:cubicBezTo>
                <a:cubicBezTo>
                  <a:pt x="135" y="4396"/>
                  <a:pt x="1364" y="5624"/>
                  <a:pt x="2880" y="5624"/>
                </a:cubicBezTo>
                <a:cubicBezTo>
                  <a:pt x="4396" y="5624"/>
                  <a:pt x="5624" y="4396"/>
                  <a:pt x="5624" y="2880"/>
                </a:cubicBezTo>
                <a:cubicBezTo>
                  <a:pt x="5624" y="1372"/>
                  <a:pt x="4396" y="136"/>
                  <a:pt x="2880" y="136"/>
                </a:cubicBezTo>
                <a:close/>
                <a:moveTo>
                  <a:pt x="2880" y="5760"/>
                </a:moveTo>
                <a:cubicBezTo>
                  <a:pt x="1292" y="5760"/>
                  <a:pt x="0" y="4476"/>
                  <a:pt x="0" y="2880"/>
                </a:cubicBezTo>
                <a:cubicBezTo>
                  <a:pt x="0" y="1292"/>
                  <a:pt x="1292" y="0"/>
                  <a:pt x="2880" y="0"/>
                </a:cubicBezTo>
                <a:cubicBezTo>
                  <a:pt x="4467" y="0"/>
                  <a:pt x="5760" y="1292"/>
                  <a:pt x="5760" y="2880"/>
                </a:cubicBezTo>
                <a:cubicBezTo>
                  <a:pt x="5760" y="4476"/>
                  <a:pt x="4467" y="5760"/>
                  <a:pt x="2880" y="5760"/>
                </a:cubicBezTo>
                <a:close/>
              </a:path>
            </a:pathLst>
          </a:custGeom>
          <a:solidFill>
            <a:srgbClr val="005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65633" y="507835"/>
            <a:ext cx="1504195" cy="864912"/>
          </a:xfrm>
          <a:prstGeom prst="rect">
            <a:avLst/>
          </a:prstGeom>
        </p:spPr>
      </p:pic>
    </p:spTree>
    <p:extLst>
      <p:ext uri="{BB962C8B-B14F-4D97-AF65-F5344CB8AC3E}">
        <p14:creationId xmlns:p14="http://schemas.microsoft.com/office/powerpoint/2010/main" val="3238690072"/>
      </p:ext>
    </p:extLst>
  </p:cSld>
  <p:clrMapOvr>
    <a:masterClrMapping/>
  </p:clrMapOvr>
  <p:extLst>
    <p:ext uri="{DCECCB84-F9BA-43D5-87BE-67443E8EF086}">
      <p15:sldGuideLst xmlns:p15="http://schemas.microsoft.com/office/powerpoint/2012/main">
        <p15:guide id="1" orient="horz" pos="288">
          <p15:clr>
            <a:srgbClr val="FBAE40"/>
          </p15:clr>
        </p15:guide>
        <p15:guide id="2" orient="horz" pos="8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143" y="-8587"/>
            <a:ext cx="12207238" cy="6874623"/>
          </a:xfrm>
          <a:prstGeom prst="rect">
            <a:avLst/>
          </a:prstGeom>
        </p:spPr>
      </p:pic>
      <p:sp>
        <p:nvSpPr>
          <p:cNvPr id="2" name="Title 1"/>
          <p:cNvSpPr>
            <a:spLocks noGrp="1"/>
          </p:cNvSpPr>
          <p:nvPr>
            <p:ph type="ctrTitle" hasCustomPrompt="1"/>
          </p:nvPr>
        </p:nvSpPr>
        <p:spPr>
          <a:xfrm>
            <a:off x="2558964" y="585216"/>
            <a:ext cx="7285124" cy="1554480"/>
          </a:xfrm>
        </p:spPr>
        <p:txBody>
          <a:bodyPr anchor="t" anchorCtr="0">
            <a:noAutofit/>
          </a:bodyPr>
          <a:lstStyle>
            <a:lvl1pPr algn="l">
              <a:lnSpc>
                <a:spcPct val="90000"/>
              </a:lnSpc>
              <a:defRPr sz="4800">
                <a:solidFill>
                  <a:schemeClr val="accent2"/>
                </a:solidFill>
              </a:defRPr>
            </a:lvl1pPr>
          </a:lstStyle>
          <a:p>
            <a:r>
              <a:rPr lang="en-US" dirty="0"/>
              <a:t>Title Slide Layout</a:t>
            </a:r>
            <a:endParaRPr lang="en-CA" dirty="0"/>
          </a:p>
        </p:txBody>
      </p:sp>
      <p:sp>
        <p:nvSpPr>
          <p:cNvPr id="4" name="Date Placeholder 3"/>
          <p:cNvSpPr>
            <a:spLocks noGrp="1"/>
          </p:cNvSpPr>
          <p:nvPr>
            <p:ph type="dt" sz="half" idx="10"/>
          </p:nvPr>
        </p:nvSpPr>
        <p:spPr>
          <a:xfrm>
            <a:off x="2558964" y="2441889"/>
            <a:ext cx="4467288" cy="254013"/>
          </a:xfrm>
        </p:spPr>
        <p:txBody>
          <a:bodyPr/>
          <a:lstStyle>
            <a:lvl1pPr algn="l">
              <a:defRPr sz="1400" b="1">
                <a:solidFill>
                  <a:schemeClr val="accent2"/>
                </a:solidFill>
              </a:defRPr>
            </a:lvl1pPr>
          </a:lstStyle>
          <a:p>
            <a:fld id="{8EE0F0C3-31FA-4F6D-BCE2-DFB7DF046A8D}" type="datetime4">
              <a:rPr lang="en-US" smtClean="0"/>
              <a:t>October 18, 2021</a:t>
            </a:fld>
            <a:endParaRPr lang="en-CA" dirty="0"/>
          </a:p>
        </p:txBody>
      </p:sp>
      <p:sp>
        <p:nvSpPr>
          <p:cNvPr id="9" name="Freeform 5"/>
          <p:cNvSpPr>
            <a:spLocks noChangeAspect="1" noEditPoints="1"/>
          </p:cNvSpPr>
          <p:nvPr userDrawn="1"/>
        </p:nvSpPr>
        <p:spPr bwMode="auto">
          <a:xfrm>
            <a:off x="754593" y="475512"/>
            <a:ext cx="914400" cy="914400"/>
          </a:xfrm>
          <a:custGeom>
            <a:avLst/>
            <a:gdLst>
              <a:gd name="T0" fmla="*/ 3869 w 5760"/>
              <a:gd name="T1" fmla="*/ 1545 h 5760"/>
              <a:gd name="T2" fmla="*/ 2018 w 5760"/>
              <a:gd name="T3" fmla="*/ 2250 h 5760"/>
              <a:gd name="T4" fmla="*/ 2018 w 5760"/>
              <a:gd name="T5" fmla="*/ 2250 h 5760"/>
              <a:gd name="T6" fmla="*/ 1556 w 5760"/>
              <a:gd name="T7" fmla="*/ 3934 h 5760"/>
              <a:gd name="T8" fmla="*/ 1755 w 5760"/>
              <a:gd name="T9" fmla="*/ 4133 h 5760"/>
              <a:gd name="T10" fmla="*/ 3470 w 5760"/>
              <a:gd name="T11" fmla="*/ 3455 h 5760"/>
              <a:gd name="T12" fmla="*/ 3861 w 5760"/>
              <a:gd name="T13" fmla="*/ 3710 h 5760"/>
              <a:gd name="T14" fmla="*/ 3933 w 5760"/>
              <a:gd name="T15" fmla="*/ 3255 h 5760"/>
              <a:gd name="T16" fmla="*/ 3734 w 5760"/>
              <a:gd name="T17" fmla="*/ 4133 h 5760"/>
              <a:gd name="T18" fmla="*/ 3694 w 5760"/>
              <a:gd name="T19" fmla="*/ 2712 h 5760"/>
              <a:gd name="T20" fmla="*/ 3905 w 5760"/>
              <a:gd name="T21" fmla="*/ 2466 h 5760"/>
              <a:gd name="T22" fmla="*/ 3574 w 5760"/>
              <a:gd name="T23" fmla="*/ 2354 h 5760"/>
              <a:gd name="T24" fmla="*/ 3853 w 5760"/>
              <a:gd name="T25" fmla="*/ 1324 h 5760"/>
              <a:gd name="T26" fmla="*/ 3295 w 5760"/>
              <a:gd name="T27" fmla="*/ 2298 h 5760"/>
              <a:gd name="T28" fmla="*/ 2685 w 5760"/>
              <a:gd name="T29" fmla="*/ 2469 h 5760"/>
              <a:gd name="T30" fmla="*/ 2816 w 5760"/>
              <a:gd name="T31" fmla="*/ 1987 h 5760"/>
              <a:gd name="T32" fmla="*/ 2170 w 5760"/>
              <a:gd name="T33" fmla="*/ 2593 h 5760"/>
              <a:gd name="T34" fmla="*/ 2712 w 5760"/>
              <a:gd name="T35" fmla="*/ 1580 h 5760"/>
              <a:gd name="T36" fmla="*/ 1779 w 5760"/>
              <a:gd name="T37" fmla="*/ 2274 h 5760"/>
              <a:gd name="T38" fmla="*/ 1643 w 5760"/>
              <a:gd name="T39" fmla="*/ 1795 h 5760"/>
              <a:gd name="T40" fmla="*/ 1388 w 5760"/>
              <a:gd name="T41" fmla="*/ 2066 h 5760"/>
              <a:gd name="T42" fmla="*/ 2122 w 5760"/>
              <a:gd name="T43" fmla="*/ 2792 h 5760"/>
              <a:gd name="T44" fmla="*/ 2417 w 5760"/>
              <a:gd name="T45" fmla="*/ 2832 h 5760"/>
              <a:gd name="T46" fmla="*/ 1292 w 5760"/>
              <a:gd name="T47" fmla="*/ 3917 h 5760"/>
              <a:gd name="T48" fmla="*/ 2537 w 5760"/>
              <a:gd name="T49" fmla="*/ 3678 h 5760"/>
              <a:gd name="T50" fmla="*/ 3374 w 5760"/>
              <a:gd name="T51" fmla="*/ 2489 h 5760"/>
              <a:gd name="T52" fmla="*/ 2888 w 5760"/>
              <a:gd name="T53" fmla="*/ 3502 h 5760"/>
              <a:gd name="T54" fmla="*/ 4484 w 5760"/>
              <a:gd name="T55" fmla="*/ 3646 h 5760"/>
              <a:gd name="T56" fmla="*/ 5321 w 5760"/>
              <a:gd name="T57" fmla="*/ 3701 h 5760"/>
              <a:gd name="T58" fmla="*/ 5297 w 5760"/>
              <a:gd name="T59" fmla="*/ 3694 h 5760"/>
              <a:gd name="T60" fmla="*/ 5066 w 5760"/>
              <a:gd name="T61" fmla="*/ 2513 h 5760"/>
              <a:gd name="T62" fmla="*/ 5138 w 5760"/>
              <a:gd name="T63" fmla="*/ 3415 h 5760"/>
              <a:gd name="T64" fmla="*/ 2880 w 5760"/>
              <a:gd name="T65" fmla="*/ 5449 h 5760"/>
              <a:gd name="T66" fmla="*/ 2063 w 5760"/>
              <a:gd name="T67" fmla="*/ 5306 h 5760"/>
              <a:gd name="T68" fmla="*/ 2689 w 5760"/>
              <a:gd name="T69" fmla="*/ 5393 h 5760"/>
              <a:gd name="T70" fmla="*/ 3047 w 5760"/>
              <a:gd name="T71" fmla="*/ 4875 h 5760"/>
              <a:gd name="T72" fmla="*/ 1771 w 5760"/>
              <a:gd name="T73" fmla="*/ 5042 h 5760"/>
              <a:gd name="T74" fmla="*/ 440 w 5760"/>
              <a:gd name="T75" fmla="*/ 2067 h 5760"/>
              <a:gd name="T76" fmla="*/ 462 w 5760"/>
              <a:gd name="T77" fmla="*/ 2075 h 5760"/>
              <a:gd name="T78" fmla="*/ 694 w 5760"/>
              <a:gd name="T79" fmla="*/ 3247 h 5760"/>
              <a:gd name="T80" fmla="*/ 622 w 5760"/>
              <a:gd name="T81" fmla="*/ 2354 h 5760"/>
              <a:gd name="T82" fmla="*/ 2880 w 5760"/>
              <a:gd name="T83" fmla="*/ 311 h 5760"/>
              <a:gd name="T84" fmla="*/ 3696 w 5760"/>
              <a:gd name="T85" fmla="*/ 461 h 5760"/>
              <a:gd name="T86" fmla="*/ 3071 w 5760"/>
              <a:gd name="T87" fmla="*/ 367 h 5760"/>
              <a:gd name="T88" fmla="*/ 2712 w 5760"/>
              <a:gd name="T89" fmla="*/ 885 h 5760"/>
              <a:gd name="T90" fmla="*/ 3989 w 5760"/>
              <a:gd name="T91" fmla="*/ 726 h 5760"/>
              <a:gd name="T92" fmla="*/ 5321 w 5760"/>
              <a:gd name="T93" fmla="*/ 3701 h 5760"/>
              <a:gd name="T94" fmla="*/ 135 w 5760"/>
              <a:gd name="T95" fmla="*/ 2880 h 5760"/>
              <a:gd name="T96" fmla="*/ 5624 w 5760"/>
              <a:gd name="T97" fmla="*/ 2880 h 5760"/>
              <a:gd name="T98" fmla="*/ 2880 w 5760"/>
              <a:gd name="T99" fmla="*/ 5760 h 5760"/>
              <a:gd name="T100" fmla="*/ 2880 w 5760"/>
              <a:gd name="T101" fmla="*/ 0 h 5760"/>
              <a:gd name="T102" fmla="*/ 2880 w 5760"/>
              <a:gd name="T103" fmla="*/ 576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5760">
                <a:moveTo>
                  <a:pt x="3526" y="2130"/>
                </a:moveTo>
                <a:cubicBezTo>
                  <a:pt x="3526" y="1803"/>
                  <a:pt x="3748" y="1485"/>
                  <a:pt x="3869" y="1545"/>
                </a:cubicBezTo>
                <a:cubicBezTo>
                  <a:pt x="4006" y="1614"/>
                  <a:pt x="3766" y="1923"/>
                  <a:pt x="3526" y="2130"/>
                </a:cubicBezTo>
                <a:moveTo>
                  <a:pt x="2018" y="2250"/>
                </a:moveTo>
                <a:cubicBezTo>
                  <a:pt x="2018" y="1987"/>
                  <a:pt x="2278" y="1486"/>
                  <a:pt x="2437" y="1539"/>
                </a:cubicBezTo>
                <a:cubicBezTo>
                  <a:pt x="2625" y="1601"/>
                  <a:pt x="2282" y="2106"/>
                  <a:pt x="2018" y="2250"/>
                </a:cubicBezTo>
                <a:close/>
                <a:moveTo>
                  <a:pt x="1755" y="4133"/>
                </a:moveTo>
                <a:cubicBezTo>
                  <a:pt x="1635" y="4138"/>
                  <a:pt x="1556" y="4062"/>
                  <a:pt x="1556" y="3934"/>
                </a:cubicBezTo>
                <a:cubicBezTo>
                  <a:pt x="1556" y="3591"/>
                  <a:pt x="2031" y="3264"/>
                  <a:pt x="2390" y="3088"/>
                </a:cubicBezTo>
                <a:cubicBezTo>
                  <a:pt x="2327" y="3567"/>
                  <a:pt x="2165" y="4114"/>
                  <a:pt x="1755" y="4133"/>
                </a:cubicBezTo>
                <a:close/>
                <a:moveTo>
                  <a:pt x="3949" y="3016"/>
                </a:moveTo>
                <a:cubicBezTo>
                  <a:pt x="3678" y="3016"/>
                  <a:pt x="3470" y="3215"/>
                  <a:pt x="3470" y="3455"/>
                </a:cubicBezTo>
                <a:cubicBezTo>
                  <a:pt x="3470" y="3654"/>
                  <a:pt x="3590" y="3813"/>
                  <a:pt x="3750" y="3813"/>
                </a:cubicBezTo>
                <a:cubicBezTo>
                  <a:pt x="3806" y="3813"/>
                  <a:pt x="3861" y="3782"/>
                  <a:pt x="3861" y="3710"/>
                </a:cubicBezTo>
                <a:cubicBezTo>
                  <a:pt x="3861" y="3606"/>
                  <a:pt x="3724" y="3581"/>
                  <a:pt x="3734" y="3426"/>
                </a:cubicBezTo>
                <a:cubicBezTo>
                  <a:pt x="3741" y="3323"/>
                  <a:pt x="3837" y="3255"/>
                  <a:pt x="3933" y="3255"/>
                </a:cubicBezTo>
                <a:cubicBezTo>
                  <a:pt x="4124" y="3255"/>
                  <a:pt x="4214" y="3440"/>
                  <a:pt x="4214" y="3632"/>
                </a:cubicBezTo>
                <a:cubicBezTo>
                  <a:pt x="4206" y="3927"/>
                  <a:pt x="3989" y="4133"/>
                  <a:pt x="3734" y="4133"/>
                </a:cubicBezTo>
                <a:cubicBezTo>
                  <a:pt x="3398" y="4133"/>
                  <a:pt x="3183" y="3813"/>
                  <a:pt x="3183" y="3470"/>
                </a:cubicBezTo>
                <a:cubicBezTo>
                  <a:pt x="3183" y="2960"/>
                  <a:pt x="3518" y="2760"/>
                  <a:pt x="3694" y="2712"/>
                </a:cubicBezTo>
                <a:cubicBezTo>
                  <a:pt x="3696" y="2712"/>
                  <a:pt x="4153" y="2794"/>
                  <a:pt x="4138" y="2592"/>
                </a:cubicBezTo>
                <a:cubicBezTo>
                  <a:pt x="4132" y="2504"/>
                  <a:pt x="4000" y="2470"/>
                  <a:pt x="3905" y="2466"/>
                </a:cubicBezTo>
                <a:cubicBezTo>
                  <a:pt x="3799" y="2462"/>
                  <a:pt x="3692" y="2500"/>
                  <a:pt x="3692" y="2500"/>
                </a:cubicBezTo>
                <a:cubicBezTo>
                  <a:pt x="3636" y="2472"/>
                  <a:pt x="3598" y="2417"/>
                  <a:pt x="3574" y="2354"/>
                </a:cubicBezTo>
                <a:cubicBezTo>
                  <a:pt x="3901" y="2106"/>
                  <a:pt x="4133" y="1867"/>
                  <a:pt x="4133" y="1596"/>
                </a:cubicBezTo>
                <a:cubicBezTo>
                  <a:pt x="4133" y="1452"/>
                  <a:pt x="4037" y="1324"/>
                  <a:pt x="3853" y="1324"/>
                </a:cubicBezTo>
                <a:cubicBezTo>
                  <a:pt x="3526" y="1324"/>
                  <a:pt x="3279" y="1739"/>
                  <a:pt x="3279" y="2114"/>
                </a:cubicBezTo>
                <a:cubicBezTo>
                  <a:pt x="3279" y="2178"/>
                  <a:pt x="3279" y="2242"/>
                  <a:pt x="3295" y="2298"/>
                </a:cubicBezTo>
                <a:cubicBezTo>
                  <a:pt x="3087" y="2449"/>
                  <a:pt x="2933" y="2543"/>
                  <a:pt x="2654" y="2711"/>
                </a:cubicBezTo>
                <a:cubicBezTo>
                  <a:pt x="2654" y="2676"/>
                  <a:pt x="2661" y="2586"/>
                  <a:pt x="2685" y="2469"/>
                </a:cubicBezTo>
                <a:cubicBezTo>
                  <a:pt x="2780" y="2365"/>
                  <a:pt x="2912" y="2210"/>
                  <a:pt x="2912" y="2090"/>
                </a:cubicBezTo>
                <a:cubicBezTo>
                  <a:pt x="2912" y="2034"/>
                  <a:pt x="2880" y="1987"/>
                  <a:pt x="2816" y="1987"/>
                </a:cubicBezTo>
                <a:cubicBezTo>
                  <a:pt x="2657" y="1987"/>
                  <a:pt x="2537" y="2226"/>
                  <a:pt x="2505" y="2393"/>
                </a:cubicBezTo>
                <a:cubicBezTo>
                  <a:pt x="2433" y="2481"/>
                  <a:pt x="2290" y="2593"/>
                  <a:pt x="2170" y="2593"/>
                </a:cubicBezTo>
                <a:cubicBezTo>
                  <a:pt x="2074" y="2593"/>
                  <a:pt x="2042" y="2505"/>
                  <a:pt x="2034" y="2473"/>
                </a:cubicBezTo>
                <a:cubicBezTo>
                  <a:pt x="2338" y="2369"/>
                  <a:pt x="2712" y="1955"/>
                  <a:pt x="2712" y="1580"/>
                </a:cubicBezTo>
                <a:cubicBezTo>
                  <a:pt x="2712" y="1500"/>
                  <a:pt x="2681" y="1324"/>
                  <a:pt x="2441" y="1324"/>
                </a:cubicBezTo>
                <a:cubicBezTo>
                  <a:pt x="2082" y="1324"/>
                  <a:pt x="1779" y="1859"/>
                  <a:pt x="1779" y="2274"/>
                </a:cubicBezTo>
                <a:cubicBezTo>
                  <a:pt x="1651" y="2274"/>
                  <a:pt x="1604" y="2138"/>
                  <a:pt x="1604" y="2034"/>
                </a:cubicBezTo>
                <a:cubicBezTo>
                  <a:pt x="1604" y="1931"/>
                  <a:pt x="1643" y="1827"/>
                  <a:pt x="1643" y="1795"/>
                </a:cubicBezTo>
                <a:cubicBezTo>
                  <a:pt x="1643" y="1763"/>
                  <a:pt x="1627" y="1723"/>
                  <a:pt x="1580" y="1723"/>
                </a:cubicBezTo>
                <a:cubicBezTo>
                  <a:pt x="1460" y="1723"/>
                  <a:pt x="1388" y="1883"/>
                  <a:pt x="1388" y="2066"/>
                </a:cubicBezTo>
                <a:cubicBezTo>
                  <a:pt x="1396" y="2322"/>
                  <a:pt x="1564" y="2481"/>
                  <a:pt x="1787" y="2497"/>
                </a:cubicBezTo>
                <a:cubicBezTo>
                  <a:pt x="1819" y="2649"/>
                  <a:pt x="1955" y="2792"/>
                  <a:pt x="2122" y="2792"/>
                </a:cubicBezTo>
                <a:cubicBezTo>
                  <a:pt x="2226" y="2792"/>
                  <a:pt x="2353" y="2760"/>
                  <a:pt x="2441" y="2681"/>
                </a:cubicBezTo>
                <a:cubicBezTo>
                  <a:pt x="2433" y="2737"/>
                  <a:pt x="2425" y="2784"/>
                  <a:pt x="2417" y="2832"/>
                </a:cubicBezTo>
                <a:cubicBezTo>
                  <a:pt x="2066" y="3016"/>
                  <a:pt x="1811" y="3143"/>
                  <a:pt x="1580" y="3351"/>
                </a:cubicBezTo>
                <a:cubicBezTo>
                  <a:pt x="1396" y="3518"/>
                  <a:pt x="1292" y="3742"/>
                  <a:pt x="1292" y="3917"/>
                </a:cubicBezTo>
                <a:cubicBezTo>
                  <a:pt x="1292" y="4157"/>
                  <a:pt x="1444" y="4380"/>
                  <a:pt x="1755" y="4380"/>
                </a:cubicBezTo>
                <a:cubicBezTo>
                  <a:pt x="2122" y="4380"/>
                  <a:pt x="2401" y="4085"/>
                  <a:pt x="2537" y="3678"/>
                </a:cubicBezTo>
                <a:cubicBezTo>
                  <a:pt x="2601" y="3486"/>
                  <a:pt x="2626" y="3208"/>
                  <a:pt x="2642" y="2952"/>
                </a:cubicBezTo>
                <a:cubicBezTo>
                  <a:pt x="3009" y="2745"/>
                  <a:pt x="3183" y="2625"/>
                  <a:pt x="3374" y="2489"/>
                </a:cubicBezTo>
                <a:cubicBezTo>
                  <a:pt x="3398" y="2529"/>
                  <a:pt x="3423" y="2561"/>
                  <a:pt x="3454" y="2585"/>
                </a:cubicBezTo>
                <a:cubicBezTo>
                  <a:pt x="3287" y="2673"/>
                  <a:pt x="2888" y="2920"/>
                  <a:pt x="2888" y="3502"/>
                </a:cubicBezTo>
                <a:cubicBezTo>
                  <a:pt x="2888" y="3917"/>
                  <a:pt x="3167" y="4380"/>
                  <a:pt x="3718" y="4380"/>
                </a:cubicBezTo>
                <a:cubicBezTo>
                  <a:pt x="4172" y="4380"/>
                  <a:pt x="4484" y="4005"/>
                  <a:pt x="4484" y="3646"/>
                </a:cubicBezTo>
                <a:cubicBezTo>
                  <a:pt x="4484" y="3319"/>
                  <a:pt x="4300" y="3016"/>
                  <a:pt x="3949" y="3016"/>
                </a:cubicBezTo>
                <a:close/>
                <a:moveTo>
                  <a:pt x="5321" y="3701"/>
                </a:moveTo>
                <a:cubicBezTo>
                  <a:pt x="5319" y="3703"/>
                  <a:pt x="5315" y="3707"/>
                  <a:pt x="5306" y="3704"/>
                </a:cubicBezTo>
                <a:cubicBezTo>
                  <a:pt x="5299" y="3702"/>
                  <a:pt x="5297" y="3698"/>
                  <a:pt x="5297" y="3694"/>
                </a:cubicBezTo>
                <a:cubicBezTo>
                  <a:pt x="5298" y="3689"/>
                  <a:pt x="5394" y="3405"/>
                  <a:pt x="5393" y="3080"/>
                </a:cubicBezTo>
                <a:cubicBezTo>
                  <a:pt x="5392" y="2728"/>
                  <a:pt x="5249" y="2513"/>
                  <a:pt x="5066" y="2513"/>
                </a:cubicBezTo>
                <a:cubicBezTo>
                  <a:pt x="4954" y="2513"/>
                  <a:pt x="4874" y="2593"/>
                  <a:pt x="4874" y="2712"/>
                </a:cubicBezTo>
                <a:cubicBezTo>
                  <a:pt x="4874" y="2928"/>
                  <a:pt x="5138" y="2944"/>
                  <a:pt x="5138" y="3415"/>
                </a:cubicBezTo>
                <a:cubicBezTo>
                  <a:pt x="5138" y="3606"/>
                  <a:pt x="5098" y="3789"/>
                  <a:pt x="5034" y="3989"/>
                </a:cubicBezTo>
                <a:cubicBezTo>
                  <a:pt x="4739" y="4986"/>
                  <a:pt x="3797" y="5449"/>
                  <a:pt x="2880" y="5449"/>
                </a:cubicBezTo>
                <a:cubicBezTo>
                  <a:pt x="2457" y="5449"/>
                  <a:pt x="2157" y="5362"/>
                  <a:pt x="2067" y="5322"/>
                </a:cubicBezTo>
                <a:cubicBezTo>
                  <a:pt x="2063" y="5320"/>
                  <a:pt x="2061" y="5313"/>
                  <a:pt x="2063" y="5306"/>
                </a:cubicBezTo>
                <a:cubicBezTo>
                  <a:pt x="2065" y="5300"/>
                  <a:pt x="2072" y="5296"/>
                  <a:pt x="2075" y="5298"/>
                </a:cubicBezTo>
                <a:cubicBezTo>
                  <a:pt x="2111" y="5312"/>
                  <a:pt x="2369" y="5393"/>
                  <a:pt x="2689" y="5393"/>
                </a:cubicBezTo>
                <a:cubicBezTo>
                  <a:pt x="3040" y="5393"/>
                  <a:pt x="3247" y="5250"/>
                  <a:pt x="3247" y="5074"/>
                </a:cubicBezTo>
                <a:cubicBezTo>
                  <a:pt x="3247" y="4962"/>
                  <a:pt x="3159" y="4875"/>
                  <a:pt x="3047" y="4875"/>
                </a:cubicBezTo>
                <a:cubicBezTo>
                  <a:pt x="2832" y="4875"/>
                  <a:pt x="2816" y="5146"/>
                  <a:pt x="2353" y="5146"/>
                </a:cubicBezTo>
                <a:cubicBezTo>
                  <a:pt x="2154" y="5146"/>
                  <a:pt x="1979" y="5106"/>
                  <a:pt x="1771" y="5042"/>
                </a:cubicBezTo>
                <a:cubicBezTo>
                  <a:pt x="782" y="4739"/>
                  <a:pt x="310" y="3805"/>
                  <a:pt x="311" y="2880"/>
                </a:cubicBezTo>
                <a:cubicBezTo>
                  <a:pt x="311" y="2429"/>
                  <a:pt x="438" y="2070"/>
                  <a:pt x="440" y="2067"/>
                </a:cubicBezTo>
                <a:cubicBezTo>
                  <a:pt x="441" y="2065"/>
                  <a:pt x="447" y="2062"/>
                  <a:pt x="454" y="2065"/>
                </a:cubicBezTo>
                <a:cubicBezTo>
                  <a:pt x="461" y="2067"/>
                  <a:pt x="463" y="2073"/>
                  <a:pt x="462" y="2075"/>
                </a:cubicBezTo>
                <a:cubicBezTo>
                  <a:pt x="451" y="2112"/>
                  <a:pt x="367" y="2370"/>
                  <a:pt x="367" y="2688"/>
                </a:cubicBezTo>
                <a:cubicBezTo>
                  <a:pt x="367" y="3040"/>
                  <a:pt x="511" y="3247"/>
                  <a:pt x="694" y="3247"/>
                </a:cubicBezTo>
                <a:cubicBezTo>
                  <a:pt x="798" y="3247"/>
                  <a:pt x="885" y="3167"/>
                  <a:pt x="885" y="3056"/>
                </a:cubicBezTo>
                <a:cubicBezTo>
                  <a:pt x="885" y="2840"/>
                  <a:pt x="622" y="2816"/>
                  <a:pt x="622" y="2354"/>
                </a:cubicBezTo>
                <a:cubicBezTo>
                  <a:pt x="622" y="2154"/>
                  <a:pt x="662" y="1978"/>
                  <a:pt x="726" y="1771"/>
                </a:cubicBezTo>
                <a:cubicBezTo>
                  <a:pt x="1029" y="782"/>
                  <a:pt x="1963" y="318"/>
                  <a:pt x="2880" y="311"/>
                </a:cubicBezTo>
                <a:cubicBezTo>
                  <a:pt x="3306" y="308"/>
                  <a:pt x="3680" y="435"/>
                  <a:pt x="3694" y="447"/>
                </a:cubicBezTo>
                <a:cubicBezTo>
                  <a:pt x="3696" y="449"/>
                  <a:pt x="3699" y="455"/>
                  <a:pt x="3696" y="461"/>
                </a:cubicBezTo>
                <a:cubicBezTo>
                  <a:pt x="3693" y="468"/>
                  <a:pt x="3688" y="469"/>
                  <a:pt x="3686" y="469"/>
                </a:cubicBezTo>
                <a:cubicBezTo>
                  <a:pt x="3681" y="468"/>
                  <a:pt x="3439" y="367"/>
                  <a:pt x="3071" y="367"/>
                </a:cubicBezTo>
                <a:cubicBezTo>
                  <a:pt x="2728" y="367"/>
                  <a:pt x="2513" y="510"/>
                  <a:pt x="2513" y="694"/>
                </a:cubicBezTo>
                <a:cubicBezTo>
                  <a:pt x="2513" y="798"/>
                  <a:pt x="2593" y="885"/>
                  <a:pt x="2712" y="885"/>
                </a:cubicBezTo>
                <a:cubicBezTo>
                  <a:pt x="2928" y="885"/>
                  <a:pt x="2944" y="622"/>
                  <a:pt x="3406" y="622"/>
                </a:cubicBezTo>
                <a:cubicBezTo>
                  <a:pt x="3606" y="622"/>
                  <a:pt x="3781" y="662"/>
                  <a:pt x="3989" y="726"/>
                </a:cubicBezTo>
                <a:cubicBezTo>
                  <a:pt x="4986" y="1029"/>
                  <a:pt x="5440" y="1971"/>
                  <a:pt x="5449" y="2880"/>
                </a:cubicBezTo>
                <a:cubicBezTo>
                  <a:pt x="5453" y="3346"/>
                  <a:pt x="5322" y="3699"/>
                  <a:pt x="5321" y="3701"/>
                </a:cubicBezTo>
                <a:close/>
                <a:moveTo>
                  <a:pt x="2880" y="136"/>
                </a:moveTo>
                <a:cubicBezTo>
                  <a:pt x="1364" y="136"/>
                  <a:pt x="135" y="1364"/>
                  <a:pt x="135" y="2880"/>
                </a:cubicBezTo>
                <a:cubicBezTo>
                  <a:pt x="135" y="4396"/>
                  <a:pt x="1364" y="5624"/>
                  <a:pt x="2880" y="5624"/>
                </a:cubicBezTo>
                <a:cubicBezTo>
                  <a:pt x="4396" y="5624"/>
                  <a:pt x="5624" y="4396"/>
                  <a:pt x="5624" y="2880"/>
                </a:cubicBezTo>
                <a:cubicBezTo>
                  <a:pt x="5624" y="1372"/>
                  <a:pt x="4396" y="136"/>
                  <a:pt x="2880" y="136"/>
                </a:cubicBezTo>
                <a:close/>
                <a:moveTo>
                  <a:pt x="2880" y="5760"/>
                </a:moveTo>
                <a:cubicBezTo>
                  <a:pt x="1292" y="5760"/>
                  <a:pt x="0" y="4476"/>
                  <a:pt x="0" y="2880"/>
                </a:cubicBezTo>
                <a:cubicBezTo>
                  <a:pt x="0" y="1292"/>
                  <a:pt x="1292" y="0"/>
                  <a:pt x="2880" y="0"/>
                </a:cubicBezTo>
                <a:cubicBezTo>
                  <a:pt x="4467" y="0"/>
                  <a:pt x="5760" y="1292"/>
                  <a:pt x="5760" y="2880"/>
                </a:cubicBezTo>
                <a:cubicBezTo>
                  <a:pt x="5760" y="4476"/>
                  <a:pt x="4467" y="5760"/>
                  <a:pt x="2880" y="5760"/>
                </a:cubicBezTo>
                <a:close/>
              </a:path>
            </a:pathLst>
          </a:custGeom>
          <a:solidFill>
            <a:srgbClr val="005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TextBox 11"/>
          <p:cNvSpPr txBox="1"/>
          <p:nvPr userDrawn="1"/>
        </p:nvSpPr>
        <p:spPr>
          <a:xfrm>
            <a:off x="2559607" y="3017520"/>
            <a:ext cx="8047433" cy="276999"/>
          </a:xfrm>
          <a:prstGeom prst="rect">
            <a:avLst/>
          </a:prstGeom>
          <a:noFill/>
        </p:spPr>
        <p:txBody>
          <a:bodyPr wrap="square" lIns="0" tIns="0" rIns="0" bIns="0" rtlCol="0" anchor="b">
            <a:spAutoFit/>
          </a:bodyPr>
          <a:lstStyle/>
          <a:p>
            <a:r>
              <a:rPr lang="en-US" sz="900" dirty="0">
                <a:solidFill>
                  <a:schemeClr val="accent2"/>
                </a:solidFill>
              </a:rPr>
              <a:t>Placeholder confidentiality disclosure. Edit or delete from layout master if not needed.</a:t>
            </a:r>
          </a:p>
          <a:p>
            <a:r>
              <a:rPr lang="en-US" sz="900" baseline="0" dirty="0">
                <a:solidFill>
                  <a:srgbClr val="63666A"/>
                </a:solidFill>
                <a:latin typeface="GE Inspira Sans" charset="0"/>
                <a:ea typeface="GE Inspira Sans" charset="0"/>
                <a:cs typeface="GE Inspira Sans" charset="0"/>
              </a:rPr>
              <a:t>Use this second line if additional confidentiality disclosure information is required. </a:t>
            </a:r>
            <a:endParaRPr lang="en-US" sz="2000" dirty="0">
              <a:solidFill>
                <a:srgbClr val="63666A"/>
              </a:solidFill>
              <a:latin typeface="GE Inspira Sans" charset="0"/>
              <a:ea typeface="GE Inspira Sans" charset="0"/>
              <a:cs typeface="GE Inspira Sans" charset="0"/>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65633" y="507835"/>
            <a:ext cx="1504195" cy="864912"/>
          </a:xfrm>
          <a:prstGeom prst="rect">
            <a:avLst/>
          </a:prstGeom>
        </p:spPr>
      </p:pic>
    </p:spTree>
    <p:extLst>
      <p:ext uri="{BB962C8B-B14F-4D97-AF65-F5344CB8AC3E}">
        <p14:creationId xmlns:p14="http://schemas.microsoft.com/office/powerpoint/2010/main" val="1416296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560320" y="585216"/>
            <a:ext cx="9136380" cy="1554480"/>
          </a:xfrm>
        </p:spPr>
        <p:txBody>
          <a:bodyPr vert="horz" lIns="0" tIns="0" rIns="0" bIns="0" rtlCol="0" anchor="t" anchorCtr="0">
            <a:noAutofit/>
          </a:bodyPr>
          <a:lstStyle>
            <a:lvl1pPr>
              <a:defRPr lang="en-CA" sz="4800" dirty="0"/>
            </a:lvl1pPr>
          </a:lstStyle>
          <a:p>
            <a:pPr lvl="0"/>
            <a:r>
              <a:rPr lang="en-US" dirty="0"/>
              <a:t>Title Slide 2 Layout</a:t>
            </a:r>
            <a:endParaRPr lang="en-CA" dirty="0"/>
          </a:p>
        </p:txBody>
      </p:sp>
      <p:sp>
        <p:nvSpPr>
          <p:cNvPr id="4" name="Date Placeholder 3"/>
          <p:cNvSpPr>
            <a:spLocks noGrp="1"/>
          </p:cNvSpPr>
          <p:nvPr>
            <p:ph type="dt" sz="half" idx="10"/>
          </p:nvPr>
        </p:nvSpPr>
        <p:spPr>
          <a:xfrm>
            <a:off x="2560320" y="2436879"/>
            <a:ext cx="3979927" cy="254013"/>
          </a:xfrm>
        </p:spPr>
        <p:txBody>
          <a:bodyPr vert="horz" lIns="0" tIns="0" rIns="0" bIns="0" rtlCol="0" anchor="t" anchorCtr="0">
            <a:noAutofit/>
          </a:bodyPr>
          <a:lstStyle>
            <a:lvl1pPr>
              <a:defRPr lang="en-US" sz="1400" b="1" smtClean="0"/>
            </a:lvl1pPr>
          </a:lstStyle>
          <a:p>
            <a:fld id="{A9D20036-DF5F-4B63-8FF2-03D5828CBCA5}" type="datetime4">
              <a:rPr lang="en-US" smtClean="0"/>
              <a:t>October 18, 2021</a:t>
            </a:fld>
            <a:endParaRPr lang="en-US" dirty="0"/>
          </a:p>
        </p:txBody>
      </p:sp>
      <p:sp>
        <p:nvSpPr>
          <p:cNvPr id="3" name="TextBox 2"/>
          <p:cNvSpPr txBox="1"/>
          <p:nvPr/>
        </p:nvSpPr>
        <p:spPr>
          <a:xfrm>
            <a:off x="2560320" y="3018594"/>
            <a:ext cx="3826412" cy="1754968"/>
          </a:xfrm>
          <a:prstGeom prst="rect">
            <a:avLst/>
          </a:prstGeom>
          <a:noFill/>
        </p:spPr>
        <p:txBody>
          <a:bodyPr wrap="square" lIns="0" tIns="0" rIns="0" bIns="0" rtlCol="0">
            <a:spAutoFit/>
          </a:bodyPr>
          <a:lstStyle>
            <a:defPPr>
              <a:defRPr lang="en-US"/>
            </a:defPPr>
            <a:lvl1pPr lvl="0">
              <a:lnSpc>
                <a:spcPct val="110000"/>
              </a:lnSpc>
              <a:spcBef>
                <a:spcPts val="400"/>
              </a:spcBef>
              <a:defRPr sz="800">
                <a:solidFill>
                  <a:schemeClr val="accent2"/>
                </a:solidFill>
              </a:defRPr>
            </a:lvl1pPr>
            <a:lvl2pPr marL="55563" marR="0" lvl="1" indent="-55563" fontAlgn="auto">
              <a:lnSpc>
                <a:spcPct val="110000"/>
              </a:lnSpc>
              <a:spcBef>
                <a:spcPts val="0"/>
              </a:spcBef>
              <a:spcAft>
                <a:spcPts val="0"/>
              </a:spcAft>
              <a:buClrTx/>
              <a:buSzTx/>
              <a:buFont typeface="Arial" panose="020B0604020202020204" pitchFamily="34" charset="0"/>
              <a:buChar char="•"/>
              <a:tabLst/>
              <a:defRPr sz="800" kern="600" spc="-10" baseline="0">
                <a:solidFill>
                  <a:schemeClr val="accent2"/>
                </a:solidFill>
              </a:defRPr>
            </a:lvl2pPr>
          </a:lstStyle>
          <a:p>
            <a:pPr lvl="0"/>
            <a:r>
              <a:rPr lang="en-US" dirty="0"/>
              <a:t>Placeholder confidentiality disclosure. Edit or delete from layout master if not needed. Use additional lines if additional confidentiality disclosure information is required. 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a:t>
            </a:r>
            <a:r>
              <a:rPr lang="en-US" dirty="0" err="1"/>
              <a:t>sed</a:t>
            </a:r>
            <a:r>
              <a:rPr lang="en-US" dirty="0"/>
              <a:t> </a:t>
            </a:r>
            <a:r>
              <a:rPr lang="en-US" dirty="0" err="1"/>
              <a:t>diam</a:t>
            </a:r>
            <a:r>
              <a:rPr lang="en-US" dirty="0"/>
              <a:t>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yam</a:t>
            </a:r>
            <a:r>
              <a:rPr lang="en-US" dirty="0"/>
              <a:t> </a:t>
            </a:r>
            <a:r>
              <a:rPr lang="en-US" dirty="0" err="1"/>
              <a:t>erat</a:t>
            </a:r>
            <a:r>
              <a:rPr lang="en-US" dirty="0"/>
              <a:t>, </a:t>
            </a:r>
            <a:r>
              <a:rPr lang="en-US" dirty="0" err="1"/>
              <a:t>sed</a:t>
            </a:r>
            <a:r>
              <a:rPr lang="en-US" dirty="0"/>
              <a:t> </a:t>
            </a:r>
            <a:r>
              <a:rPr lang="en-US" dirty="0" err="1"/>
              <a:t>diam</a:t>
            </a:r>
            <a:r>
              <a:rPr lang="en-US" dirty="0"/>
              <a:t>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 sit </a:t>
            </a:r>
            <a:r>
              <a:rPr lang="en-US" dirty="0" err="1"/>
              <a:t>amet</a:t>
            </a:r>
            <a:r>
              <a:rPr lang="en-US" dirty="0"/>
              <a:t>. 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a:t>
            </a:r>
            <a:r>
              <a:rPr lang="en-US" dirty="0" err="1"/>
              <a:t>sed</a:t>
            </a:r>
            <a:r>
              <a:rPr lang="en-US" dirty="0"/>
              <a:t> </a:t>
            </a:r>
            <a:r>
              <a:rPr lang="en-US" dirty="0" err="1"/>
              <a:t>diam</a:t>
            </a:r>
            <a:r>
              <a:rPr lang="en-US" dirty="0"/>
              <a:t>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yam</a:t>
            </a:r>
            <a:r>
              <a:rPr lang="en-US" dirty="0"/>
              <a:t> </a:t>
            </a:r>
            <a:r>
              <a:rPr lang="en-US" dirty="0" err="1"/>
              <a:t>erat</a:t>
            </a:r>
            <a:r>
              <a:rPr lang="en-US" dirty="0"/>
              <a:t>, </a:t>
            </a:r>
            <a:r>
              <a:rPr lang="en-US" dirty="0" err="1"/>
              <a:t>sed</a:t>
            </a:r>
            <a:r>
              <a:rPr lang="en-US" dirty="0"/>
              <a:t> </a:t>
            </a:r>
            <a:r>
              <a:rPr lang="en-US" dirty="0" err="1"/>
              <a:t>diam</a:t>
            </a:r>
            <a:r>
              <a:rPr lang="en-US" dirty="0"/>
              <a:t>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est. Lorem ipsum dolor sit </a:t>
            </a:r>
            <a:r>
              <a:rPr lang="en-US" dirty="0" err="1"/>
              <a:t>amet</a:t>
            </a:r>
            <a:r>
              <a:rPr lang="en-US" dirty="0"/>
              <a:t>. Lorem ipsum dolor sit </a:t>
            </a:r>
            <a:r>
              <a:rPr lang="en-US" dirty="0" err="1"/>
              <a:t>amet</a:t>
            </a:r>
            <a:r>
              <a:rPr lang="en-US" dirty="0"/>
              <a:t>, </a:t>
            </a:r>
            <a:r>
              <a:rPr lang="en-US" dirty="0" err="1"/>
              <a:t>consetetur</a:t>
            </a:r>
            <a:r>
              <a:rPr lang="en-US" dirty="0"/>
              <a:t> </a:t>
            </a:r>
            <a:r>
              <a:rPr lang="en-US" dirty="0" err="1"/>
              <a:t>sadipscing</a:t>
            </a:r>
            <a:r>
              <a:rPr lang="en-US" dirty="0"/>
              <a:t> </a:t>
            </a:r>
            <a:r>
              <a:rPr lang="en-US" dirty="0" err="1"/>
              <a:t>elitr</a:t>
            </a:r>
            <a:r>
              <a:rPr lang="en-US" dirty="0"/>
              <a:t>, </a:t>
            </a:r>
            <a:r>
              <a:rPr lang="en-US" dirty="0" err="1"/>
              <a:t>sed</a:t>
            </a:r>
            <a:r>
              <a:rPr lang="en-US" dirty="0"/>
              <a:t> </a:t>
            </a:r>
            <a:r>
              <a:rPr lang="en-US" dirty="0" err="1"/>
              <a:t>diam</a:t>
            </a:r>
            <a:r>
              <a:rPr lang="en-US" dirty="0"/>
              <a:t> </a:t>
            </a:r>
            <a:r>
              <a:rPr lang="en-US" dirty="0" err="1"/>
              <a:t>nonumy</a:t>
            </a:r>
            <a:r>
              <a:rPr lang="en-US" dirty="0"/>
              <a:t> </a:t>
            </a:r>
            <a:r>
              <a:rPr lang="en-US" dirty="0" err="1"/>
              <a:t>eirmod</a:t>
            </a:r>
            <a:r>
              <a:rPr lang="en-US" dirty="0"/>
              <a:t> </a:t>
            </a:r>
            <a:r>
              <a:rPr lang="en-US" dirty="0" err="1"/>
              <a:t>tempor</a:t>
            </a:r>
            <a:r>
              <a:rPr lang="en-US" dirty="0"/>
              <a:t> </a:t>
            </a:r>
            <a:r>
              <a:rPr lang="en-US" dirty="0" err="1"/>
              <a:t>inv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yam</a:t>
            </a:r>
            <a:r>
              <a:rPr lang="en-US" dirty="0"/>
              <a:t> </a:t>
            </a:r>
            <a:r>
              <a:rPr lang="en-US" dirty="0" err="1"/>
              <a:t>erat</a:t>
            </a:r>
            <a:r>
              <a:rPr lang="en-US" dirty="0"/>
              <a:t>, </a:t>
            </a:r>
            <a:r>
              <a:rPr lang="en-US" dirty="0" err="1"/>
              <a:t>sed</a:t>
            </a:r>
            <a:r>
              <a:rPr lang="en-US" dirty="0"/>
              <a:t> </a:t>
            </a:r>
            <a:r>
              <a:rPr lang="en-US" dirty="0" err="1"/>
              <a:t>diam</a:t>
            </a:r>
            <a:r>
              <a:rPr lang="en-US" dirty="0"/>
              <a:t> </a:t>
            </a:r>
            <a:r>
              <a:rPr lang="en-US" dirty="0" err="1"/>
              <a:t>voluptua</a:t>
            </a:r>
            <a:r>
              <a:rPr lang="en-US" dirty="0"/>
              <a:t>. At </a:t>
            </a:r>
            <a:r>
              <a:rPr lang="en-US" dirty="0" err="1"/>
              <a:t>vero</a:t>
            </a:r>
            <a:r>
              <a:rPr lang="en-US" dirty="0"/>
              <a:t> </a:t>
            </a:r>
            <a:r>
              <a:rPr lang="en-US" dirty="0" err="1"/>
              <a:t>eos</a:t>
            </a:r>
            <a:r>
              <a:rPr lang="en-US" dirty="0"/>
              <a:t> et </a:t>
            </a:r>
            <a:r>
              <a:rPr lang="en-US" dirty="0" err="1"/>
              <a:t>accusam</a:t>
            </a:r>
            <a:r>
              <a:rPr lang="en-US" dirty="0"/>
              <a:t> et </a:t>
            </a:r>
            <a:r>
              <a:rPr lang="en-US" dirty="0" err="1"/>
              <a:t>justo</a:t>
            </a:r>
            <a:r>
              <a:rPr lang="en-US" dirty="0"/>
              <a:t> duo </a:t>
            </a:r>
            <a:r>
              <a:rPr lang="en-US" dirty="0" err="1"/>
              <a:t>dolores</a:t>
            </a:r>
            <a:r>
              <a:rPr lang="en-US" dirty="0"/>
              <a:t> et </a:t>
            </a:r>
            <a:r>
              <a:rPr lang="en-US" dirty="0" err="1"/>
              <a:t>ea</a:t>
            </a:r>
            <a:r>
              <a:rPr lang="en-US" dirty="0"/>
              <a:t> </a:t>
            </a:r>
            <a:r>
              <a:rPr lang="en-US" dirty="0" err="1"/>
              <a:t>rebum</a:t>
            </a:r>
            <a:r>
              <a:rPr lang="en-US" dirty="0"/>
              <a:t>. Stet </a:t>
            </a:r>
            <a:r>
              <a:rPr lang="en-US" dirty="0" err="1"/>
              <a:t>clita</a:t>
            </a:r>
            <a:r>
              <a:rPr lang="en-US" dirty="0"/>
              <a:t> </a:t>
            </a:r>
            <a:r>
              <a:rPr lang="en-US" dirty="0" err="1"/>
              <a:t>kasd</a:t>
            </a:r>
            <a:r>
              <a:rPr lang="en-US" dirty="0"/>
              <a:t> </a:t>
            </a:r>
            <a:r>
              <a:rPr lang="en-US" dirty="0" err="1"/>
              <a:t>gubergren</a:t>
            </a:r>
            <a:r>
              <a:rPr lang="en-US" dirty="0"/>
              <a:t>, no sea </a:t>
            </a:r>
            <a:r>
              <a:rPr lang="en-US" dirty="0" err="1"/>
              <a:t>takimata</a:t>
            </a:r>
            <a:r>
              <a:rPr lang="en-US" dirty="0"/>
              <a:t> </a:t>
            </a:r>
            <a:r>
              <a:rPr lang="en-US" dirty="0" err="1"/>
              <a:t>sanctus</a:t>
            </a:r>
            <a:r>
              <a:rPr lang="en-US" dirty="0"/>
              <a:t> </a:t>
            </a:r>
            <a:r>
              <a:rPr lang="en-US" dirty="0" err="1"/>
              <a:t>est</a:t>
            </a:r>
            <a:r>
              <a:rPr lang="en-US" dirty="0"/>
              <a:t> Lorem ipsum dolor sit </a:t>
            </a:r>
            <a:r>
              <a:rPr lang="en-US" dirty="0" err="1"/>
              <a:t>amet</a:t>
            </a:r>
            <a:r>
              <a:rPr lang="en-US" dirty="0"/>
              <a:t>. </a:t>
            </a:r>
            <a:endParaRPr lang="en-CA" dirty="0"/>
          </a:p>
        </p:txBody>
      </p:sp>
      <p:sp>
        <p:nvSpPr>
          <p:cNvPr id="7" name="TextBox 6"/>
          <p:cNvSpPr txBox="1"/>
          <p:nvPr/>
        </p:nvSpPr>
        <p:spPr>
          <a:xfrm>
            <a:off x="6739139" y="3018594"/>
            <a:ext cx="4846320" cy="2708434"/>
          </a:xfrm>
          <a:prstGeom prst="rect">
            <a:avLst/>
          </a:prstGeom>
          <a:noFill/>
        </p:spPr>
        <p:txBody>
          <a:bodyPr wrap="square" lIns="0" tIns="0" rIns="0" bIns="0" rtlCol="0">
            <a:spAutoFit/>
          </a:bodyPr>
          <a:lstStyle>
            <a:defPPr>
              <a:defRPr lang="en-US"/>
            </a:defPPr>
            <a:lvl1pPr lvl="0">
              <a:lnSpc>
                <a:spcPct val="110000"/>
              </a:lnSpc>
              <a:spcBef>
                <a:spcPts val="400"/>
              </a:spcBef>
              <a:defRPr sz="800">
                <a:solidFill>
                  <a:schemeClr val="accent2"/>
                </a:solidFill>
              </a:defRPr>
            </a:lvl1pPr>
            <a:lvl2pPr marL="55563" marR="0" lvl="1" indent="-55563" fontAlgn="auto">
              <a:lnSpc>
                <a:spcPct val="110000"/>
              </a:lnSpc>
              <a:spcBef>
                <a:spcPts val="0"/>
              </a:spcBef>
              <a:spcAft>
                <a:spcPts val="0"/>
              </a:spcAft>
              <a:buClrTx/>
              <a:buSzTx/>
              <a:buFont typeface="Arial" panose="020B0604020202020204" pitchFamily="34" charset="0"/>
              <a:buChar char="•"/>
              <a:tabLst/>
              <a:defRPr sz="800" kern="600" spc="-10" baseline="0">
                <a:solidFill>
                  <a:schemeClr val="accent2"/>
                </a:solidFill>
              </a:defRPr>
            </a:lvl2pPr>
          </a:lstStyle>
          <a:p>
            <a:pPr lvl="0"/>
            <a:r>
              <a:rPr lang="en-US" dirty="0"/>
              <a:t>Placeholder confidentiality disclosure. Edit or delete from layout master if not needed. Use additional lines if additional confidentiality disclosure information is required. </a:t>
            </a:r>
            <a:r>
              <a:rPr lang="en-CA" dirty="0"/>
              <a:t>Lorem ipsum dolor sit </a:t>
            </a:r>
            <a:r>
              <a:rPr lang="en-CA" dirty="0" err="1"/>
              <a:t>amet</a:t>
            </a:r>
            <a:r>
              <a:rPr lang="en-CA" dirty="0"/>
              <a:t>, </a:t>
            </a:r>
            <a:r>
              <a:rPr lang="en-CA" dirty="0" err="1"/>
              <a:t>consetetur</a:t>
            </a:r>
            <a:r>
              <a:rPr lang="en-CA" dirty="0"/>
              <a:t> </a:t>
            </a:r>
            <a:r>
              <a:rPr lang="en-CA" dirty="0" err="1"/>
              <a:t>sadipscing</a:t>
            </a:r>
            <a:r>
              <a:rPr lang="en-CA" dirty="0"/>
              <a:t> </a:t>
            </a:r>
            <a:r>
              <a:rPr lang="en-CA" dirty="0" err="1"/>
              <a:t>elitr</a:t>
            </a:r>
            <a:r>
              <a:rPr lang="en-CA" dirty="0"/>
              <a:t>, </a:t>
            </a:r>
            <a:r>
              <a:rPr lang="en-CA" dirty="0" err="1"/>
              <a:t>sed</a:t>
            </a:r>
            <a:r>
              <a:rPr lang="en-CA" dirty="0"/>
              <a:t> </a:t>
            </a:r>
            <a:r>
              <a:rPr lang="en-CA" dirty="0" err="1"/>
              <a:t>diam</a:t>
            </a:r>
            <a:r>
              <a:rPr lang="en-CA" dirty="0"/>
              <a:t> </a:t>
            </a:r>
            <a:r>
              <a:rPr lang="en-CA" dirty="0" err="1"/>
              <a:t>nonumy</a:t>
            </a:r>
            <a:r>
              <a:rPr lang="en-CA" dirty="0"/>
              <a:t> </a:t>
            </a:r>
            <a:r>
              <a:rPr lang="en-CA" dirty="0" err="1"/>
              <a:t>eirmod</a:t>
            </a:r>
            <a:r>
              <a:rPr lang="en-CA" dirty="0"/>
              <a:t> </a:t>
            </a:r>
            <a:r>
              <a:rPr lang="en-CA" dirty="0" err="1"/>
              <a:t>tempor</a:t>
            </a:r>
            <a:r>
              <a:rPr lang="en-CA" dirty="0"/>
              <a:t> </a:t>
            </a:r>
            <a:r>
              <a:rPr lang="en-CA" dirty="0" err="1"/>
              <a:t>invidunt</a:t>
            </a:r>
            <a:r>
              <a:rPr lang="en-CA" dirty="0"/>
              <a:t> </a:t>
            </a:r>
            <a:r>
              <a:rPr lang="en-CA" dirty="0" err="1"/>
              <a:t>ut</a:t>
            </a:r>
            <a:r>
              <a:rPr lang="en-CA" dirty="0"/>
              <a:t> </a:t>
            </a:r>
            <a:r>
              <a:rPr lang="en-CA" dirty="0" err="1"/>
              <a:t>labore</a:t>
            </a:r>
            <a:r>
              <a:rPr lang="en-CA" dirty="0"/>
              <a:t> et </a:t>
            </a:r>
            <a:r>
              <a:rPr lang="en-CA" dirty="0" err="1"/>
              <a:t>dolore</a:t>
            </a:r>
            <a:r>
              <a:rPr lang="en-CA" dirty="0"/>
              <a:t> magna </a:t>
            </a:r>
            <a:r>
              <a:rPr lang="en-CA" dirty="0" err="1"/>
              <a:t>aliquyam</a:t>
            </a:r>
            <a:r>
              <a:rPr lang="en-CA" dirty="0"/>
              <a:t> </a:t>
            </a:r>
            <a:r>
              <a:rPr lang="en-CA" dirty="0" err="1"/>
              <a:t>erat</a:t>
            </a:r>
            <a:r>
              <a:rPr lang="en-CA" dirty="0"/>
              <a:t>, </a:t>
            </a:r>
            <a:r>
              <a:rPr lang="en-CA" dirty="0" err="1"/>
              <a:t>sed</a:t>
            </a:r>
            <a:r>
              <a:rPr lang="en-CA" dirty="0"/>
              <a:t> </a:t>
            </a:r>
            <a:r>
              <a:rPr lang="en-CA" dirty="0" err="1"/>
              <a:t>diam</a:t>
            </a:r>
            <a:r>
              <a:rPr lang="en-CA" dirty="0"/>
              <a:t> </a:t>
            </a:r>
            <a:r>
              <a:rPr lang="en-CA" dirty="0" err="1"/>
              <a:t>voluptua</a:t>
            </a:r>
            <a:r>
              <a:rPr lang="en-CA" dirty="0"/>
              <a:t>. At </a:t>
            </a:r>
            <a:r>
              <a:rPr lang="en-CA" dirty="0" err="1"/>
              <a:t>vero</a:t>
            </a:r>
            <a:r>
              <a:rPr lang="en-CA" dirty="0"/>
              <a:t> </a:t>
            </a:r>
            <a:r>
              <a:rPr lang="en-CA" dirty="0" err="1"/>
              <a:t>eos</a:t>
            </a:r>
            <a:r>
              <a:rPr lang="en-CA" dirty="0"/>
              <a:t> et </a:t>
            </a:r>
            <a:r>
              <a:rPr lang="en-CA" dirty="0" err="1"/>
              <a:t>accusam</a:t>
            </a:r>
            <a:r>
              <a:rPr lang="en-CA" dirty="0"/>
              <a:t> et </a:t>
            </a:r>
            <a:r>
              <a:rPr lang="en-CA" dirty="0" err="1"/>
              <a:t>justo</a:t>
            </a:r>
            <a:r>
              <a:rPr lang="en-CA" dirty="0"/>
              <a:t> duo </a:t>
            </a:r>
            <a:r>
              <a:rPr lang="en-CA" dirty="0" err="1"/>
              <a:t>dolores</a:t>
            </a:r>
            <a:r>
              <a:rPr lang="en-CA" dirty="0"/>
              <a:t> et </a:t>
            </a:r>
            <a:r>
              <a:rPr lang="en-CA" dirty="0" err="1"/>
              <a:t>ea</a:t>
            </a:r>
            <a:r>
              <a:rPr lang="en-CA" dirty="0"/>
              <a:t> </a:t>
            </a:r>
            <a:r>
              <a:rPr lang="en-CA" dirty="0" err="1"/>
              <a:t>rebum</a:t>
            </a:r>
            <a:r>
              <a:rPr lang="en-CA" dirty="0"/>
              <a:t>. Stet </a:t>
            </a:r>
            <a:r>
              <a:rPr lang="en-CA" dirty="0" err="1"/>
              <a:t>clita</a:t>
            </a:r>
            <a:r>
              <a:rPr lang="en-CA" dirty="0"/>
              <a:t> </a:t>
            </a:r>
            <a:r>
              <a:rPr lang="en-CA" dirty="0" err="1"/>
              <a:t>kasd</a:t>
            </a:r>
            <a:r>
              <a:rPr lang="en-CA" dirty="0"/>
              <a:t> </a:t>
            </a:r>
            <a:r>
              <a:rPr lang="en-CA" dirty="0" err="1"/>
              <a:t>gubergren</a:t>
            </a:r>
            <a:r>
              <a:rPr lang="en-CA" dirty="0"/>
              <a:t>, no sea </a:t>
            </a:r>
            <a:r>
              <a:rPr lang="en-CA" dirty="0" err="1"/>
              <a:t>takimata</a:t>
            </a:r>
            <a:r>
              <a:rPr lang="en-CA" dirty="0"/>
              <a:t> </a:t>
            </a:r>
            <a:r>
              <a:rPr lang="en-CA" dirty="0" err="1"/>
              <a:t>sanctus</a:t>
            </a:r>
            <a:r>
              <a:rPr lang="en-CA" dirty="0"/>
              <a:t> </a:t>
            </a:r>
            <a:r>
              <a:rPr lang="en-CA" dirty="0" err="1"/>
              <a:t>est</a:t>
            </a:r>
            <a:r>
              <a:rPr lang="en-CA" dirty="0"/>
              <a:t> Lorem ipsum dolor sit </a:t>
            </a:r>
            <a:r>
              <a:rPr lang="en-CA" dirty="0" err="1"/>
              <a:t>amet</a:t>
            </a:r>
            <a:r>
              <a:rPr lang="en-CA" dirty="0"/>
              <a:t>. Lorem ipsum dolor sit </a:t>
            </a:r>
            <a:r>
              <a:rPr lang="en-CA" dirty="0" err="1"/>
              <a:t>amet</a:t>
            </a:r>
            <a:r>
              <a:rPr lang="en-CA" dirty="0"/>
              <a:t>, </a:t>
            </a:r>
            <a:r>
              <a:rPr lang="en-CA" dirty="0" err="1"/>
              <a:t>consetetur</a:t>
            </a:r>
            <a:r>
              <a:rPr lang="en-CA" dirty="0"/>
              <a:t> </a:t>
            </a:r>
            <a:r>
              <a:rPr lang="en-CA" dirty="0" err="1"/>
              <a:t>sadipscing</a:t>
            </a:r>
            <a:r>
              <a:rPr lang="en-CA" dirty="0"/>
              <a:t> </a:t>
            </a:r>
            <a:r>
              <a:rPr lang="en-CA" dirty="0" err="1"/>
              <a:t>elitr</a:t>
            </a:r>
            <a:r>
              <a:rPr lang="en-CA" dirty="0"/>
              <a:t>,  </a:t>
            </a:r>
            <a:r>
              <a:rPr lang="en-CA" dirty="0" err="1"/>
              <a:t>sed</a:t>
            </a:r>
            <a:r>
              <a:rPr lang="en-CA" dirty="0"/>
              <a:t> </a:t>
            </a:r>
            <a:r>
              <a:rPr lang="en-CA" dirty="0" err="1"/>
              <a:t>diam</a:t>
            </a:r>
            <a:r>
              <a:rPr lang="en-CA" dirty="0"/>
              <a:t> </a:t>
            </a:r>
            <a:r>
              <a:rPr lang="en-CA" dirty="0" err="1"/>
              <a:t>nonumy</a:t>
            </a:r>
            <a:r>
              <a:rPr lang="en-CA" dirty="0"/>
              <a:t> </a:t>
            </a:r>
            <a:r>
              <a:rPr lang="en-CA" dirty="0" err="1"/>
              <a:t>eirmod</a:t>
            </a:r>
            <a:r>
              <a:rPr lang="en-CA" dirty="0"/>
              <a:t> </a:t>
            </a:r>
            <a:r>
              <a:rPr lang="en-CA" dirty="0" err="1"/>
              <a:t>tempor</a:t>
            </a:r>
            <a:r>
              <a:rPr lang="en-CA" dirty="0"/>
              <a:t> </a:t>
            </a:r>
            <a:r>
              <a:rPr lang="en-CA" dirty="0" err="1"/>
              <a:t>invidunt</a:t>
            </a:r>
            <a:r>
              <a:rPr lang="en-CA" dirty="0"/>
              <a:t> </a:t>
            </a:r>
            <a:r>
              <a:rPr lang="en-CA" dirty="0" err="1"/>
              <a:t>ut</a:t>
            </a:r>
            <a:r>
              <a:rPr lang="en-CA" dirty="0"/>
              <a:t> </a:t>
            </a:r>
            <a:r>
              <a:rPr lang="en-CA" dirty="0" err="1"/>
              <a:t>labore</a:t>
            </a:r>
            <a:r>
              <a:rPr lang="en-CA" dirty="0"/>
              <a:t> et </a:t>
            </a:r>
            <a:r>
              <a:rPr lang="en-CA" dirty="0" err="1"/>
              <a:t>dolore</a:t>
            </a:r>
            <a:r>
              <a:rPr lang="en-CA" dirty="0"/>
              <a:t> magna </a:t>
            </a:r>
            <a:r>
              <a:rPr lang="en-CA" dirty="0" err="1"/>
              <a:t>aliquyam</a:t>
            </a:r>
            <a:r>
              <a:rPr lang="en-CA" dirty="0"/>
              <a:t> </a:t>
            </a:r>
            <a:r>
              <a:rPr lang="en-CA" dirty="0" err="1"/>
              <a:t>erat</a:t>
            </a:r>
            <a:r>
              <a:rPr lang="en-CA" dirty="0"/>
              <a:t>, </a:t>
            </a:r>
            <a:r>
              <a:rPr lang="en-CA" dirty="0" err="1"/>
              <a:t>sed</a:t>
            </a:r>
            <a:r>
              <a:rPr lang="en-CA" dirty="0"/>
              <a:t> </a:t>
            </a:r>
            <a:r>
              <a:rPr lang="en-CA" dirty="0" err="1"/>
              <a:t>diam</a:t>
            </a:r>
            <a:r>
              <a:rPr lang="en-CA" dirty="0"/>
              <a:t> </a:t>
            </a:r>
            <a:r>
              <a:rPr lang="en-CA" dirty="0" err="1"/>
              <a:t>voluptua</a:t>
            </a:r>
            <a:r>
              <a:rPr lang="en-CA" dirty="0"/>
              <a:t>. At </a:t>
            </a:r>
            <a:r>
              <a:rPr lang="en-CA" dirty="0" err="1"/>
              <a:t>vero</a:t>
            </a:r>
            <a:r>
              <a:rPr lang="en-CA" dirty="0"/>
              <a:t> </a:t>
            </a:r>
            <a:r>
              <a:rPr lang="en-CA" dirty="0" err="1"/>
              <a:t>eos</a:t>
            </a:r>
            <a:r>
              <a:rPr lang="en-CA" dirty="0"/>
              <a:t> et </a:t>
            </a:r>
            <a:r>
              <a:rPr lang="en-CA" dirty="0" err="1"/>
              <a:t>accusam</a:t>
            </a:r>
            <a:r>
              <a:rPr lang="en-CA" dirty="0"/>
              <a:t> et </a:t>
            </a:r>
            <a:r>
              <a:rPr lang="en-CA" dirty="0" err="1"/>
              <a:t>justo</a:t>
            </a:r>
            <a:r>
              <a:rPr lang="en-CA" dirty="0"/>
              <a:t> duo </a:t>
            </a:r>
            <a:r>
              <a:rPr lang="en-CA" dirty="0" err="1"/>
              <a:t>dolores</a:t>
            </a:r>
            <a:r>
              <a:rPr lang="en-CA" dirty="0"/>
              <a:t> et </a:t>
            </a:r>
            <a:r>
              <a:rPr lang="en-CA" dirty="0" err="1"/>
              <a:t>ea</a:t>
            </a:r>
            <a:r>
              <a:rPr lang="en-CA" dirty="0"/>
              <a:t> </a:t>
            </a:r>
            <a:r>
              <a:rPr lang="en-CA" dirty="0" err="1"/>
              <a:t>rebum</a:t>
            </a:r>
            <a:r>
              <a:rPr lang="en-CA" dirty="0"/>
              <a:t>. Stet </a:t>
            </a:r>
            <a:r>
              <a:rPr lang="en-CA" dirty="0" err="1"/>
              <a:t>clita</a:t>
            </a:r>
            <a:r>
              <a:rPr lang="en-CA" dirty="0"/>
              <a:t> </a:t>
            </a:r>
            <a:r>
              <a:rPr lang="en-CA" dirty="0" err="1"/>
              <a:t>kasd</a:t>
            </a:r>
            <a:r>
              <a:rPr lang="en-CA" dirty="0"/>
              <a:t> </a:t>
            </a:r>
            <a:r>
              <a:rPr lang="en-CA" dirty="0" err="1"/>
              <a:t>gubergren</a:t>
            </a:r>
            <a:r>
              <a:rPr lang="en-CA" dirty="0"/>
              <a:t>, </a:t>
            </a:r>
            <a:r>
              <a:rPr lang="en-CA" dirty="0" err="1"/>
              <a:t>sed</a:t>
            </a:r>
            <a:r>
              <a:rPr lang="en-CA" dirty="0"/>
              <a:t> </a:t>
            </a:r>
            <a:r>
              <a:rPr lang="en-CA" dirty="0" err="1"/>
              <a:t>diam</a:t>
            </a:r>
            <a:r>
              <a:rPr lang="en-CA" dirty="0"/>
              <a:t> </a:t>
            </a:r>
            <a:r>
              <a:rPr lang="en-CA" dirty="0" err="1"/>
              <a:t>nonumy</a:t>
            </a:r>
            <a:r>
              <a:rPr lang="en-CA" dirty="0"/>
              <a:t> </a:t>
            </a:r>
            <a:r>
              <a:rPr lang="en-CA" dirty="0" err="1"/>
              <a:t>eirmod</a:t>
            </a:r>
            <a:r>
              <a:rPr lang="en-CA" dirty="0"/>
              <a:t> </a:t>
            </a:r>
            <a:r>
              <a:rPr lang="en-CA" dirty="0" err="1"/>
              <a:t>tempor</a:t>
            </a:r>
            <a:r>
              <a:rPr lang="en-CA" dirty="0"/>
              <a:t> </a:t>
            </a:r>
            <a:r>
              <a:rPr lang="en-CA" dirty="0" err="1"/>
              <a:t>invidunt</a:t>
            </a:r>
            <a:r>
              <a:rPr lang="en-CA" dirty="0"/>
              <a:t> </a:t>
            </a:r>
            <a:r>
              <a:rPr lang="en-CA" dirty="0" err="1"/>
              <a:t>ut</a:t>
            </a:r>
            <a:r>
              <a:rPr lang="en-CA" dirty="0"/>
              <a:t> </a:t>
            </a:r>
            <a:r>
              <a:rPr lang="en-CA" dirty="0" err="1"/>
              <a:t>labore</a:t>
            </a:r>
            <a:r>
              <a:rPr lang="en-CA" dirty="0"/>
              <a:t> et </a:t>
            </a:r>
            <a:r>
              <a:rPr lang="en-CA" dirty="0" err="1"/>
              <a:t>dolore</a:t>
            </a:r>
            <a:r>
              <a:rPr lang="en-CA" dirty="0"/>
              <a:t> magna </a:t>
            </a:r>
            <a:r>
              <a:rPr lang="en-CA" dirty="0" err="1"/>
              <a:t>aliquyam</a:t>
            </a:r>
            <a:r>
              <a:rPr lang="en-CA" dirty="0"/>
              <a:t> </a:t>
            </a:r>
            <a:r>
              <a:rPr lang="en-CA" dirty="0" err="1"/>
              <a:t>erat</a:t>
            </a:r>
            <a:r>
              <a:rPr lang="en-CA" dirty="0"/>
              <a:t>, </a:t>
            </a:r>
            <a:r>
              <a:rPr lang="en-CA" dirty="0" err="1"/>
              <a:t>sed</a:t>
            </a:r>
            <a:r>
              <a:rPr lang="en-CA" dirty="0"/>
              <a:t> </a:t>
            </a:r>
            <a:r>
              <a:rPr lang="en-CA" dirty="0" err="1"/>
              <a:t>diam</a:t>
            </a:r>
            <a:r>
              <a:rPr lang="en-CA" dirty="0"/>
              <a:t> </a:t>
            </a:r>
            <a:r>
              <a:rPr lang="en-CA" dirty="0" err="1"/>
              <a:t>voluptua</a:t>
            </a:r>
            <a:r>
              <a:rPr lang="en-CA" dirty="0"/>
              <a:t>:</a:t>
            </a:r>
          </a:p>
          <a:p>
            <a:pPr lvl="1"/>
            <a:r>
              <a:rPr lang="en-CA" dirty="0"/>
              <a:t>At </a:t>
            </a:r>
            <a:r>
              <a:rPr lang="en-CA" dirty="0" err="1"/>
              <a:t>vero</a:t>
            </a:r>
            <a:r>
              <a:rPr lang="en-CA" dirty="0"/>
              <a:t> </a:t>
            </a:r>
            <a:r>
              <a:rPr lang="en-CA" dirty="0" err="1"/>
              <a:t>eos</a:t>
            </a:r>
            <a:r>
              <a:rPr lang="en-CA" dirty="0"/>
              <a:t> et </a:t>
            </a:r>
            <a:r>
              <a:rPr lang="en-CA" dirty="0" err="1"/>
              <a:t>accusam</a:t>
            </a:r>
            <a:r>
              <a:rPr lang="en-CA" dirty="0"/>
              <a:t> et </a:t>
            </a:r>
            <a:r>
              <a:rPr lang="en-CA" dirty="0" err="1"/>
              <a:t>justo</a:t>
            </a:r>
            <a:r>
              <a:rPr lang="en-CA" dirty="0"/>
              <a:t> Stet </a:t>
            </a:r>
            <a:r>
              <a:rPr lang="en-CA" dirty="0" err="1"/>
              <a:t>clita</a:t>
            </a:r>
            <a:r>
              <a:rPr lang="en-CA" dirty="0"/>
              <a:t> </a:t>
            </a:r>
            <a:r>
              <a:rPr lang="en-CA" dirty="0" err="1"/>
              <a:t>kasd</a:t>
            </a:r>
            <a:r>
              <a:rPr lang="en-CA" dirty="0"/>
              <a:t> </a:t>
            </a:r>
            <a:r>
              <a:rPr lang="en-CA" dirty="0" err="1"/>
              <a:t>gubergren</a:t>
            </a:r>
            <a:r>
              <a:rPr lang="en-CA" dirty="0"/>
              <a:t>, no sea </a:t>
            </a:r>
            <a:r>
              <a:rPr lang="en-CA" dirty="0" err="1"/>
              <a:t>takimata</a:t>
            </a:r>
            <a:r>
              <a:rPr lang="en-CA" dirty="0"/>
              <a:t> </a:t>
            </a:r>
            <a:r>
              <a:rPr lang="en-CA" dirty="0" err="1"/>
              <a:t>sanctus</a:t>
            </a:r>
            <a:r>
              <a:rPr lang="en-CA" dirty="0"/>
              <a:t> </a:t>
            </a:r>
            <a:r>
              <a:rPr lang="en-CA" dirty="0" err="1"/>
              <a:t>est</a:t>
            </a:r>
            <a:r>
              <a:rPr lang="en-CA" dirty="0"/>
              <a:t> lorem ipsum dolor sit </a:t>
            </a:r>
            <a:r>
              <a:rPr lang="en-CA" dirty="0" err="1"/>
              <a:t>amet</a:t>
            </a:r>
            <a:r>
              <a:rPr lang="en-CA" dirty="0"/>
              <a:t>. </a:t>
            </a:r>
          </a:p>
          <a:p>
            <a:pPr lvl="1"/>
            <a:r>
              <a:rPr lang="en-CA" dirty="0"/>
              <a:t>Duo </a:t>
            </a:r>
            <a:r>
              <a:rPr lang="en-CA" dirty="0" err="1"/>
              <a:t>dolores</a:t>
            </a:r>
            <a:r>
              <a:rPr lang="en-CA" dirty="0"/>
              <a:t> et </a:t>
            </a:r>
            <a:r>
              <a:rPr lang="en-CA" dirty="0" err="1"/>
              <a:t>ea</a:t>
            </a:r>
            <a:r>
              <a:rPr lang="en-CA" dirty="0"/>
              <a:t> </a:t>
            </a:r>
            <a:r>
              <a:rPr lang="en-CA" dirty="0" err="1"/>
              <a:t>rebum</a:t>
            </a:r>
            <a:r>
              <a:rPr lang="en-CA" dirty="0"/>
              <a:t>. Stet </a:t>
            </a:r>
            <a:r>
              <a:rPr lang="en-CA" dirty="0" err="1"/>
              <a:t>clita</a:t>
            </a:r>
            <a:r>
              <a:rPr lang="en-CA" dirty="0"/>
              <a:t> </a:t>
            </a:r>
            <a:r>
              <a:rPr lang="en-CA" dirty="0" err="1"/>
              <a:t>kasd</a:t>
            </a:r>
            <a:r>
              <a:rPr lang="en-CA" dirty="0"/>
              <a:t> </a:t>
            </a:r>
            <a:r>
              <a:rPr lang="en-CA" dirty="0" err="1"/>
              <a:t>gubergren</a:t>
            </a:r>
            <a:r>
              <a:rPr lang="en-CA" dirty="0"/>
              <a:t>, no sea </a:t>
            </a:r>
            <a:r>
              <a:rPr lang="en-CA" dirty="0" err="1"/>
              <a:t>takimata</a:t>
            </a:r>
            <a:r>
              <a:rPr lang="en-CA" dirty="0"/>
              <a:t> </a:t>
            </a:r>
            <a:r>
              <a:rPr lang="en-CA" dirty="0" err="1"/>
              <a:t>sanctus</a:t>
            </a:r>
            <a:r>
              <a:rPr lang="en-CA" dirty="0"/>
              <a:t> </a:t>
            </a:r>
            <a:r>
              <a:rPr lang="en-CA" dirty="0" err="1"/>
              <a:t>est</a:t>
            </a:r>
            <a:r>
              <a:rPr lang="en-CA" dirty="0"/>
              <a:t> lorem ipsum dolor sit </a:t>
            </a:r>
            <a:r>
              <a:rPr lang="en-CA" dirty="0" err="1"/>
              <a:t>amet</a:t>
            </a:r>
            <a:r>
              <a:rPr lang="en-CA" dirty="0"/>
              <a:t>.</a:t>
            </a:r>
          </a:p>
          <a:p>
            <a:pPr lvl="1"/>
            <a:r>
              <a:rPr lang="en-CA" dirty="0" err="1"/>
              <a:t>Ut</a:t>
            </a:r>
            <a:r>
              <a:rPr lang="en-CA" dirty="0"/>
              <a:t> </a:t>
            </a:r>
            <a:r>
              <a:rPr lang="en-CA" dirty="0" err="1"/>
              <a:t>wisi</a:t>
            </a:r>
            <a:r>
              <a:rPr lang="en-CA" dirty="0"/>
              <a:t> </a:t>
            </a:r>
            <a:r>
              <a:rPr lang="en-CA" dirty="0" err="1"/>
              <a:t>enim</a:t>
            </a:r>
            <a:r>
              <a:rPr lang="en-CA" dirty="0"/>
              <a:t> ad minim </a:t>
            </a:r>
            <a:r>
              <a:rPr lang="en-CA" dirty="0" err="1"/>
              <a:t>veniam</a:t>
            </a:r>
            <a:r>
              <a:rPr lang="en-CA" dirty="0"/>
              <a:t>, </a:t>
            </a:r>
            <a:r>
              <a:rPr lang="en-CA" dirty="0" err="1"/>
              <a:t>quis</a:t>
            </a:r>
            <a:r>
              <a:rPr lang="en-CA" dirty="0"/>
              <a:t> </a:t>
            </a:r>
            <a:r>
              <a:rPr lang="en-CA" dirty="0" err="1"/>
              <a:t>nostrud</a:t>
            </a:r>
            <a:r>
              <a:rPr lang="en-CA" dirty="0"/>
              <a:t> </a:t>
            </a:r>
            <a:r>
              <a:rPr lang="en-CA" dirty="0" err="1"/>
              <a:t>exerci</a:t>
            </a:r>
            <a:r>
              <a:rPr lang="en-CA" dirty="0"/>
              <a:t> </a:t>
            </a:r>
            <a:r>
              <a:rPr lang="en-CA" dirty="0" err="1"/>
              <a:t>tation</a:t>
            </a:r>
            <a:r>
              <a:rPr lang="en-CA" dirty="0"/>
              <a:t> </a:t>
            </a:r>
            <a:r>
              <a:rPr lang="en-CA" dirty="0" err="1"/>
              <a:t>ullamcorper</a:t>
            </a:r>
            <a:r>
              <a:rPr lang="en-CA" dirty="0"/>
              <a:t> </a:t>
            </a:r>
            <a:r>
              <a:rPr lang="en-CA" dirty="0" err="1"/>
              <a:t>suscipit</a:t>
            </a:r>
            <a:r>
              <a:rPr lang="en-CA" dirty="0"/>
              <a:t> </a:t>
            </a:r>
            <a:r>
              <a:rPr lang="en-CA" dirty="0" err="1"/>
              <a:t>lobortis</a:t>
            </a:r>
            <a:r>
              <a:rPr lang="en-CA" dirty="0"/>
              <a:t> </a:t>
            </a:r>
            <a:r>
              <a:rPr lang="en-CA" dirty="0" err="1"/>
              <a:t>nisl</a:t>
            </a:r>
            <a:r>
              <a:rPr lang="en-CA" dirty="0"/>
              <a:t> </a:t>
            </a:r>
            <a:r>
              <a:rPr lang="en-CA" dirty="0" err="1"/>
              <a:t>ut</a:t>
            </a:r>
            <a:r>
              <a:rPr lang="en-CA" dirty="0"/>
              <a:t> </a:t>
            </a:r>
            <a:r>
              <a:rPr lang="en-CA" dirty="0" err="1"/>
              <a:t>aliquip</a:t>
            </a:r>
            <a:r>
              <a:rPr lang="en-CA" dirty="0"/>
              <a:t> ex </a:t>
            </a:r>
            <a:r>
              <a:rPr lang="en-CA" dirty="0" err="1"/>
              <a:t>ea</a:t>
            </a:r>
            <a:r>
              <a:rPr lang="en-CA" dirty="0"/>
              <a:t> </a:t>
            </a:r>
            <a:r>
              <a:rPr lang="en-CA" dirty="0" err="1"/>
              <a:t>comm</a:t>
            </a:r>
            <a:br>
              <a:rPr lang="en-CA" dirty="0"/>
            </a:br>
            <a:r>
              <a:rPr lang="en-CA" dirty="0" err="1"/>
              <a:t>odo</a:t>
            </a:r>
            <a:r>
              <a:rPr lang="en-CA" dirty="0"/>
              <a:t> </a:t>
            </a:r>
            <a:r>
              <a:rPr lang="en-CA" dirty="0" err="1"/>
              <a:t>consequat</a:t>
            </a:r>
            <a:r>
              <a:rPr lang="en-CA" dirty="0"/>
              <a:t>.</a:t>
            </a:r>
          </a:p>
          <a:p>
            <a:pPr lvl="1"/>
            <a:r>
              <a:rPr lang="en-CA" dirty="0"/>
              <a:t>Lorem ipsum dolor sit </a:t>
            </a:r>
            <a:r>
              <a:rPr lang="en-CA" dirty="0" err="1"/>
              <a:t>amet</a:t>
            </a:r>
            <a:r>
              <a:rPr lang="en-CA" dirty="0"/>
              <a:t>, </a:t>
            </a:r>
            <a:r>
              <a:rPr lang="en-CA" dirty="0" err="1"/>
              <a:t>consetetur</a:t>
            </a:r>
            <a:r>
              <a:rPr lang="en-CA" dirty="0"/>
              <a:t> </a:t>
            </a:r>
            <a:r>
              <a:rPr lang="en-CA" dirty="0" err="1"/>
              <a:t>sadipscing</a:t>
            </a:r>
            <a:r>
              <a:rPr lang="en-CA" dirty="0"/>
              <a:t> </a:t>
            </a:r>
            <a:r>
              <a:rPr lang="en-CA" dirty="0" err="1"/>
              <a:t>elitr</a:t>
            </a:r>
            <a:r>
              <a:rPr lang="en-CA" dirty="0"/>
              <a:t>,  </a:t>
            </a:r>
            <a:r>
              <a:rPr lang="en-CA" dirty="0" err="1"/>
              <a:t>sed</a:t>
            </a:r>
            <a:r>
              <a:rPr lang="en-CA" dirty="0"/>
              <a:t> </a:t>
            </a:r>
            <a:r>
              <a:rPr lang="en-CA" dirty="0" err="1"/>
              <a:t>diam</a:t>
            </a:r>
            <a:r>
              <a:rPr lang="en-CA" dirty="0"/>
              <a:t> </a:t>
            </a:r>
            <a:r>
              <a:rPr lang="en-CA" dirty="0" err="1"/>
              <a:t>nonumy</a:t>
            </a:r>
            <a:r>
              <a:rPr lang="en-CA" dirty="0"/>
              <a:t> </a:t>
            </a:r>
            <a:r>
              <a:rPr lang="en-CA" dirty="0" err="1"/>
              <a:t>eirmod</a:t>
            </a:r>
            <a:r>
              <a:rPr lang="en-CA" dirty="0"/>
              <a:t> </a:t>
            </a:r>
            <a:r>
              <a:rPr lang="en-CA" dirty="0" err="1"/>
              <a:t>tempor</a:t>
            </a:r>
            <a:r>
              <a:rPr lang="en-CA" dirty="0"/>
              <a:t> </a:t>
            </a:r>
            <a:r>
              <a:rPr lang="en-CA" dirty="0" err="1"/>
              <a:t>invidunt</a:t>
            </a:r>
            <a:r>
              <a:rPr lang="en-CA" dirty="0"/>
              <a:t> </a:t>
            </a:r>
            <a:r>
              <a:rPr lang="en-CA" dirty="0" err="1"/>
              <a:t>ut</a:t>
            </a:r>
            <a:r>
              <a:rPr lang="en-CA" dirty="0"/>
              <a:t> </a:t>
            </a:r>
            <a:r>
              <a:rPr lang="en-CA" dirty="0" err="1"/>
              <a:t>labore</a:t>
            </a:r>
            <a:r>
              <a:rPr lang="en-CA" dirty="0"/>
              <a:t> et </a:t>
            </a:r>
            <a:r>
              <a:rPr lang="en-CA" dirty="0" err="1"/>
              <a:t>dolore</a:t>
            </a:r>
            <a:r>
              <a:rPr lang="en-CA" dirty="0"/>
              <a:t> magna </a:t>
            </a:r>
            <a:r>
              <a:rPr lang="en-CA" dirty="0" err="1"/>
              <a:t>aliquyam</a:t>
            </a:r>
            <a:r>
              <a:rPr lang="en-CA" dirty="0"/>
              <a:t> </a:t>
            </a:r>
            <a:r>
              <a:rPr lang="en-CA" dirty="0" err="1"/>
              <a:t>erat</a:t>
            </a:r>
            <a:r>
              <a:rPr lang="en-CA" dirty="0"/>
              <a:t>, </a:t>
            </a:r>
            <a:r>
              <a:rPr lang="en-CA" dirty="0" err="1"/>
              <a:t>sed</a:t>
            </a:r>
            <a:r>
              <a:rPr lang="en-CA" dirty="0"/>
              <a:t> </a:t>
            </a:r>
            <a:r>
              <a:rPr lang="en-CA" dirty="0" err="1"/>
              <a:t>diam</a:t>
            </a:r>
            <a:r>
              <a:rPr lang="en-CA" dirty="0"/>
              <a:t> </a:t>
            </a:r>
            <a:r>
              <a:rPr lang="en-CA" dirty="0" err="1"/>
              <a:t>voluptua</a:t>
            </a:r>
            <a:r>
              <a:rPr lang="en-CA" dirty="0"/>
              <a:t>.</a:t>
            </a:r>
          </a:p>
          <a:p>
            <a:pPr lvl="1"/>
            <a:r>
              <a:rPr lang="en-CA" dirty="0"/>
              <a:t>Duis </a:t>
            </a:r>
            <a:r>
              <a:rPr lang="en-CA" dirty="0" err="1"/>
              <a:t>autem</a:t>
            </a:r>
            <a:r>
              <a:rPr lang="en-CA" dirty="0"/>
              <a:t> </a:t>
            </a:r>
            <a:r>
              <a:rPr lang="en-CA" dirty="0" err="1"/>
              <a:t>vel</a:t>
            </a:r>
            <a:r>
              <a:rPr lang="en-CA" dirty="0"/>
              <a:t> </a:t>
            </a:r>
            <a:r>
              <a:rPr lang="en-CA" dirty="0" err="1"/>
              <a:t>eum</a:t>
            </a:r>
            <a:r>
              <a:rPr lang="en-CA" dirty="0"/>
              <a:t> </a:t>
            </a:r>
            <a:r>
              <a:rPr lang="en-CA" dirty="0" err="1"/>
              <a:t>iriure</a:t>
            </a:r>
            <a:r>
              <a:rPr lang="en-CA" dirty="0"/>
              <a:t> dolor in </a:t>
            </a:r>
            <a:r>
              <a:rPr lang="en-CA" dirty="0" err="1"/>
              <a:t>hendrerit</a:t>
            </a:r>
            <a:r>
              <a:rPr lang="en-CA" dirty="0"/>
              <a:t> in </a:t>
            </a:r>
            <a:r>
              <a:rPr lang="en-CA" dirty="0" err="1"/>
              <a:t>vulputate</a:t>
            </a:r>
            <a:r>
              <a:rPr lang="en-CA" dirty="0"/>
              <a:t> </a:t>
            </a:r>
            <a:r>
              <a:rPr lang="en-CA" dirty="0" err="1"/>
              <a:t>velit</a:t>
            </a:r>
            <a:r>
              <a:rPr lang="en-CA" dirty="0"/>
              <a:t> </a:t>
            </a:r>
            <a:r>
              <a:rPr lang="en-CA" dirty="0" err="1"/>
              <a:t>esse</a:t>
            </a:r>
            <a:r>
              <a:rPr lang="en-CA" dirty="0"/>
              <a:t> </a:t>
            </a:r>
            <a:r>
              <a:rPr lang="en-CA" dirty="0" err="1"/>
              <a:t>molestie</a:t>
            </a:r>
            <a:r>
              <a:rPr lang="en-CA" dirty="0"/>
              <a:t> </a:t>
            </a:r>
            <a:r>
              <a:rPr lang="en-CA" dirty="0" err="1"/>
              <a:t>consequat</a:t>
            </a:r>
            <a:r>
              <a:rPr lang="en-CA" dirty="0"/>
              <a:t>, </a:t>
            </a:r>
            <a:r>
              <a:rPr lang="en-CA" dirty="0" err="1"/>
              <a:t>vel</a:t>
            </a:r>
            <a:r>
              <a:rPr lang="en-CA" dirty="0"/>
              <a:t> </a:t>
            </a:r>
            <a:r>
              <a:rPr lang="en-CA" dirty="0" err="1"/>
              <a:t>illum</a:t>
            </a:r>
            <a:r>
              <a:rPr lang="en-CA" dirty="0"/>
              <a:t> </a:t>
            </a:r>
            <a:r>
              <a:rPr lang="en-CA" dirty="0" err="1"/>
              <a:t>dolore</a:t>
            </a:r>
            <a:r>
              <a:rPr lang="en-CA" dirty="0"/>
              <a:t> </a:t>
            </a:r>
            <a:r>
              <a:rPr lang="en-CA" dirty="0" err="1"/>
              <a:t>eu</a:t>
            </a:r>
            <a:r>
              <a:rPr lang="en-CA" dirty="0"/>
              <a:t> </a:t>
            </a:r>
            <a:r>
              <a:rPr lang="en-CA" dirty="0" err="1"/>
              <a:t>feugiat</a:t>
            </a:r>
            <a:r>
              <a:rPr lang="en-CA" dirty="0"/>
              <a:t> </a:t>
            </a:r>
            <a:r>
              <a:rPr lang="en-CA" dirty="0" err="1"/>
              <a:t>nulla</a:t>
            </a:r>
            <a:r>
              <a:rPr lang="en-CA" dirty="0"/>
              <a:t> </a:t>
            </a:r>
            <a:r>
              <a:rPr lang="en-CA" dirty="0" err="1"/>
              <a:t>facilisis</a:t>
            </a:r>
            <a:r>
              <a:rPr lang="en-CA" dirty="0"/>
              <a:t> at </a:t>
            </a:r>
            <a:r>
              <a:rPr lang="en-CA" dirty="0" err="1"/>
              <a:t>ver</a:t>
            </a:r>
            <a:r>
              <a:rPr lang="en-CA" dirty="0"/>
              <a:t> </a:t>
            </a:r>
            <a:r>
              <a:rPr lang="en-CA" dirty="0" err="1"/>
              <a:t>duis</a:t>
            </a:r>
            <a:r>
              <a:rPr lang="en-CA" dirty="0"/>
              <a:t> </a:t>
            </a:r>
            <a:r>
              <a:rPr lang="en-CA" dirty="0" err="1"/>
              <a:t>dolore</a:t>
            </a:r>
            <a:r>
              <a:rPr lang="en-CA" dirty="0"/>
              <a:t> </a:t>
            </a:r>
            <a:r>
              <a:rPr lang="en-CA" dirty="0" err="1"/>
              <a:t>te</a:t>
            </a:r>
            <a:r>
              <a:rPr lang="en-CA" dirty="0"/>
              <a:t> </a:t>
            </a:r>
            <a:r>
              <a:rPr lang="en-CA" dirty="0" err="1"/>
              <a:t>feugait</a:t>
            </a:r>
            <a:r>
              <a:rPr lang="en-CA" dirty="0"/>
              <a:t> </a:t>
            </a:r>
            <a:r>
              <a:rPr lang="en-CA" dirty="0" err="1"/>
              <a:t>nulla</a:t>
            </a:r>
            <a:r>
              <a:rPr lang="en-CA" dirty="0"/>
              <a:t> </a:t>
            </a:r>
            <a:r>
              <a:rPr lang="en-CA" dirty="0" err="1"/>
              <a:t>facilisi</a:t>
            </a:r>
            <a:r>
              <a:rPr lang="en-CA" dirty="0"/>
              <a:t>.</a:t>
            </a:r>
          </a:p>
          <a:p>
            <a:pPr lvl="1"/>
            <a:r>
              <a:rPr lang="en-CA" dirty="0" err="1"/>
              <a:t>Ut</a:t>
            </a:r>
            <a:r>
              <a:rPr lang="en-CA" dirty="0"/>
              <a:t> </a:t>
            </a:r>
            <a:r>
              <a:rPr lang="en-CA" dirty="0" err="1"/>
              <a:t>wisi</a:t>
            </a:r>
            <a:r>
              <a:rPr lang="en-CA" dirty="0"/>
              <a:t> </a:t>
            </a:r>
            <a:r>
              <a:rPr lang="en-CA" dirty="0" err="1"/>
              <a:t>enim</a:t>
            </a:r>
            <a:r>
              <a:rPr lang="en-CA" dirty="0"/>
              <a:t> ad minim </a:t>
            </a:r>
            <a:r>
              <a:rPr lang="en-CA" dirty="0" err="1"/>
              <a:t>veniam</a:t>
            </a:r>
            <a:r>
              <a:rPr lang="en-CA" dirty="0"/>
              <a:t>, </a:t>
            </a:r>
            <a:r>
              <a:rPr lang="en-CA" dirty="0" err="1"/>
              <a:t>quis</a:t>
            </a:r>
            <a:r>
              <a:rPr lang="en-CA" dirty="0"/>
              <a:t> </a:t>
            </a:r>
            <a:r>
              <a:rPr lang="en-CA" dirty="0" err="1"/>
              <a:t>nostrud</a:t>
            </a:r>
            <a:r>
              <a:rPr lang="en-CA" dirty="0"/>
              <a:t> </a:t>
            </a:r>
            <a:r>
              <a:rPr lang="en-CA" dirty="0" err="1"/>
              <a:t>exerci</a:t>
            </a:r>
            <a:r>
              <a:rPr lang="en-CA" dirty="0"/>
              <a:t> </a:t>
            </a:r>
            <a:r>
              <a:rPr lang="en-CA" dirty="0" err="1"/>
              <a:t>tation</a:t>
            </a:r>
            <a:r>
              <a:rPr lang="en-CA" dirty="0"/>
              <a:t> </a:t>
            </a:r>
            <a:r>
              <a:rPr lang="en-CA" dirty="0" err="1"/>
              <a:t>ullamcorper</a:t>
            </a:r>
            <a:r>
              <a:rPr lang="en-CA" dirty="0"/>
              <a:t> </a:t>
            </a:r>
            <a:r>
              <a:rPr lang="en-CA" dirty="0" err="1"/>
              <a:t>suscipit</a:t>
            </a:r>
            <a:r>
              <a:rPr lang="en-CA" dirty="0"/>
              <a:t> </a:t>
            </a:r>
            <a:r>
              <a:rPr lang="en-CA" dirty="0" err="1"/>
              <a:t>lobortis</a:t>
            </a:r>
            <a:r>
              <a:rPr lang="en-CA" dirty="0"/>
              <a:t> </a:t>
            </a:r>
            <a:r>
              <a:rPr lang="en-CA" dirty="0" err="1"/>
              <a:t>nisl</a:t>
            </a:r>
            <a:r>
              <a:rPr lang="en-CA" dirty="0"/>
              <a:t> </a:t>
            </a:r>
            <a:r>
              <a:rPr lang="en-CA" dirty="0" err="1"/>
              <a:t>ut</a:t>
            </a:r>
            <a:r>
              <a:rPr lang="en-CA" dirty="0"/>
              <a:t> </a:t>
            </a:r>
            <a:r>
              <a:rPr lang="en-CA" dirty="0" err="1"/>
              <a:t>aliquip</a:t>
            </a:r>
            <a:r>
              <a:rPr lang="en-CA" dirty="0"/>
              <a:t> ex </a:t>
            </a:r>
            <a:r>
              <a:rPr lang="en-CA" dirty="0" err="1"/>
              <a:t>ea</a:t>
            </a:r>
            <a:r>
              <a:rPr lang="en-CA" dirty="0"/>
              <a:t> </a:t>
            </a:r>
            <a:br>
              <a:rPr lang="en-CA" dirty="0"/>
            </a:br>
            <a:r>
              <a:rPr lang="en-CA" dirty="0" err="1"/>
              <a:t>commodo</a:t>
            </a:r>
            <a:r>
              <a:rPr lang="en-CA" dirty="0"/>
              <a:t> </a:t>
            </a:r>
            <a:r>
              <a:rPr lang="en-CA" dirty="0" err="1"/>
              <a:t>consequat</a:t>
            </a:r>
            <a:r>
              <a:rPr lang="en-CA" dirty="0"/>
              <a:t>.</a:t>
            </a:r>
          </a:p>
          <a:p>
            <a:pPr lvl="1"/>
            <a:r>
              <a:rPr lang="en-CA" dirty="0"/>
              <a:t>At </a:t>
            </a:r>
            <a:r>
              <a:rPr lang="en-CA" dirty="0" err="1"/>
              <a:t>vero</a:t>
            </a:r>
            <a:r>
              <a:rPr lang="en-CA" dirty="0"/>
              <a:t> </a:t>
            </a:r>
            <a:r>
              <a:rPr lang="en-CA" dirty="0" err="1"/>
              <a:t>eos</a:t>
            </a:r>
            <a:r>
              <a:rPr lang="en-CA" dirty="0"/>
              <a:t> et </a:t>
            </a:r>
            <a:r>
              <a:rPr lang="en-CA" dirty="0" err="1"/>
              <a:t>accusam</a:t>
            </a:r>
            <a:r>
              <a:rPr lang="en-CA" dirty="0"/>
              <a:t> et </a:t>
            </a:r>
            <a:r>
              <a:rPr lang="en-CA" dirty="0" err="1"/>
              <a:t>justo</a:t>
            </a:r>
            <a:r>
              <a:rPr lang="en-CA" dirty="0"/>
              <a:t> duo </a:t>
            </a:r>
            <a:r>
              <a:rPr lang="en-CA" dirty="0" err="1"/>
              <a:t>dolores</a:t>
            </a:r>
            <a:r>
              <a:rPr lang="en-CA" dirty="0"/>
              <a:t> et </a:t>
            </a:r>
            <a:r>
              <a:rPr lang="en-CA" dirty="0" err="1"/>
              <a:t>ea</a:t>
            </a:r>
            <a:r>
              <a:rPr lang="en-CA" dirty="0"/>
              <a:t> </a:t>
            </a:r>
            <a:r>
              <a:rPr lang="en-CA" dirty="0" err="1"/>
              <a:t>rebum</a:t>
            </a:r>
            <a:r>
              <a:rPr lang="en-CA" dirty="0"/>
              <a:t>. Stet </a:t>
            </a:r>
            <a:r>
              <a:rPr lang="en-CA" dirty="0" err="1"/>
              <a:t>clita</a:t>
            </a:r>
            <a:r>
              <a:rPr lang="en-CA" dirty="0"/>
              <a:t> </a:t>
            </a:r>
            <a:r>
              <a:rPr lang="en-CA" dirty="0" err="1"/>
              <a:t>kasd</a:t>
            </a:r>
            <a:r>
              <a:rPr lang="en-CA" dirty="0"/>
              <a:t> </a:t>
            </a:r>
            <a:r>
              <a:rPr lang="en-CA" dirty="0" err="1"/>
              <a:t>gubergren</a:t>
            </a:r>
            <a:r>
              <a:rPr lang="en-CA" dirty="0"/>
              <a:t>, no sea </a:t>
            </a:r>
            <a:r>
              <a:rPr lang="en-CA" dirty="0" err="1"/>
              <a:t>takimata</a:t>
            </a:r>
            <a:r>
              <a:rPr lang="en-CA" dirty="0"/>
              <a:t> </a:t>
            </a:r>
            <a:r>
              <a:rPr lang="en-CA" dirty="0" err="1"/>
              <a:t>sanctus</a:t>
            </a:r>
            <a:r>
              <a:rPr lang="en-CA" dirty="0"/>
              <a:t> </a:t>
            </a:r>
            <a:r>
              <a:rPr lang="en-CA" dirty="0" err="1"/>
              <a:t>est</a:t>
            </a:r>
            <a:r>
              <a:rPr lang="en-CA" dirty="0"/>
              <a:t> Lorem ipsum dolor sit </a:t>
            </a:r>
            <a:r>
              <a:rPr lang="en-CA" dirty="0" err="1"/>
              <a:t>amet</a:t>
            </a:r>
            <a:r>
              <a:rPr lang="en-CA" dirty="0"/>
              <a:t>.</a:t>
            </a:r>
          </a:p>
        </p:txBody>
      </p:sp>
      <p:sp>
        <p:nvSpPr>
          <p:cNvPr id="12" name="AutoShape 3"/>
          <p:cNvSpPr>
            <a:spLocks noChangeAspect="1" noChangeArrowheads="1" noTextEdit="1"/>
          </p:cNvSpPr>
          <p:nvPr userDrawn="1"/>
        </p:nvSpPr>
        <p:spPr bwMode="auto">
          <a:xfrm>
            <a:off x="365125" y="365125"/>
            <a:ext cx="9017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8" name="Freeform 5"/>
          <p:cNvSpPr>
            <a:spLocks noChangeAspect="1" noEditPoints="1"/>
          </p:cNvSpPr>
          <p:nvPr userDrawn="1"/>
        </p:nvSpPr>
        <p:spPr bwMode="auto">
          <a:xfrm>
            <a:off x="754593" y="475512"/>
            <a:ext cx="914400" cy="914400"/>
          </a:xfrm>
          <a:custGeom>
            <a:avLst/>
            <a:gdLst>
              <a:gd name="T0" fmla="*/ 3869 w 5760"/>
              <a:gd name="T1" fmla="*/ 1545 h 5760"/>
              <a:gd name="T2" fmla="*/ 2018 w 5760"/>
              <a:gd name="T3" fmla="*/ 2250 h 5760"/>
              <a:gd name="T4" fmla="*/ 2018 w 5760"/>
              <a:gd name="T5" fmla="*/ 2250 h 5760"/>
              <a:gd name="T6" fmla="*/ 1556 w 5760"/>
              <a:gd name="T7" fmla="*/ 3934 h 5760"/>
              <a:gd name="T8" fmla="*/ 1755 w 5760"/>
              <a:gd name="T9" fmla="*/ 4133 h 5760"/>
              <a:gd name="T10" fmla="*/ 3470 w 5760"/>
              <a:gd name="T11" fmla="*/ 3455 h 5760"/>
              <a:gd name="T12" fmla="*/ 3861 w 5760"/>
              <a:gd name="T13" fmla="*/ 3710 h 5760"/>
              <a:gd name="T14" fmla="*/ 3933 w 5760"/>
              <a:gd name="T15" fmla="*/ 3255 h 5760"/>
              <a:gd name="T16" fmla="*/ 3734 w 5760"/>
              <a:gd name="T17" fmla="*/ 4133 h 5760"/>
              <a:gd name="T18" fmla="*/ 3694 w 5760"/>
              <a:gd name="T19" fmla="*/ 2712 h 5760"/>
              <a:gd name="T20" fmla="*/ 3905 w 5760"/>
              <a:gd name="T21" fmla="*/ 2466 h 5760"/>
              <a:gd name="T22" fmla="*/ 3574 w 5760"/>
              <a:gd name="T23" fmla="*/ 2354 h 5760"/>
              <a:gd name="T24" fmla="*/ 3853 w 5760"/>
              <a:gd name="T25" fmla="*/ 1324 h 5760"/>
              <a:gd name="T26" fmla="*/ 3295 w 5760"/>
              <a:gd name="T27" fmla="*/ 2298 h 5760"/>
              <a:gd name="T28" fmla="*/ 2685 w 5760"/>
              <a:gd name="T29" fmla="*/ 2469 h 5760"/>
              <a:gd name="T30" fmla="*/ 2816 w 5760"/>
              <a:gd name="T31" fmla="*/ 1987 h 5760"/>
              <a:gd name="T32" fmla="*/ 2170 w 5760"/>
              <a:gd name="T33" fmla="*/ 2593 h 5760"/>
              <a:gd name="T34" fmla="*/ 2712 w 5760"/>
              <a:gd name="T35" fmla="*/ 1580 h 5760"/>
              <a:gd name="T36" fmla="*/ 1779 w 5760"/>
              <a:gd name="T37" fmla="*/ 2274 h 5760"/>
              <a:gd name="T38" fmla="*/ 1643 w 5760"/>
              <a:gd name="T39" fmla="*/ 1795 h 5760"/>
              <a:gd name="T40" fmla="*/ 1388 w 5760"/>
              <a:gd name="T41" fmla="*/ 2066 h 5760"/>
              <a:gd name="T42" fmla="*/ 2122 w 5760"/>
              <a:gd name="T43" fmla="*/ 2792 h 5760"/>
              <a:gd name="T44" fmla="*/ 2417 w 5760"/>
              <a:gd name="T45" fmla="*/ 2832 h 5760"/>
              <a:gd name="T46" fmla="*/ 1292 w 5760"/>
              <a:gd name="T47" fmla="*/ 3917 h 5760"/>
              <a:gd name="T48" fmla="*/ 2537 w 5760"/>
              <a:gd name="T49" fmla="*/ 3678 h 5760"/>
              <a:gd name="T50" fmla="*/ 3374 w 5760"/>
              <a:gd name="T51" fmla="*/ 2489 h 5760"/>
              <a:gd name="T52" fmla="*/ 2888 w 5760"/>
              <a:gd name="T53" fmla="*/ 3502 h 5760"/>
              <a:gd name="T54" fmla="*/ 4484 w 5760"/>
              <a:gd name="T55" fmla="*/ 3646 h 5760"/>
              <a:gd name="T56" fmla="*/ 5321 w 5760"/>
              <a:gd name="T57" fmla="*/ 3701 h 5760"/>
              <a:gd name="T58" fmla="*/ 5297 w 5760"/>
              <a:gd name="T59" fmla="*/ 3694 h 5760"/>
              <a:gd name="T60" fmla="*/ 5066 w 5760"/>
              <a:gd name="T61" fmla="*/ 2513 h 5760"/>
              <a:gd name="T62" fmla="*/ 5138 w 5760"/>
              <a:gd name="T63" fmla="*/ 3415 h 5760"/>
              <a:gd name="T64" fmla="*/ 2880 w 5760"/>
              <a:gd name="T65" fmla="*/ 5449 h 5760"/>
              <a:gd name="T66" fmla="*/ 2063 w 5760"/>
              <a:gd name="T67" fmla="*/ 5306 h 5760"/>
              <a:gd name="T68" fmla="*/ 2689 w 5760"/>
              <a:gd name="T69" fmla="*/ 5393 h 5760"/>
              <a:gd name="T70" fmla="*/ 3047 w 5760"/>
              <a:gd name="T71" fmla="*/ 4875 h 5760"/>
              <a:gd name="T72" fmla="*/ 1771 w 5760"/>
              <a:gd name="T73" fmla="*/ 5042 h 5760"/>
              <a:gd name="T74" fmla="*/ 440 w 5760"/>
              <a:gd name="T75" fmla="*/ 2067 h 5760"/>
              <a:gd name="T76" fmla="*/ 462 w 5760"/>
              <a:gd name="T77" fmla="*/ 2075 h 5760"/>
              <a:gd name="T78" fmla="*/ 694 w 5760"/>
              <a:gd name="T79" fmla="*/ 3247 h 5760"/>
              <a:gd name="T80" fmla="*/ 622 w 5760"/>
              <a:gd name="T81" fmla="*/ 2354 h 5760"/>
              <a:gd name="T82" fmla="*/ 2880 w 5760"/>
              <a:gd name="T83" fmla="*/ 311 h 5760"/>
              <a:gd name="T84" fmla="*/ 3696 w 5760"/>
              <a:gd name="T85" fmla="*/ 461 h 5760"/>
              <a:gd name="T86" fmla="*/ 3071 w 5760"/>
              <a:gd name="T87" fmla="*/ 367 h 5760"/>
              <a:gd name="T88" fmla="*/ 2712 w 5760"/>
              <a:gd name="T89" fmla="*/ 885 h 5760"/>
              <a:gd name="T90" fmla="*/ 3989 w 5760"/>
              <a:gd name="T91" fmla="*/ 726 h 5760"/>
              <a:gd name="T92" fmla="*/ 5321 w 5760"/>
              <a:gd name="T93" fmla="*/ 3701 h 5760"/>
              <a:gd name="T94" fmla="*/ 135 w 5760"/>
              <a:gd name="T95" fmla="*/ 2880 h 5760"/>
              <a:gd name="T96" fmla="*/ 5624 w 5760"/>
              <a:gd name="T97" fmla="*/ 2880 h 5760"/>
              <a:gd name="T98" fmla="*/ 2880 w 5760"/>
              <a:gd name="T99" fmla="*/ 5760 h 5760"/>
              <a:gd name="T100" fmla="*/ 2880 w 5760"/>
              <a:gd name="T101" fmla="*/ 0 h 5760"/>
              <a:gd name="T102" fmla="*/ 2880 w 5760"/>
              <a:gd name="T103" fmla="*/ 576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5760">
                <a:moveTo>
                  <a:pt x="3526" y="2130"/>
                </a:moveTo>
                <a:cubicBezTo>
                  <a:pt x="3526" y="1803"/>
                  <a:pt x="3748" y="1485"/>
                  <a:pt x="3869" y="1545"/>
                </a:cubicBezTo>
                <a:cubicBezTo>
                  <a:pt x="4006" y="1614"/>
                  <a:pt x="3766" y="1923"/>
                  <a:pt x="3526" y="2130"/>
                </a:cubicBezTo>
                <a:moveTo>
                  <a:pt x="2018" y="2250"/>
                </a:moveTo>
                <a:cubicBezTo>
                  <a:pt x="2018" y="1987"/>
                  <a:pt x="2278" y="1486"/>
                  <a:pt x="2437" y="1539"/>
                </a:cubicBezTo>
                <a:cubicBezTo>
                  <a:pt x="2625" y="1601"/>
                  <a:pt x="2282" y="2106"/>
                  <a:pt x="2018" y="2250"/>
                </a:cubicBezTo>
                <a:close/>
                <a:moveTo>
                  <a:pt x="1755" y="4133"/>
                </a:moveTo>
                <a:cubicBezTo>
                  <a:pt x="1635" y="4138"/>
                  <a:pt x="1556" y="4062"/>
                  <a:pt x="1556" y="3934"/>
                </a:cubicBezTo>
                <a:cubicBezTo>
                  <a:pt x="1556" y="3591"/>
                  <a:pt x="2031" y="3264"/>
                  <a:pt x="2390" y="3088"/>
                </a:cubicBezTo>
                <a:cubicBezTo>
                  <a:pt x="2327" y="3567"/>
                  <a:pt x="2165" y="4114"/>
                  <a:pt x="1755" y="4133"/>
                </a:cubicBezTo>
                <a:close/>
                <a:moveTo>
                  <a:pt x="3949" y="3016"/>
                </a:moveTo>
                <a:cubicBezTo>
                  <a:pt x="3678" y="3016"/>
                  <a:pt x="3470" y="3215"/>
                  <a:pt x="3470" y="3455"/>
                </a:cubicBezTo>
                <a:cubicBezTo>
                  <a:pt x="3470" y="3654"/>
                  <a:pt x="3590" y="3813"/>
                  <a:pt x="3750" y="3813"/>
                </a:cubicBezTo>
                <a:cubicBezTo>
                  <a:pt x="3806" y="3813"/>
                  <a:pt x="3861" y="3782"/>
                  <a:pt x="3861" y="3710"/>
                </a:cubicBezTo>
                <a:cubicBezTo>
                  <a:pt x="3861" y="3606"/>
                  <a:pt x="3724" y="3581"/>
                  <a:pt x="3734" y="3426"/>
                </a:cubicBezTo>
                <a:cubicBezTo>
                  <a:pt x="3741" y="3323"/>
                  <a:pt x="3837" y="3255"/>
                  <a:pt x="3933" y="3255"/>
                </a:cubicBezTo>
                <a:cubicBezTo>
                  <a:pt x="4124" y="3255"/>
                  <a:pt x="4214" y="3440"/>
                  <a:pt x="4214" y="3632"/>
                </a:cubicBezTo>
                <a:cubicBezTo>
                  <a:pt x="4206" y="3927"/>
                  <a:pt x="3989" y="4133"/>
                  <a:pt x="3734" y="4133"/>
                </a:cubicBezTo>
                <a:cubicBezTo>
                  <a:pt x="3398" y="4133"/>
                  <a:pt x="3183" y="3813"/>
                  <a:pt x="3183" y="3470"/>
                </a:cubicBezTo>
                <a:cubicBezTo>
                  <a:pt x="3183" y="2960"/>
                  <a:pt x="3518" y="2760"/>
                  <a:pt x="3694" y="2712"/>
                </a:cubicBezTo>
                <a:cubicBezTo>
                  <a:pt x="3696" y="2712"/>
                  <a:pt x="4153" y="2794"/>
                  <a:pt x="4138" y="2592"/>
                </a:cubicBezTo>
                <a:cubicBezTo>
                  <a:pt x="4132" y="2504"/>
                  <a:pt x="4000" y="2470"/>
                  <a:pt x="3905" y="2466"/>
                </a:cubicBezTo>
                <a:cubicBezTo>
                  <a:pt x="3799" y="2462"/>
                  <a:pt x="3692" y="2500"/>
                  <a:pt x="3692" y="2500"/>
                </a:cubicBezTo>
                <a:cubicBezTo>
                  <a:pt x="3636" y="2472"/>
                  <a:pt x="3598" y="2417"/>
                  <a:pt x="3574" y="2354"/>
                </a:cubicBezTo>
                <a:cubicBezTo>
                  <a:pt x="3901" y="2106"/>
                  <a:pt x="4133" y="1867"/>
                  <a:pt x="4133" y="1596"/>
                </a:cubicBezTo>
                <a:cubicBezTo>
                  <a:pt x="4133" y="1452"/>
                  <a:pt x="4037" y="1324"/>
                  <a:pt x="3853" y="1324"/>
                </a:cubicBezTo>
                <a:cubicBezTo>
                  <a:pt x="3526" y="1324"/>
                  <a:pt x="3279" y="1739"/>
                  <a:pt x="3279" y="2114"/>
                </a:cubicBezTo>
                <a:cubicBezTo>
                  <a:pt x="3279" y="2178"/>
                  <a:pt x="3279" y="2242"/>
                  <a:pt x="3295" y="2298"/>
                </a:cubicBezTo>
                <a:cubicBezTo>
                  <a:pt x="3087" y="2449"/>
                  <a:pt x="2933" y="2543"/>
                  <a:pt x="2654" y="2711"/>
                </a:cubicBezTo>
                <a:cubicBezTo>
                  <a:pt x="2654" y="2676"/>
                  <a:pt x="2661" y="2586"/>
                  <a:pt x="2685" y="2469"/>
                </a:cubicBezTo>
                <a:cubicBezTo>
                  <a:pt x="2780" y="2365"/>
                  <a:pt x="2912" y="2210"/>
                  <a:pt x="2912" y="2090"/>
                </a:cubicBezTo>
                <a:cubicBezTo>
                  <a:pt x="2912" y="2034"/>
                  <a:pt x="2880" y="1987"/>
                  <a:pt x="2816" y="1987"/>
                </a:cubicBezTo>
                <a:cubicBezTo>
                  <a:pt x="2657" y="1987"/>
                  <a:pt x="2537" y="2226"/>
                  <a:pt x="2505" y="2393"/>
                </a:cubicBezTo>
                <a:cubicBezTo>
                  <a:pt x="2433" y="2481"/>
                  <a:pt x="2290" y="2593"/>
                  <a:pt x="2170" y="2593"/>
                </a:cubicBezTo>
                <a:cubicBezTo>
                  <a:pt x="2074" y="2593"/>
                  <a:pt x="2042" y="2505"/>
                  <a:pt x="2034" y="2473"/>
                </a:cubicBezTo>
                <a:cubicBezTo>
                  <a:pt x="2338" y="2369"/>
                  <a:pt x="2712" y="1955"/>
                  <a:pt x="2712" y="1580"/>
                </a:cubicBezTo>
                <a:cubicBezTo>
                  <a:pt x="2712" y="1500"/>
                  <a:pt x="2681" y="1324"/>
                  <a:pt x="2441" y="1324"/>
                </a:cubicBezTo>
                <a:cubicBezTo>
                  <a:pt x="2082" y="1324"/>
                  <a:pt x="1779" y="1859"/>
                  <a:pt x="1779" y="2274"/>
                </a:cubicBezTo>
                <a:cubicBezTo>
                  <a:pt x="1651" y="2274"/>
                  <a:pt x="1604" y="2138"/>
                  <a:pt x="1604" y="2034"/>
                </a:cubicBezTo>
                <a:cubicBezTo>
                  <a:pt x="1604" y="1931"/>
                  <a:pt x="1643" y="1827"/>
                  <a:pt x="1643" y="1795"/>
                </a:cubicBezTo>
                <a:cubicBezTo>
                  <a:pt x="1643" y="1763"/>
                  <a:pt x="1627" y="1723"/>
                  <a:pt x="1580" y="1723"/>
                </a:cubicBezTo>
                <a:cubicBezTo>
                  <a:pt x="1460" y="1723"/>
                  <a:pt x="1388" y="1883"/>
                  <a:pt x="1388" y="2066"/>
                </a:cubicBezTo>
                <a:cubicBezTo>
                  <a:pt x="1396" y="2322"/>
                  <a:pt x="1564" y="2481"/>
                  <a:pt x="1787" y="2497"/>
                </a:cubicBezTo>
                <a:cubicBezTo>
                  <a:pt x="1819" y="2649"/>
                  <a:pt x="1955" y="2792"/>
                  <a:pt x="2122" y="2792"/>
                </a:cubicBezTo>
                <a:cubicBezTo>
                  <a:pt x="2226" y="2792"/>
                  <a:pt x="2353" y="2760"/>
                  <a:pt x="2441" y="2681"/>
                </a:cubicBezTo>
                <a:cubicBezTo>
                  <a:pt x="2433" y="2737"/>
                  <a:pt x="2425" y="2784"/>
                  <a:pt x="2417" y="2832"/>
                </a:cubicBezTo>
                <a:cubicBezTo>
                  <a:pt x="2066" y="3016"/>
                  <a:pt x="1811" y="3143"/>
                  <a:pt x="1580" y="3351"/>
                </a:cubicBezTo>
                <a:cubicBezTo>
                  <a:pt x="1396" y="3518"/>
                  <a:pt x="1292" y="3742"/>
                  <a:pt x="1292" y="3917"/>
                </a:cubicBezTo>
                <a:cubicBezTo>
                  <a:pt x="1292" y="4157"/>
                  <a:pt x="1444" y="4380"/>
                  <a:pt x="1755" y="4380"/>
                </a:cubicBezTo>
                <a:cubicBezTo>
                  <a:pt x="2122" y="4380"/>
                  <a:pt x="2401" y="4085"/>
                  <a:pt x="2537" y="3678"/>
                </a:cubicBezTo>
                <a:cubicBezTo>
                  <a:pt x="2601" y="3486"/>
                  <a:pt x="2626" y="3208"/>
                  <a:pt x="2642" y="2952"/>
                </a:cubicBezTo>
                <a:cubicBezTo>
                  <a:pt x="3009" y="2745"/>
                  <a:pt x="3183" y="2625"/>
                  <a:pt x="3374" y="2489"/>
                </a:cubicBezTo>
                <a:cubicBezTo>
                  <a:pt x="3398" y="2529"/>
                  <a:pt x="3423" y="2561"/>
                  <a:pt x="3454" y="2585"/>
                </a:cubicBezTo>
                <a:cubicBezTo>
                  <a:pt x="3287" y="2673"/>
                  <a:pt x="2888" y="2920"/>
                  <a:pt x="2888" y="3502"/>
                </a:cubicBezTo>
                <a:cubicBezTo>
                  <a:pt x="2888" y="3917"/>
                  <a:pt x="3167" y="4380"/>
                  <a:pt x="3718" y="4380"/>
                </a:cubicBezTo>
                <a:cubicBezTo>
                  <a:pt x="4172" y="4380"/>
                  <a:pt x="4484" y="4005"/>
                  <a:pt x="4484" y="3646"/>
                </a:cubicBezTo>
                <a:cubicBezTo>
                  <a:pt x="4484" y="3319"/>
                  <a:pt x="4300" y="3016"/>
                  <a:pt x="3949" y="3016"/>
                </a:cubicBezTo>
                <a:close/>
                <a:moveTo>
                  <a:pt x="5321" y="3701"/>
                </a:moveTo>
                <a:cubicBezTo>
                  <a:pt x="5319" y="3703"/>
                  <a:pt x="5315" y="3707"/>
                  <a:pt x="5306" y="3704"/>
                </a:cubicBezTo>
                <a:cubicBezTo>
                  <a:pt x="5299" y="3702"/>
                  <a:pt x="5297" y="3698"/>
                  <a:pt x="5297" y="3694"/>
                </a:cubicBezTo>
                <a:cubicBezTo>
                  <a:pt x="5298" y="3689"/>
                  <a:pt x="5394" y="3405"/>
                  <a:pt x="5393" y="3080"/>
                </a:cubicBezTo>
                <a:cubicBezTo>
                  <a:pt x="5392" y="2728"/>
                  <a:pt x="5249" y="2513"/>
                  <a:pt x="5066" y="2513"/>
                </a:cubicBezTo>
                <a:cubicBezTo>
                  <a:pt x="4954" y="2513"/>
                  <a:pt x="4874" y="2593"/>
                  <a:pt x="4874" y="2712"/>
                </a:cubicBezTo>
                <a:cubicBezTo>
                  <a:pt x="4874" y="2928"/>
                  <a:pt x="5138" y="2944"/>
                  <a:pt x="5138" y="3415"/>
                </a:cubicBezTo>
                <a:cubicBezTo>
                  <a:pt x="5138" y="3606"/>
                  <a:pt x="5098" y="3789"/>
                  <a:pt x="5034" y="3989"/>
                </a:cubicBezTo>
                <a:cubicBezTo>
                  <a:pt x="4739" y="4986"/>
                  <a:pt x="3797" y="5449"/>
                  <a:pt x="2880" y="5449"/>
                </a:cubicBezTo>
                <a:cubicBezTo>
                  <a:pt x="2457" y="5449"/>
                  <a:pt x="2157" y="5362"/>
                  <a:pt x="2067" y="5322"/>
                </a:cubicBezTo>
                <a:cubicBezTo>
                  <a:pt x="2063" y="5320"/>
                  <a:pt x="2061" y="5313"/>
                  <a:pt x="2063" y="5306"/>
                </a:cubicBezTo>
                <a:cubicBezTo>
                  <a:pt x="2065" y="5300"/>
                  <a:pt x="2072" y="5296"/>
                  <a:pt x="2075" y="5298"/>
                </a:cubicBezTo>
                <a:cubicBezTo>
                  <a:pt x="2111" y="5312"/>
                  <a:pt x="2369" y="5393"/>
                  <a:pt x="2689" y="5393"/>
                </a:cubicBezTo>
                <a:cubicBezTo>
                  <a:pt x="3040" y="5393"/>
                  <a:pt x="3247" y="5250"/>
                  <a:pt x="3247" y="5074"/>
                </a:cubicBezTo>
                <a:cubicBezTo>
                  <a:pt x="3247" y="4962"/>
                  <a:pt x="3159" y="4875"/>
                  <a:pt x="3047" y="4875"/>
                </a:cubicBezTo>
                <a:cubicBezTo>
                  <a:pt x="2832" y="4875"/>
                  <a:pt x="2816" y="5146"/>
                  <a:pt x="2353" y="5146"/>
                </a:cubicBezTo>
                <a:cubicBezTo>
                  <a:pt x="2154" y="5146"/>
                  <a:pt x="1979" y="5106"/>
                  <a:pt x="1771" y="5042"/>
                </a:cubicBezTo>
                <a:cubicBezTo>
                  <a:pt x="782" y="4739"/>
                  <a:pt x="310" y="3805"/>
                  <a:pt x="311" y="2880"/>
                </a:cubicBezTo>
                <a:cubicBezTo>
                  <a:pt x="311" y="2429"/>
                  <a:pt x="438" y="2070"/>
                  <a:pt x="440" y="2067"/>
                </a:cubicBezTo>
                <a:cubicBezTo>
                  <a:pt x="441" y="2065"/>
                  <a:pt x="447" y="2062"/>
                  <a:pt x="454" y="2065"/>
                </a:cubicBezTo>
                <a:cubicBezTo>
                  <a:pt x="461" y="2067"/>
                  <a:pt x="463" y="2073"/>
                  <a:pt x="462" y="2075"/>
                </a:cubicBezTo>
                <a:cubicBezTo>
                  <a:pt x="451" y="2112"/>
                  <a:pt x="367" y="2370"/>
                  <a:pt x="367" y="2688"/>
                </a:cubicBezTo>
                <a:cubicBezTo>
                  <a:pt x="367" y="3040"/>
                  <a:pt x="511" y="3247"/>
                  <a:pt x="694" y="3247"/>
                </a:cubicBezTo>
                <a:cubicBezTo>
                  <a:pt x="798" y="3247"/>
                  <a:pt x="885" y="3167"/>
                  <a:pt x="885" y="3056"/>
                </a:cubicBezTo>
                <a:cubicBezTo>
                  <a:pt x="885" y="2840"/>
                  <a:pt x="622" y="2816"/>
                  <a:pt x="622" y="2354"/>
                </a:cubicBezTo>
                <a:cubicBezTo>
                  <a:pt x="622" y="2154"/>
                  <a:pt x="662" y="1978"/>
                  <a:pt x="726" y="1771"/>
                </a:cubicBezTo>
                <a:cubicBezTo>
                  <a:pt x="1029" y="782"/>
                  <a:pt x="1963" y="318"/>
                  <a:pt x="2880" y="311"/>
                </a:cubicBezTo>
                <a:cubicBezTo>
                  <a:pt x="3306" y="308"/>
                  <a:pt x="3680" y="435"/>
                  <a:pt x="3694" y="447"/>
                </a:cubicBezTo>
                <a:cubicBezTo>
                  <a:pt x="3696" y="449"/>
                  <a:pt x="3699" y="455"/>
                  <a:pt x="3696" y="461"/>
                </a:cubicBezTo>
                <a:cubicBezTo>
                  <a:pt x="3693" y="468"/>
                  <a:pt x="3688" y="469"/>
                  <a:pt x="3686" y="469"/>
                </a:cubicBezTo>
                <a:cubicBezTo>
                  <a:pt x="3681" y="468"/>
                  <a:pt x="3439" y="367"/>
                  <a:pt x="3071" y="367"/>
                </a:cubicBezTo>
                <a:cubicBezTo>
                  <a:pt x="2728" y="367"/>
                  <a:pt x="2513" y="510"/>
                  <a:pt x="2513" y="694"/>
                </a:cubicBezTo>
                <a:cubicBezTo>
                  <a:pt x="2513" y="798"/>
                  <a:pt x="2593" y="885"/>
                  <a:pt x="2712" y="885"/>
                </a:cubicBezTo>
                <a:cubicBezTo>
                  <a:pt x="2928" y="885"/>
                  <a:pt x="2944" y="622"/>
                  <a:pt x="3406" y="622"/>
                </a:cubicBezTo>
                <a:cubicBezTo>
                  <a:pt x="3606" y="622"/>
                  <a:pt x="3781" y="662"/>
                  <a:pt x="3989" y="726"/>
                </a:cubicBezTo>
                <a:cubicBezTo>
                  <a:pt x="4986" y="1029"/>
                  <a:pt x="5440" y="1971"/>
                  <a:pt x="5449" y="2880"/>
                </a:cubicBezTo>
                <a:cubicBezTo>
                  <a:pt x="5453" y="3346"/>
                  <a:pt x="5322" y="3699"/>
                  <a:pt x="5321" y="3701"/>
                </a:cubicBezTo>
                <a:close/>
                <a:moveTo>
                  <a:pt x="2880" y="136"/>
                </a:moveTo>
                <a:cubicBezTo>
                  <a:pt x="1364" y="136"/>
                  <a:pt x="135" y="1364"/>
                  <a:pt x="135" y="2880"/>
                </a:cubicBezTo>
                <a:cubicBezTo>
                  <a:pt x="135" y="4396"/>
                  <a:pt x="1364" y="5624"/>
                  <a:pt x="2880" y="5624"/>
                </a:cubicBezTo>
                <a:cubicBezTo>
                  <a:pt x="4396" y="5624"/>
                  <a:pt x="5624" y="4396"/>
                  <a:pt x="5624" y="2880"/>
                </a:cubicBezTo>
                <a:cubicBezTo>
                  <a:pt x="5624" y="1372"/>
                  <a:pt x="4396" y="136"/>
                  <a:pt x="2880" y="136"/>
                </a:cubicBezTo>
                <a:close/>
                <a:moveTo>
                  <a:pt x="2880" y="5760"/>
                </a:moveTo>
                <a:cubicBezTo>
                  <a:pt x="1292" y="5760"/>
                  <a:pt x="0" y="4476"/>
                  <a:pt x="0" y="2880"/>
                </a:cubicBezTo>
                <a:cubicBezTo>
                  <a:pt x="0" y="1292"/>
                  <a:pt x="1292" y="0"/>
                  <a:pt x="2880" y="0"/>
                </a:cubicBezTo>
                <a:cubicBezTo>
                  <a:pt x="4467" y="0"/>
                  <a:pt x="5760" y="1292"/>
                  <a:pt x="5760" y="2880"/>
                </a:cubicBezTo>
                <a:cubicBezTo>
                  <a:pt x="5760" y="4476"/>
                  <a:pt x="4467" y="5760"/>
                  <a:pt x="2880" y="5760"/>
                </a:cubicBezTo>
                <a:close/>
              </a:path>
            </a:pathLst>
          </a:custGeom>
          <a:solidFill>
            <a:srgbClr val="005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583738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300" y="1649413"/>
            <a:ext cx="9261449" cy="664797"/>
          </a:xfrm>
        </p:spPr>
        <p:txBody>
          <a:bodyPr wrap="square" anchor="t" anchorCtr="0">
            <a:spAutoFit/>
          </a:bodyPr>
          <a:lstStyle>
            <a:lvl1pPr>
              <a:lnSpc>
                <a:spcPct val="90000"/>
              </a:lnSpc>
              <a:defRPr sz="4800">
                <a:solidFill>
                  <a:schemeClr val="bg1"/>
                </a:solidFill>
              </a:defRPr>
            </a:lvl1pPr>
          </a:lstStyle>
          <a:p>
            <a:r>
              <a:rPr lang="en-US" dirty="0"/>
              <a:t>Section Title</a:t>
            </a:r>
            <a:endParaRPr lang="en-CA" dirty="0"/>
          </a:p>
        </p:txBody>
      </p:sp>
    </p:spTree>
    <p:extLst>
      <p:ext uri="{BB962C8B-B14F-4D97-AF65-F5344CB8AC3E}">
        <p14:creationId xmlns:p14="http://schemas.microsoft.com/office/powerpoint/2010/main" val="2541890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495300" y="1645920"/>
            <a:ext cx="9267952" cy="664797"/>
          </a:xfrm>
        </p:spPr>
        <p:txBody>
          <a:bodyPr wrap="square" anchor="ctr" anchorCtr="0">
            <a:spAutoFit/>
          </a:bodyPr>
          <a:lstStyle>
            <a:lvl1pPr>
              <a:lnSpc>
                <a:spcPct val="90000"/>
              </a:lnSpc>
              <a:defRPr sz="4800">
                <a:solidFill>
                  <a:schemeClr val="bg1"/>
                </a:solidFill>
              </a:defRPr>
            </a:lvl1pPr>
          </a:lstStyle>
          <a:p>
            <a:r>
              <a:rPr lang="en-US" dirty="0"/>
              <a:t>Section Title Dark Image Layout</a:t>
            </a:r>
            <a:endParaRPr lang="en-CA" dirty="0"/>
          </a:p>
        </p:txBody>
      </p:sp>
    </p:spTree>
    <p:extLst>
      <p:ext uri="{BB962C8B-B14F-4D97-AF65-F5344CB8AC3E}">
        <p14:creationId xmlns:p14="http://schemas.microsoft.com/office/powerpoint/2010/main" val="34264452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495300" y="1536192"/>
            <a:ext cx="9277096" cy="914400"/>
          </a:xfrm>
        </p:spPr>
        <p:txBody>
          <a:bodyPr anchor="ctr" anchorCtr="0">
            <a:noAutofit/>
          </a:bodyPr>
          <a:lstStyle>
            <a:lvl1pPr>
              <a:lnSpc>
                <a:spcPct val="90000"/>
              </a:lnSpc>
              <a:defRPr sz="48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35339521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 No Rule">
    <p:spTree>
      <p:nvGrpSpPr>
        <p:cNvPr id="1" name=""/>
        <p:cNvGrpSpPr/>
        <p:nvPr/>
      </p:nvGrpSpPr>
      <p:grpSpPr>
        <a:xfrm>
          <a:off x="0" y="0"/>
          <a:ext cx="0" cy="0"/>
          <a:chOff x="0" y="0"/>
          <a:chExt cx="0" cy="0"/>
        </a:xfrm>
      </p:grpSpPr>
      <p:sp>
        <p:nvSpPr>
          <p:cNvPr id="19" name="Content Placeholder 6"/>
          <p:cNvSpPr>
            <a:spLocks noGrp="1"/>
          </p:cNvSpPr>
          <p:nvPr>
            <p:ph sz="quarter" idx="13"/>
          </p:nvPr>
        </p:nvSpPr>
        <p:spPr>
          <a:xfrm>
            <a:off x="495300" y="1602754"/>
            <a:ext cx="11201400" cy="4324756"/>
          </a:xfrm>
        </p:spPr>
        <p:txBody>
          <a:bodyPr/>
          <a:lstStyle>
            <a:lvl1pPr>
              <a:defRPr>
                <a:solidFill>
                  <a:schemeClr val="accent3"/>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8" name="Slide Number Placeholder 5"/>
          <p:cNvSpPr>
            <a:spLocks noGrp="1"/>
          </p:cNvSpPr>
          <p:nvPr>
            <p:ph type="sldNum" sz="quarter" idx="4"/>
          </p:nvPr>
        </p:nvSpPr>
        <p:spPr>
          <a:xfrm>
            <a:off x="11371032" y="6432462"/>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CA" smtClean="0"/>
              <a:pPr/>
              <a:t>‹#›</a:t>
            </a:fld>
            <a:endParaRPr lang="en-CA" dirty="0"/>
          </a:p>
        </p:txBody>
      </p:sp>
      <p:sp>
        <p:nvSpPr>
          <p:cNvPr id="9" name="Date Placeholder 3"/>
          <p:cNvSpPr>
            <a:spLocks noGrp="1"/>
          </p:cNvSpPr>
          <p:nvPr>
            <p:ph type="dt" sz="half" idx="2"/>
          </p:nvPr>
        </p:nvSpPr>
        <p:spPr>
          <a:xfrm>
            <a:off x="4598624" y="6432462"/>
            <a:ext cx="1671207" cy="182880"/>
          </a:xfrm>
          <a:prstGeom prst="rect">
            <a:avLst/>
          </a:prstGeom>
        </p:spPr>
        <p:txBody>
          <a:bodyPr vert="horz" lIns="0" tIns="0" rIns="0" bIns="0" rtlCol="0" anchor="t" anchorCtr="0">
            <a:noAutofit/>
          </a:bodyPr>
          <a:lstStyle>
            <a:lvl1pPr algn="l">
              <a:defRPr sz="1000">
                <a:solidFill>
                  <a:schemeClr val="accent2"/>
                </a:solidFill>
              </a:defRPr>
            </a:lvl1pPr>
          </a:lstStyle>
          <a:p>
            <a:fld id="{D6327212-2BF4-4EA9-9394-42B99F9E86ED}" type="datetime4">
              <a:rPr lang="en-US" smtClean="0"/>
              <a:t>October 18, 2021</a:t>
            </a:fld>
            <a:endParaRPr lang="en-CA" dirty="0"/>
          </a:p>
        </p:txBody>
      </p:sp>
      <p:sp>
        <p:nvSpPr>
          <p:cNvPr id="10" name="Footer Placeholder 7"/>
          <p:cNvSpPr>
            <a:spLocks noGrp="1"/>
          </p:cNvSpPr>
          <p:nvPr>
            <p:ph type="ftr" sz="quarter" idx="3"/>
          </p:nvPr>
        </p:nvSpPr>
        <p:spPr>
          <a:xfrm>
            <a:off x="1269205" y="6432462"/>
            <a:ext cx="3229587" cy="182880"/>
          </a:xfrm>
          <a:prstGeom prst="rect">
            <a:avLst/>
          </a:prstGeom>
        </p:spPr>
        <p:txBody>
          <a:bodyPr vert="horz" lIns="0" tIns="0" rIns="0" bIns="0" rtlCol="0" anchor="t" anchorCtr="0"/>
          <a:lstStyle>
            <a:lvl1pPr algn="r">
              <a:defRPr sz="1000">
                <a:solidFill>
                  <a:schemeClr val="tx1"/>
                </a:solidFill>
              </a:defRPr>
            </a:lvl1pPr>
          </a:lstStyle>
          <a:p>
            <a:endParaRPr lang="en-US" dirty="0"/>
          </a:p>
        </p:txBody>
      </p:sp>
    </p:spTree>
    <p:extLst>
      <p:ext uri="{BB962C8B-B14F-4D97-AF65-F5344CB8AC3E}">
        <p14:creationId xmlns:p14="http://schemas.microsoft.com/office/powerpoint/2010/main" val="42914179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495300" y="509833"/>
            <a:ext cx="11201400" cy="914400"/>
          </a:xfrm>
          <a:prstGeom prst="rect">
            <a:avLst/>
          </a:prstGeom>
        </p:spPr>
        <p:txBody>
          <a:bodyPr vert="horz" lIns="0" tIns="0" rIns="0" bIns="0" rtlCol="0" anchor="t" anchorCtr="0">
            <a:noAutofit/>
          </a:bodyPr>
          <a:lstStyle>
            <a:lvl1pPr>
              <a:defRPr/>
            </a:lvl1pPr>
          </a:lstStyle>
          <a:p>
            <a:r>
              <a:rPr lang="en-US" dirty="0"/>
              <a:t>Click to edit </a:t>
            </a:r>
            <a:r>
              <a:rPr lang="en-US"/>
              <a:t>Master </a:t>
            </a:r>
            <a:br>
              <a:rPr lang="en-US"/>
            </a:br>
            <a:r>
              <a:rPr lang="en-US"/>
              <a:t>title </a:t>
            </a:r>
            <a:r>
              <a:rPr lang="en-US" dirty="0"/>
              <a:t>style</a:t>
            </a:r>
            <a:endParaRPr lang="en-CA" dirty="0"/>
          </a:p>
        </p:txBody>
      </p:sp>
      <p:sp>
        <p:nvSpPr>
          <p:cNvPr id="7" name="Content Placeholder 6"/>
          <p:cNvSpPr>
            <a:spLocks noGrp="1"/>
          </p:cNvSpPr>
          <p:nvPr>
            <p:ph sz="quarter" idx="13"/>
          </p:nvPr>
        </p:nvSpPr>
        <p:spPr>
          <a:xfrm>
            <a:off x="495300" y="1793081"/>
            <a:ext cx="11201400" cy="4290059"/>
          </a:xfrm>
        </p:spPr>
        <p:txBody>
          <a:bodyPr/>
          <a:lstStyle>
            <a:lvl4pPr marL="682625" indent="-173038">
              <a:defRPr/>
            </a:lvl4pPr>
            <a:lvl5pPr marL="914400" indent="-173038">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userDrawn="1"/>
        </p:nvCxnSpPr>
        <p:spPr>
          <a:xfrm flipV="1">
            <a:off x="495300" y="1655064"/>
            <a:ext cx="11201400" cy="97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11371032" y="6432462"/>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CA" smtClean="0"/>
              <a:pPr/>
              <a:t>‹#›</a:t>
            </a:fld>
            <a:endParaRPr lang="en-CA" dirty="0"/>
          </a:p>
        </p:txBody>
      </p:sp>
      <p:sp>
        <p:nvSpPr>
          <p:cNvPr id="13" name="Date Placeholder 3"/>
          <p:cNvSpPr>
            <a:spLocks noGrp="1"/>
          </p:cNvSpPr>
          <p:nvPr>
            <p:ph type="dt" sz="half" idx="2"/>
          </p:nvPr>
        </p:nvSpPr>
        <p:spPr>
          <a:xfrm>
            <a:off x="4598624" y="6432462"/>
            <a:ext cx="1671207" cy="182880"/>
          </a:xfrm>
          <a:prstGeom prst="rect">
            <a:avLst/>
          </a:prstGeom>
        </p:spPr>
        <p:txBody>
          <a:bodyPr vert="horz" lIns="0" tIns="0" rIns="0" bIns="0" rtlCol="0" anchor="t" anchorCtr="0">
            <a:noAutofit/>
          </a:bodyPr>
          <a:lstStyle>
            <a:lvl1pPr algn="l">
              <a:defRPr sz="1000">
                <a:solidFill>
                  <a:schemeClr val="accent2"/>
                </a:solidFill>
              </a:defRPr>
            </a:lvl1pPr>
          </a:lstStyle>
          <a:p>
            <a:fld id="{B6BEE1D4-C1D6-40CD-989B-ECB5D76590E0}" type="datetime4">
              <a:rPr lang="en-US" smtClean="0"/>
              <a:t>October 18, 2021</a:t>
            </a:fld>
            <a:endParaRPr lang="en-CA" dirty="0"/>
          </a:p>
        </p:txBody>
      </p:sp>
      <p:sp>
        <p:nvSpPr>
          <p:cNvPr id="14" name="Footer Placeholder 7"/>
          <p:cNvSpPr>
            <a:spLocks noGrp="1"/>
          </p:cNvSpPr>
          <p:nvPr>
            <p:ph type="ftr" sz="quarter" idx="3"/>
          </p:nvPr>
        </p:nvSpPr>
        <p:spPr>
          <a:xfrm>
            <a:off x="1269205" y="6432462"/>
            <a:ext cx="3229587" cy="182880"/>
          </a:xfrm>
          <a:prstGeom prst="rect">
            <a:avLst/>
          </a:prstGeom>
        </p:spPr>
        <p:txBody>
          <a:bodyPr vert="horz" lIns="0" tIns="0" rIns="0" bIns="0" rtlCol="0" anchor="t" anchorCtr="0"/>
          <a:lstStyle>
            <a:lvl1pPr algn="r">
              <a:defRPr sz="1000">
                <a:solidFill>
                  <a:schemeClr val="tx1"/>
                </a:solidFill>
              </a:defRPr>
            </a:lvl1pPr>
          </a:lstStyle>
          <a:p>
            <a:endParaRPr lang="en-US" dirty="0"/>
          </a:p>
        </p:txBody>
      </p:sp>
    </p:spTree>
    <p:extLst>
      <p:ext uri="{BB962C8B-B14F-4D97-AF65-F5344CB8AC3E}">
        <p14:creationId xmlns:p14="http://schemas.microsoft.com/office/powerpoint/2010/main" val="21275766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1649413"/>
            <a:ext cx="9000934" cy="2852737"/>
          </a:xfrm>
        </p:spPr>
        <p:txBody>
          <a:bodyPr anchor="t" anchorCtr="0">
            <a:noAutofit/>
          </a:bodyPr>
          <a:lstStyle>
            <a:lvl1pPr>
              <a:lnSpc>
                <a:spcPct val="90000"/>
              </a:lnSpc>
              <a:defRPr sz="4800">
                <a:solidFill>
                  <a:schemeClr val="bg1"/>
                </a:solidFill>
              </a:defRPr>
            </a:lvl1pPr>
          </a:lstStyle>
          <a:p>
            <a:r>
              <a:rPr lang="en-US" dirty="0"/>
              <a:t>Section Divider</a:t>
            </a:r>
            <a:endParaRPr lang="en-CA"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0E6A5BD-C011-4A45-AA3A-201790FB7F2B}" type="slidenum">
              <a:rPr lang="en-CA" smtClean="0"/>
              <a:pPr/>
              <a:t>‹#›</a:t>
            </a:fld>
            <a:endParaRPr lang="en-CA"/>
          </a:p>
        </p:txBody>
      </p:sp>
      <p:cxnSp>
        <p:nvCxnSpPr>
          <p:cNvPr id="7" name="Straight Connector 6"/>
          <p:cNvCxnSpPr/>
          <p:nvPr userDrawn="1"/>
        </p:nvCxnSpPr>
        <p:spPr>
          <a:xfrm>
            <a:off x="1627188" y="6410996"/>
            <a:ext cx="1011574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4379976" y="6475913"/>
            <a:ext cx="5157216" cy="184666"/>
          </a:xfrm>
          <a:prstGeom prst="rect">
            <a:avLst/>
          </a:prstGeom>
          <a:noFill/>
        </p:spPr>
        <p:txBody>
          <a:bodyPr wrap="square" lIns="0" tIns="0" rIns="0" bIns="0" rtlCol="0">
            <a:spAutoFit/>
          </a:bodyPr>
          <a:lstStyle/>
          <a:p>
            <a:r>
              <a:rPr lang="en-CA" sz="1200">
                <a:solidFill>
                  <a:schemeClr val="bg1"/>
                </a:solidFill>
              </a:rPr>
              <a:t>© 2021 General Electric Company. </a:t>
            </a:r>
            <a:endParaRPr lang="en-CA" sz="1200" dirty="0">
              <a:solidFill>
                <a:schemeClr val="bg1"/>
              </a:solidFill>
            </a:endParaRPr>
          </a:p>
        </p:txBody>
      </p:sp>
      <p:pic>
        <p:nvPicPr>
          <p:cNvPr id="10" name="Picture 3" descr="I:\Dockets\1421 SmallStuff GE PPT\Graphics\GEWhite.e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28" y="6345936"/>
            <a:ext cx="384048" cy="384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8251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Title 3"/>
          <p:cNvSpPr>
            <a:spLocks noGrp="1"/>
          </p:cNvSpPr>
          <p:nvPr>
            <p:ph type="title"/>
          </p:nvPr>
        </p:nvSpPr>
        <p:spPr>
          <a:xfrm>
            <a:off x="495300" y="509833"/>
            <a:ext cx="11201400" cy="914400"/>
          </a:xfrm>
        </p:spPr>
        <p:txBody>
          <a:bodyPr/>
          <a:lstStyle/>
          <a:p>
            <a:r>
              <a:rPr lang="en-US"/>
              <a:t>Click to edit Master title style</a:t>
            </a:r>
            <a:endParaRPr lang="en-US" dirty="0"/>
          </a:p>
        </p:txBody>
      </p:sp>
      <p:sp>
        <p:nvSpPr>
          <p:cNvPr id="14" name="Slide Number Placeholder 5"/>
          <p:cNvSpPr>
            <a:spLocks noGrp="1"/>
          </p:cNvSpPr>
          <p:nvPr>
            <p:ph type="sldNum" sz="quarter" idx="4"/>
          </p:nvPr>
        </p:nvSpPr>
        <p:spPr>
          <a:xfrm>
            <a:off x="11371032" y="6432462"/>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CA" smtClean="0"/>
              <a:pPr/>
              <a:t>‹#›</a:t>
            </a:fld>
            <a:endParaRPr lang="en-CA" dirty="0"/>
          </a:p>
        </p:txBody>
      </p:sp>
      <p:sp>
        <p:nvSpPr>
          <p:cNvPr id="24" name="Content Placeholder 9"/>
          <p:cNvSpPr>
            <a:spLocks noGrp="1"/>
          </p:cNvSpPr>
          <p:nvPr>
            <p:ph sz="quarter" idx="13"/>
          </p:nvPr>
        </p:nvSpPr>
        <p:spPr>
          <a:xfrm>
            <a:off x="495300" y="2393244"/>
            <a:ext cx="5220880" cy="367837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25" name="Content Placeholder 11"/>
          <p:cNvSpPr>
            <a:spLocks noGrp="1"/>
          </p:cNvSpPr>
          <p:nvPr>
            <p:ph sz="quarter" idx="14"/>
          </p:nvPr>
        </p:nvSpPr>
        <p:spPr>
          <a:xfrm>
            <a:off x="6475820" y="2393244"/>
            <a:ext cx="5220880" cy="367837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26" name="Straight Connector 25"/>
          <p:cNvCxnSpPr>
            <a:cxnSpLocks/>
          </p:cNvCxnSpPr>
          <p:nvPr userDrawn="1"/>
        </p:nvCxnSpPr>
        <p:spPr>
          <a:xfrm>
            <a:off x="495300" y="1974057"/>
            <a:ext cx="52208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cxnSpLocks/>
          </p:cNvCxnSpPr>
          <p:nvPr userDrawn="1"/>
        </p:nvCxnSpPr>
        <p:spPr>
          <a:xfrm>
            <a:off x="6475820" y="1974057"/>
            <a:ext cx="52208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8" name="Text Placeholder 18"/>
          <p:cNvSpPr>
            <a:spLocks noGrp="1"/>
          </p:cNvSpPr>
          <p:nvPr>
            <p:ph type="body" sz="quarter" idx="15"/>
          </p:nvPr>
        </p:nvSpPr>
        <p:spPr>
          <a:xfrm>
            <a:off x="495300" y="1486038"/>
            <a:ext cx="5220880" cy="365760"/>
          </a:xfrm>
        </p:spPr>
        <p:txBody>
          <a:bodyPr vert="horz" lIns="0" tIns="0" rIns="0" bIns="0" rtlCol="0" anchor="b">
            <a:noAutofit/>
          </a:bodyPr>
          <a:lstStyle>
            <a:lvl1pPr algn="l">
              <a:defRPr lang="en-US" sz="1600" b="1" dirty="0"/>
            </a:lvl1pPr>
          </a:lstStyle>
          <a:p>
            <a:pPr lvl="0">
              <a:lnSpc>
                <a:spcPct val="90000"/>
              </a:lnSpc>
              <a:spcBef>
                <a:spcPts val="0"/>
              </a:spcBef>
            </a:pPr>
            <a:r>
              <a:rPr lang="en-US"/>
              <a:t>Edit Master text styles</a:t>
            </a:r>
          </a:p>
        </p:txBody>
      </p:sp>
      <p:sp>
        <p:nvSpPr>
          <p:cNvPr id="29" name="Text Placeholder 18"/>
          <p:cNvSpPr>
            <a:spLocks noGrp="1"/>
          </p:cNvSpPr>
          <p:nvPr>
            <p:ph type="body" sz="quarter" idx="16"/>
          </p:nvPr>
        </p:nvSpPr>
        <p:spPr>
          <a:xfrm>
            <a:off x="6475820" y="1486038"/>
            <a:ext cx="5220880" cy="365760"/>
          </a:xfrm>
        </p:spPr>
        <p:txBody>
          <a:bodyPr vert="horz" lIns="0" tIns="0" rIns="0" bIns="0" rtlCol="0" anchor="b">
            <a:noAutofit/>
          </a:bodyPr>
          <a:lstStyle>
            <a:lvl1pPr>
              <a:defRPr lang="en-US" sz="1600" b="1" dirty="0"/>
            </a:lvl1pPr>
          </a:lstStyle>
          <a:p>
            <a:pPr lvl="0">
              <a:lnSpc>
                <a:spcPct val="90000"/>
              </a:lnSpc>
              <a:spcBef>
                <a:spcPts val="0"/>
              </a:spcBef>
            </a:pPr>
            <a:r>
              <a:rPr lang="en-US"/>
              <a:t>Edit Master text styles</a:t>
            </a:r>
          </a:p>
        </p:txBody>
      </p:sp>
      <p:sp>
        <p:nvSpPr>
          <p:cNvPr id="12" name="Date Placeholder 3"/>
          <p:cNvSpPr>
            <a:spLocks noGrp="1"/>
          </p:cNvSpPr>
          <p:nvPr>
            <p:ph type="dt" sz="half" idx="2"/>
          </p:nvPr>
        </p:nvSpPr>
        <p:spPr>
          <a:xfrm>
            <a:off x="4598624" y="6432462"/>
            <a:ext cx="1671207" cy="182880"/>
          </a:xfrm>
          <a:prstGeom prst="rect">
            <a:avLst/>
          </a:prstGeom>
        </p:spPr>
        <p:txBody>
          <a:bodyPr vert="horz" lIns="0" tIns="0" rIns="0" bIns="0" rtlCol="0" anchor="t" anchorCtr="0">
            <a:noAutofit/>
          </a:bodyPr>
          <a:lstStyle>
            <a:lvl1pPr algn="l">
              <a:defRPr sz="1000">
                <a:solidFill>
                  <a:schemeClr val="accent2"/>
                </a:solidFill>
              </a:defRPr>
            </a:lvl1pPr>
          </a:lstStyle>
          <a:p>
            <a:fld id="{5F0F81E5-1387-4044-A7D7-C21E3DB3BA4E}" type="datetime4">
              <a:rPr lang="en-US" smtClean="0"/>
              <a:t>October 18, 2021</a:t>
            </a:fld>
            <a:endParaRPr lang="en-CA" dirty="0"/>
          </a:p>
        </p:txBody>
      </p:sp>
      <p:sp>
        <p:nvSpPr>
          <p:cNvPr id="16" name="Footer Placeholder 7"/>
          <p:cNvSpPr>
            <a:spLocks noGrp="1"/>
          </p:cNvSpPr>
          <p:nvPr>
            <p:ph type="ftr" sz="quarter" idx="3"/>
          </p:nvPr>
        </p:nvSpPr>
        <p:spPr>
          <a:xfrm>
            <a:off x="1269205" y="6432462"/>
            <a:ext cx="3229587" cy="182880"/>
          </a:xfrm>
          <a:prstGeom prst="rect">
            <a:avLst/>
          </a:prstGeom>
        </p:spPr>
        <p:txBody>
          <a:bodyPr vert="horz" lIns="0" tIns="0" rIns="0" bIns="0" rtlCol="0" anchor="t" anchorCtr="0"/>
          <a:lstStyle>
            <a:lvl1pPr algn="r">
              <a:defRPr sz="1000">
                <a:solidFill>
                  <a:schemeClr val="tx1"/>
                </a:solidFill>
              </a:defRPr>
            </a:lvl1pPr>
          </a:lstStyle>
          <a:p>
            <a:endParaRPr lang="en-US" dirty="0"/>
          </a:p>
        </p:txBody>
      </p:sp>
    </p:spTree>
    <p:extLst>
      <p:ext uri="{BB962C8B-B14F-4D97-AF65-F5344CB8AC3E}">
        <p14:creationId xmlns:p14="http://schemas.microsoft.com/office/powerpoint/2010/main" val="42449557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300" y="509833"/>
            <a:ext cx="11201400" cy="914400"/>
          </a:xfrm>
        </p:spPr>
        <p:txBody>
          <a:bodyPr/>
          <a:lstStyle>
            <a:lvl1pPr>
              <a:defRPr/>
            </a:lvl1pPr>
          </a:lstStyle>
          <a:p>
            <a:r>
              <a:rPr lang="en-US" dirty="0"/>
              <a:t>Two Content Layout</a:t>
            </a:r>
            <a:endParaRPr lang="en-CA" dirty="0"/>
          </a:p>
        </p:txBody>
      </p:sp>
      <p:sp>
        <p:nvSpPr>
          <p:cNvPr id="10" name="Content Placeholder 9"/>
          <p:cNvSpPr>
            <a:spLocks noGrp="1"/>
          </p:cNvSpPr>
          <p:nvPr>
            <p:ph sz="quarter" idx="13"/>
          </p:nvPr>
        </p:nvSpPr>
        <p:spPr>
          <a:xfrm>
            <a:off x="495300" y="2049116"/>
            <a:ext cx="5220880" cy="40468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2" name="Content Placeholder 11"/>
          <p:cNvSpPr>
            <a:spLocks noGrp="1"/>
          </p:cNvSpPr>
          <p:nvPr>
            <p:ph sz="quarter" idx="14"/>
          </p:nvPr>
        </p:nvSpPr>
        <p:spPr>
          <a:xfrm>
            <a:off x="6475820" y="2049116"/>
            <a:ext cx="5220880" cy="4046883"/>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7" name="Straight Connector 16"/>
          <p:cNvCxnSpPr>
            <a:cxnSpLocks/>
          </p:cNvCxnSpPr>
          <p:nvPr userDrawn="1"/>
        </p:nvCxnSpPr>
        <p:spPr>
          <a:xfrm>
            <a:off x="495300" y="1918336"/>
            <a:ext cx="52208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cxnSpLocks/>
          </p:cNvCxnSpPr>
          <p:nvPr userDrawn="1"/>
        </p:nvCxnSpPr>
        <p:spPr>
          <a:xfrm>
            <a:off x="6475820" y="1918336"/>
            <a:ext cx="52208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5"/>
          </p:nvPr>
        </p:nvSpPr>
        <p:spPr>
          <a:xfrm>
            <a:off x="495300" y="1486038"/>
            <a:ext cx="5220880" cy="365760"/>
          </a:xfrm>
        </p:spPr>
        <p:txBody>
          <a:bodyPr vert="horz" lIns="0" tIns="0" rIns="0" bIns="0" rtlCol="0" anchor="b">
            <a:noAutofit/>
          </a:bodyPr>
          <a:lstStyle>
            <a:lvl1pPr algn="l">
              <a:defRPr lang="en-US" sz="1600" b="1" dirty="0">
                <a:solidFill>
                  <a:schemeClr val="accent3"/>
                </a:solidFill>
              </a:defRPr>
            </a:lvl1pPr>
          </a:lstStyle>
          <a:p>
            <a:pPr lvl="0">
              <a:lnSpc>
                <a:spcPct val="90000"/>
              </a:lnSpc>
              <a:spcBef>
                <a:spcPts val="0"/>
              </a:spcBef>
            </a:pPr>
            <a:r>
              <a:rPr lang="en-US"/>
              <a:t>Edit Master text styles</a:t>
            </a:r>
          </a:p>
        </p:txBody>
      </p:sp>
      <p:sp>
        <p:nvSpPr>
          <p:cNvPr id="22" name="Text Placeholder 18"/>
          <p:cNvSpPr>
            <a:spLocks noGrp="1"/>
          </p:cNvSpPr>
          <p:nvPr>
            <p:ph type="body" sz="quarter" idx="16"/>
          </p:nvPr>
        </p:nvSpPr>
        <p:spPr>
          <a:xfrm>
            <a:off x="6475820" y="1486038"/>
            <a:ext cx="5220880" cy="365760"/>
          </a:xfrm>
        </p:spPr>
        <p:txBody>
          <a:bodyPr vert="horz" lIns="0" tIns="0" rIns="0" bIns="0" rtlCol="0" anchor="b">
            <a:noAutofit/>
          </a:bodyPr>
          <a:lstStyle>
            <a:lvl1pPr>
              <a:defRPr lang="en-US" sz="1600" b="1" dirty="0">
                <a:solidFill>
                  <a:schemeClr val="accent3"/>
                </a:solidFill>
              </a:defRPr>
            </a:lvl1pPr>
          </a:lstStyle>
          <a:p>
            <a:pPr lvl="0">
              <a:lnSpc>
                <a:spcPct val="90000"/>
              </a:lnSpc>
              <a:spcBef>
                <a:spcPts val="0"/>
              </a:spcBef>
            </a:pPr>
            <a:r>
              <a:rPr lang="en-US"/>
              <a:t>Edit Master text styles</a:t>
            </a:r>
          </a:p>
        </p:txBody>
      </p:sp>
      <p:sp>
        <p:nvSpPr>
          <p:cNvPr id="15" name="Slide Number Placeholder 5"/>
          <p:cNvSpPr>
            <a:spLocks noGrp="1"/>
          </p:cNvSpPr>
          <p:nvPr>
            <p:ph type="sldNum" sz="quarter" idx="4"/>
          </p:nvPr>
        </p:nvSpPr>
        <p:spPr>
          <a:xfrm>
            <a:off x="11371032" y="6432462"/>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CA" smtClean="0"/>
              <a:pPr/>
              <a:t>‹#›</a:t>
            </a:fld>
            <a:endParaRPr lang="en-CA" dirty="0"/>
          </a:p>
        </p:txBody>
      </p:sp>
      <p:sp>
        <p:nvSpPr>
          <p:cNvPr id="14" name="Date Placeholder 3"/>
          <p:cNvSpPr>
            <a:spLocks noGrp="1"/>
          </p:cNvSpPr>
          <p:nvPr>
            <p:ph type="dt" sz="half" idx="2"/>
          </p:nvPr>
        </p:nvSpPr>
        <p:spPr>
          <a:xfrm>
            <a:off x="4598624" y="6432462"/>
            <a:ext cx="1671207" cy="182880"/>
          </a:xfrm>
          <a:prstGeom prst="rect">
            <a:avLst/>
          </a:prstGeom>
        </p:spPr>
        <p:txBody>
          <a:bodyPr vert="horz" lIns="0" tIns="0" rIns="0" bIns="0" rtlCol="0" anchor="t" anchorCtr="0">
            <a:noAutofit/>
          </a:bodyPr>
          <a:lstStyle>
            <a:lvl1pPr algn="l">
              <a:defRPr sz="1000">
                <a:solidFill>
                  <a:schemeClr val="accent2"/>
                </a:solidFill>
              </a:defRPr>
            </a:lvl1pPr>
          </a:lstStyle>
          <a:p>
            <a:fld id="{5FEE08DC-3BF2-43FC-9047-4710940BACC6}" type="datetime4">
              <a:rPr lang="en-US" smtClean="0"/>
              <a:t>October 18, 2021</a:t>
            </a:fld>
            <a:endParaRPr lang="en-CA" dirty="0"/>
          </a:p>
        </p:txBody>
      </p:sp>
      <p:sp>
        <p:nvSpPr>
          <p:cNvPr id="20" name="Footer Placeholder 7"/>
          <p:cNvSpPr>
            <a:spLocks noGrp="1"/>
          </p:cNvSpPr>
          <p:nvPr>
            <p:ph type="ftr" sz="quarter" idx="3"/>
          </p:nvPr>
        </p:nvSpPr>
        <p:spPr>
          <a:xfrm>
            <a:off x="1269205" y="6432462"/>
            <a:ext cx="3229587" cy="182880"/>
          </a:xfrm>
          <a:prstGeom prst="rect">
            <a:avLst/>
          </a:prstGeom>
        </p:spPr>
        <p:txBody>
          <a:bodyPr vert="horz" lIns="0" tIns="0" rIns="0" bIns="0" rtlCol="0" anchor="t" anchorCtr="0"/>
          <a:lstStyle>
            <a:lvl1pPr algn="r">
              <a:defRPr sz="1000">
                <a:solidFill>
                  <a:schemeClr val="tx1"/>
                </a:solidFill>
              </a:defRPr>
            </a:lvl1pPr>
          </a:lstStyle>
          <a:p>
            <a:endParaRPr lang="en-US" dirty="0"/>
          </a:p>
        </p:txBody>
      </p:sp>
    </p:spTree>
    <p:extLst>
      <p:ext uri="{BB962C8B-B14F-4D97-AF65-F5344CB8AC3E}">
        <p14:creationId xmlns:p14="http://schemas.microsoft.com/office/powerpoint/2010/main" val="33279604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95299" y="1487851"/>
            <a:ext cx="3377601" cy="365760"/>
          </a:xfrm>
        </p:spPr>
        <p:txBody>
          <a:bodyPr vert="horz" lIns="0" tIns="0" rIns="0" bIns="0" rtlCol="0" anchor="b">
            <a:noAutofit/>
          </a:bodyPr>
          <a:lstStyle>
            <a:lvl1pPr>
              <a:defRPr lang="en-US" sz="1600" b="1" dirty="0">
                <a:solidFill>
                  <a:schemeClr val="accent3"/>
                </a:solidFill>
              </a:defRPr>
            </a:lvl1pPr>
          </a:lstStyle>
          <a:p>
            <a:pPr lvl="0">
              <a:lnSpc>
                <a:spcPct val="90000"/>
              </a:lnSpc>
              <a:spcBef>
                <a:spcPts val="0"/>
              </a:spcBef>
            </a:pPr>
            <a:r>
              <a:rPr lang="en-US" dirty="0"/>
              <a:t>Subtitle</a:t>
            </a:r>
          </a:p>
        </p:txBody>
      </p:sp>
      <p:sp>
        <p:nvSpPr>
          <p:cNvPr id="5" name="Text Placeholder 4"/>
          <p:cNvSpPr>
            <a:spLocks noGrp="1"/>
          </p:cNvSpPr>
          <p:nvPr>
            <p:ph type="body" sz="quarter" idx="3" hasCustomPrompt="1"/>
          </p:nvPr>
        </p:nvSpPr>
        <p:spPr>
          <a:xfrm>
            <a:off x="4405334" y="1487851"/>
            <a:ext cx="3382004" cy="365760"/>
          </a:xfrm>
        </p:spPr>
        <p:txBody>
          <a:bodyPr vert="horz" lIns="0" tIns="0" rIns="0" bIns="0" rtlCol="0" anchor="b">
            <a:noAutofit/>
          </a:bodyPr>
          <a:lstStyle>
            <a:lvl1pPr>
              <a:defRPr lang="en-US" sz="1600" b="1" dirty="0">
                <a:solidFill>
                  <a:schemeClr val="accent3"/>
                </a:solidFill>
              </a:defRPr>
            </a:lvl1pPr>
          </a:lstStyle>
          <a:p>
            <a:pPr lvl="0">
              <a:lnSpc>
                <a:spcPct val="90000"/>
              </a:lnSpc>
              <a:spcBef>
                <a:spcPts val="0"/>
              </a:spcBef>
            </a:pPr>
            <a:r>
              <a:rPr lang="en-US" dirty="0"/>
              <a:t>Subtitle</a:t>
            </a:r>
          </a:p>
        </p:txBody>
      </p:sp>
      <p:sp>
        <p:nvSpPr>
          <p:cNvPr id="15" name="Content Placeholder 14"/>
          <p:cNvSpPr>
            <a:spLocks noGrp="1"/>
          </p:cNvSpPr>
          <p:nvPr>
            <p:ph sz="quarter" idx="13"/>
          </p:nvPr>
        </p:nvSpPr>
        <p:spPr>
          <a:xfrm>
            <a:off x="495299" y="2070820"/>
            <a:ext cx="3377601" cy="4012346"/>
          </a:xfrm>
        </p:spPr>
        <p:txBody>
          <a:bodyPr/>
          <a:lstStyle>
            <a:lvl1pPr>
              <a:defRPr sz="2400"/>
            </a:lvl1pPr>
            <a:lvl2pPr marL="210312">
              <a:defRPr sz="2000"/>
            </a:lvl2pPr>
            <a:lvl3pPr marL="429768" indent="-173736">
              <a:defRPr sz="1600"/>
            </a:lvl3pPr>
            <a:lvl4pPr marL="603504" indent="-128016">
              <a:defRPr sz="1400"/>
            </a:lvl4pPr>
            <a:lvl5pPr marL="793750" indent="-173038">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0" name="Text Placeholder 9"/>
          <p:cNvSpPr>
            <a:spLocks noGrp="1"/>
          </p:cNvSpPr>
          <p:nvPr>
            <p:ph type="body" sz="quarter" idx="15" hasCustomPrompt="1"/>
          </p:nvPr>
        </p:nvSpPr>
        <p:spPr>
          <a:xfrm>
            <a:off x="8314696" y="1487851"/>
            <a:ext cx="3382004" cy="365760"/>
          </a:xfrm>
        </p:spPr>
        <p:txBody>
          <a:bodyPr vert="horz" lIns="0" tIns="0" rIns="0" bIns="0" rtlCol="0" anchor="b">
            <a:noAutofit/>
          </a:bodyPr>
          <a:lstStyle>
            <a:lvl1pPr>
              <a:defRPr lang="en-US" sz="1600" b="1" dirty="0">
                <a:solidFill>
                  <a:schemeClr val="accent3"/>
                </a:solidFill>
              </a:defRPr>
            </a:lvl1pPr>
          </a:lstStyle>
          <a:p>
            <a:pPr lvl="0">
              <a:lnSpc>
                <a:spcPct val="90000"/>
              </a:lnSpc>
              <a:spcBef>
                <a:spcPts val="0"/>
              </a:spcBef>
            </a:pPr>
            <a:r>
              <a:rPr lang="en-US" dirty="0"/>
              <a:t>Subtitle</a:t>
            </a:r>
          </a:p>
        </p:txBody>
      </p:sp>
      <p:cxnSp>
        <p:nvCxnSpPr>
          <p:cNvPr id="23" name="Straight Connector 22"/>
          <p:cNvCxnSpPr>
            <a:cxnSpLocks/>
          </p:cNvCxnSpPr>
          <p:nvPr userDrawn="1"/>
        </p:nvCxnSpPr>
        <p:spPr>
          <a:xfrm>
            <a:off x="495300" y="1918336"/>
            <a:ext cx="33832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userDrawn="1"/>
        </p:nvCxnSpPr>
        <p:spPr>
          <a:xfrm>
            <a:off x="4405334" y="1918336"/>
            <a:ext cx="33832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cxnSpLocks/>
          </p:cNvCxnSpPr>
          <p:nvPr userDrawn="1"/>
        </p:nvCxnSpPr>
        <p:spPr>
          <a:xfrm>
            <a:off x="8314696" y="1918336"/>
            <a:ext cx="33832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a:xfrm>
            <a:off x="495300" y="509833"/>
            <a:ext cx="11201400" cy="914400"/>
          </a:xfrm>
        </p:spPr>
        <p:txBody>
          <a:bodyPr/>
          <a:lstStyle/>
          <a:p>
            <a:r>
              <a:rPr lang="en-US"/>
              <a:t>Click to edit Master title style</a:t>
            </a:r>
            <a:endParaRPr lang="en-US" dirty="0"/>
          </a:p>
        </p:txBody>
      </p:sp>
      <p:sp>
        <p:nvSpPr>
          <p:cNvPr id="18" name="Slide Number Placeholder 5"/>
          <p:cNvSpPr>
            <a:spLocks noGrp="1"/>
          </p:cNvSpPr>
          <p:nvPr>
            <p:ph type="sldNum" sz="quarter" idx="4"/>
          </p:nvPr>
        </p:nvSpPr>
        <p:spPr>
          <a:xfrm>
            <a:off x="11371032" y="6432462"/>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CA" smtClean="0"/>
              <a:pPr/>
              <a:t>‹#›</a:t>
            </a:fld>
            <a:endParaRPr lang="en-CA" dirty="0"/>
          </a:p>
        </p:txBody>
      </p:sp>
      <p:sp>
        <p:nvSpPr>
          <p:cNvPr id="21" name="Content Placeholder 14"/>
          <p:cNvSpPr>
            <a:spLocks noGrp="1"/>
          </p:cNvSpPr>
          <p:nvPr>
            <p:ph sz="quarter" idx="18"/>
          </p:nvPr>
        </p:nvSpPr>
        <p:spPr>
          <a:xfrm>
            <a:off x="4405334" y="2070820"/>
            <a:ext cx="3377601" cy="4012346"/>
          </a:xfrm>
        </p:spPr>
        <p:txBody>
          <a:bodyPr/>
          <a:lstStyle>
            <a:lvl1pPr>
              <a:defRPr sz="2400"/>
            </a:lvl1pPr>
            <a:lvl2pPr marL="210312">
              <a:defRPr sz="2000"/>
            </a:lvl2pPr>
            <a:lvl3pPr marL="429768" indent="-173736">
              <a:defRPr sz="1600"/>
            </a:lvl3pPr>
            <a:lvl4pPr marL="603504" indent="-128016">
              <a:defRPr sz="1400"/>
            </a:lvl4pPr>
            <a:lvl5pPr marL="793750" indent="-173038">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22" name="Content Placeholder 14"/>
          <p:cNvSpPr>
            <a:spLocks noGrp="1"/>
          </p:cNvSpPr>
          <p:nvPr>
            <p:ph sz="quarter" idx="19"/>
          </p:nvPr>
        </p:nvSpPr>
        <p:spPr>
          <a:xfrm>
            <a:off x="8314696" y="2070820"/>
            <a:ext cx="3377601" cy="4012346"/>
          </a:xfrm>
        </p:spPr>
        <p:txBody>
          <a:bodyPr/>
          <a:lstStyle>
            <a:lvl1pPr>
              <a:defRPr sz="2400"/>
            </a:lvl1pPr>
            <a:lvl2pPr marL="210312">
              <a:defRPr sz="2000"/>
            </a:lvl2pPr>
            <a:lvl3pPr marL="429768" indent="-173736">
              <a:defRPr sz="1600"/>
            </a:lvl3pPr>
            <a:lvl4pPr marL="603504" indent="-128016">
              <a:defRPr sz="1400"/>
            </a:lvl4pPr>
            <a:lvl5pPr marL="793750" indent="-173038">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6" name="Date Placeholder 3"/>
          <p:cNvSpPr>
            <a:spLocks noGrp="1"/>
          </p:cNvSpPr>
          <p:nvPr>
            <p:ph type="dt" sz="half" idx="2"/>
          </p:nvPr>
        </p:nvSpPr>
        <p:spPr>
          <a:xfrm>
            <a:off x="4598624" y="6432462"/>
            <a:ext cx="1671207" cy="182880"/>
          </a:xfrm>
          <a:prstGeom prst="rect">
            <a:avLst/>
          </a:prstGeom>
        </p:spPr>
        <p:txBody>
          <a:bodyPr vert="horz" lIns="0" tIns="0" rIns="0" bIns="0" rtlCol="0" anchor="t" anchorCtr="0">
            <a:noAutofit/>
          </a:bodyPr>
          <a:lstStyle>
            <a:lvl1pPr algn="l">
              <a:defRPr sz="1000">
                <a:solidFill>
                  <a:schemeClr val="accent2"/>
                </a:solidFill>
              </a:defRPr>
            </a:lvl1pPr>
          </a:lstStyle>
          <a:p>
            <a:fld id="{A56F21D8-0274-4A52-805F-0C9364A5CDDC}" type="datetime4">
              <a:rPr lang="en-US" smtClean="0"/>
              <a:t>October 18, 2021</a:t>
            </a:fld>
            <a:endParaRPr lang="en-CA" dirty="0"/>
          </a:p>
        </p:txBody>
      </p:sp>
      <p:sp>
        <p:nvSpPr>
          <p:cNvPr id="19" name="Footer Placeholder 7"/>
          <p:cNvSpPr>
            <a:spLocks noGrp="1"/>
          </p:cNvSpPr>
          <p:nvPr>
            <p:ph type="ftr" sz="quarter" idx="20"/>
          </p:nvPr>
        </p:nvSpPr>
        <p:spPr>
          <a:xfrm>
            <a:off x="1269205" y="6432462"/>
            <a:ext cx="3229587" cy="182880"/>
          </a:xfrm>
          <a:prstGeom prst="rect">
            <a:avLst/>
          </a:prstGeom>
        </p:spPr>
        <p:txBody>
          <a:bodyPr vert="horz" lIns="0" tIns="0" rIns="0" bIns="0" rtlCol="0" anchor="t" anchorCtr="0"/>
          <a:lstStyle>
            <a:lvl1pPr algn="r">
              <a:defRPr sz="1000">
                <a:solidFill>
                  <a:schemeClr val="tx1"/>
                </a:solidFill>
              </a:defRPr>
            </a:lvl1pPr>
          </a:lstStyle>
          <a:p>
            <a:endParaRPr lang="en-US" dirty="0"/>
          </a:p>
        </p:txBody>
      </p:sp>
    </p:spTree>
    <p:extLst>
      <p:ext uri="{BB962C8B-B14F-4D97-AF65-F5344CB8AC3E}">
        <p14:creationId xmlns:p14="http://schemas.microsoft.com/office/powerpoint/2010/main" val="42039156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95300" y="1629578"/>
            <a:ext cx="2518906" cy="204671"/>
          </a:xfrm>
        </p:spPr>
        <p:txBody>
          <a:bodyPr vert="horz" wrap="square" lIns="0" tIns="0" rIns="0" bIns="0" rtlCol="0" anchor="b" anchorCtr="0">
            <a:spAutoFit/>
          </a:bodyPr>
          <a:lstStyle>
            <a:lvl1pPr>
              <a:defRPr lang="en-US" sz="1400" b="1" dirty="0" smtClean="0">
                <a:solidFill>
                  <a:schemeClr val="accent3"/>
                </a:solidFill>
              </a:defRPr>
            </a:lvl1pPr>
          </a:lstStyle>
          <a:p>
            <a:pPr lvl="0"/>
            <a:r>
              <a:rPr lang="en-US" dirty="0"/>
              <a:t>Subtitle</a:t>
            </a:r>
          </a:p>
        </p:txBody>
      </p:sp>
      <p:sp>
        <p:nvSpPr>
          <p:cNvPr id="5" name="Text Placeholder 4"/>
          <p:cNvSpPr>
            <a:spLocks noGrp="1"/>
          </p:cNvSpPr>
          <p:nvPr>
            <p:ph type="body" sz="quarter" idx="3" hasCustomPrompt="1"/>
          </p:nvPr>
        </p:nvSpPr>
        <p:spPr>
          <a:xfrm>
            <a:off x="3396995" y="1629578"/>
            <a:ext cx="2496313" cy="204671"/>
          </a:xfrm>
        </p:spPr>
        <p:txBody>
          <a:bodyPr vert="horz" wrap="square" lIns="0" tIns="0" rIns="0" bIns="0" rtlCol="0" anchor="b" anchorCtr="0">
            <a:spAutoFit/>
          </a:bodyPr>
          <a:lstStyle>
            <a:lvl1pPr>
              <a:defRPr lang="en-US" sz="1400" b="1" dirty="0" smtClean="0">
                <a:solidFill>
                  <a:schemeClr val="accent3"/>
                </a:solidFill>
              </a:defRPr>
            </a:lvl1pPr>
          </a:lstStyle>
          <a:p>
            <a:pPr lvl="0"/>
            <a:r>
              <a:rPr lang="en-US" dirty="0"/>
              <a:t>Subtitle</a:t>
            </a:r>
          </a:p>
        </p:txBody>
      </p:sp>
      <p:sp>
        <p:nvSpPr>
          <p:cNvPr id="15" name="Content Placeholder 14"/>
          <p:cNvSpPr>
            <a:spLocks noGrp="1"/>
          </p:cNvSpPr>
          <p:nvPr>
            <p:ph sz="quarter" idx="13"/>
          </p:nvPr>
        </p:nvSpPr>
        <p:spPr>
          <a:xfrm>
            <a:off x="495300" y="2044127"/>
            <a:ext cx="2496312" cy="3959013"/>
          </a:xfrm>
        </p:spPr>
        <p:txBody>
          <a:bodyPr vert="horz" lIns="0" tIns="0" rIns="0" bIns="0" rtlCol="0">
            <a:noAutofit/>
          </a:bodyPr>
          <a:lstStyle>
            <a:lvl1pPr>
              <a:defRPr lang="en-US" sz="2000" dirty="0" smtClean="0"/>
            </a:lvl1pPr>
            <a:lvl2pPr>
              <a:defRPr lang="en-US" sz="1800" dirty="0" smtClean="0"/>
            </a:lvl2pPr>
            <a:lvl3pPr marL="429768" indent="-173736">
              <a:defRPr lang="en-US" sz="1600" dirty="0" smtClean="0"/>
            </a:lvl3pPr>
            <a:lvl4pPr marL="603504" indent="-128016">
              <a:defRPr lang="en-US" sz="1400" dirty="0" smtClean="0"/>
            </a:lvl4pPr>
            <a:lvl5pPr marL="795528" indent="-128016">
              <a:defRPr lang="en-CA"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0" name="Text Placeholder 9"/>
          <p:cNvSpPr>
            <a:spLocks noGrp="1"/>
          </p:cNvSpPr>
          <p:nvPr>
            <p:ph type="body" sz="quarter" idx="15" hasCustomPrompt="1"/>
          </p:nvPr>
        </p:nvSpPr>
        <p:spPr>
          <a:xfrm>
            <a:off x="6298692" y="1629578"/>
            <a:ext cx="2496312" cy="204671"/>
          </a:xfrm>
        </p:spPr>
        <p:txBody>
          <a:bodyPr vert="horz" wrap="square" lIns="0" tIns="0" rIns="0" bIns="0" rtlCol="0" anchor="b" anchorCtr="0">
            <a:spAutoFit/>
          </a:bodyPr>
          <a:lstStyle>
            <a:lvl1pPr>
              <a:defRPr lang="en-US" sz="1400" b="1" dirty="0" smtClean="0">
                <a:solidFill>
                  <a:schemeClr val="accent3"/>
                </a:solidFill>
              </a:defRPr>
            </a:lvl1pPr>
          </a:lstStyle>
          <a:p>
            <a:pPr lvl="0"/>
            <a:r>
              <a:rPr lang="en-US" dirty="0"/>
              <a:t>Subtitle</a:t>
            </a:r>
          </a:p>
        </p:txBody>
      </p:sp>
      <p:sp>
        <p:nvSpPr>
          <p:cNvPr id="14" name="Text Placeholder 13"/>
          <p:cNvSpPr>
            <a:spLocks noGrp="1"/>
          </p:cNvSpPr>
          <p:nvPr>
            <p:ph type="body" sz="quarter" idx="17" hasCustomPrompt="1"/>
          </p:nvPr>
        </p:nvSpPr>
        <p:spPr>
          <a:xfrm>
            <a:off x="9200388" y="1629578"/>
            <a:ext cx="2496312" cy="204671"/>
          </a:xfrm>
        </p:spPr>
        <p:txBody>
          <a:bodyPr vert="horz" wrap="square" lIns="0" tIns="0" rIns="0" bIns="0" rtlCol="0" anchor="b" anchorCtr="0">
            <a:spAutoFit/>
          </a:bodyPr>
          <a:lstStyle>
            <a:lvl1pPr>
              <a:defRPr lang="en-US" sz="1400" b="1" dirty="0" smtClean="0">
                <a:solidFill>
                  <a:schemeClr val="accent3"/>
                </a:solidFill>
              </a:defRPr>
            </a:lvl1pPr>
          </a:lstStyle>
          <a:p>
            <a:pPr lvl="0"/>
            <a:r>
              <a:rPr lang="en-US" dirty="0"/>
              <a:t>Subtitle</a:t>
            </a:r>
          </a:p>
        </p:txBody>
      </p:sp>
      <p:cxnSp>
        <p:nvCxnSpPr>
          <p:cNvPr id="26" name="Straight Connector 25"/>
          <p:cNvCxnSpPr>
            <a:cxnSpLocks/>
          </p:cNvCxnSpPr>
          <p:nvPr userDrawn="1"/>
        </p:nvCxnSpPr>
        <p:spPr>
          <a:xfrm>
            <a:off x="3390900" y="1908811"/>
            <a:ext cx="25146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cxnSpLocks/>
          </p:cNvCxnSpPr>
          <p:nvPr userDrawn="1"/>
        </p:nvCxnSpPr>
        <p:spPr>
          <a:xfrm>
            <a:off x="6286500" y="1908811"/>
            <a:ext cx="25146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userDrawn="1"/>
        </p:nvCxnSpPr>
        <p:spPr>
          <a:xfrm>
            <a:off x="9182100" y="1908811"/>
            <a:ext cx="25146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userDrawn="1"/>
        </p:nvCxnSpPr>
        <p:spPr>
          <a:xfrm>
            <a:off x="495300" y="1908811"/>
            <a:ext cx="251460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a:xfrm>
            <a:off x="495300" y="509833"/>
            <a:ext cx="11201400" cy="914400"/>
          </a:xfrm>
        </p:spPr>
        <p:txBody>
          <a:bodyPr/>
          <a:lstStyle/>
          <a:p>
            <a:r>
              <a:rPr lang="en-US"/>
              <a:t>Click to edit Master title style</a:t>
            </a:r>
            <a:endParaRPr lang="en-US" dirty="0"/>
          </a:p>
        </p:txBody>
      </p:sp>
      <p:sp>
        <p:nvSpPr>
          <p:cNvPr id="21" name="Slide Number Placeholder 5"/>
          <p:cNvSpPr>
            <a:spLocks noGrp="1"/>
          </p:cNvSpPr>
          <p:nvPr>
            <p:ph type="sldNum" sz="quarter" idx="4"/>
          </p:nvPr>
        </p:nvSpPr>
        <p:spPr>
          <a:xfrm>
            <a:off x="11371032" y="6432462"/>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CA" smtClean="0"/>
              <a:pPr/>
              <a:t>‹#›</a:t>
            </a:fld>
            <a:endParaRPr lang="en-CA" dirty="0"/>
          </a:p>
        </p:txBody>
      </p:sp>
      <p:sp>
        <p:nvSpPr>
          <p:cNvPr id="25" name="Content Placeholder 14"/>
          <p:cNvSpPr>
            <a:spLocks noGrp="1"/>
          </p:cNvSpPr>
          <p:nvPr>
            <p:ph sz="quarter" idx="20"/>
          </p:nvPr>
        </p:nvSpPr>
        <p:spPr>
          <a:xfrm>
            <a:off x="3396995" y="2044127"/>
            <a:ext cx="2496312" cy="3959013"/>
          </a:xfrm>
        </p:spPr>
        <p:txBody>
          <a:bodyPr vert="horz" lIns="0" tIns="0" rIns="0" bIns="0" rtlCol="0">
            <a:noAutofit/>
          </a:bodyPr>
          <a:lstStyle>
            <a:lvl1pPr>
              <a:defRPr lang="en-US" sz="2000" dirty="0" smtClean="0"/>
            </a:lvl1pPr>
            <a:lvl2pPr>
              <a:defRPr lang="en-US" sz="1800" dirty="0" smtClean="0"/>
            </a:lvl2pPr>
            <a:lvl3pPr marL="429768" indent="-173736">
              <a:defRPr lang="en-US" sz="1600" dirty="0" smtClean="0"/>
            </a:lvl3pPr>
            <a:lvl4pPr marL="603504" indent="-128016">
              <a:defRPr lang="en-US" sz="1400" dirty="0" smtClean="0"/>
            </a:lvl4pPr>
            <a:lvl5pPr marL="795528" indent="-128016">
              <a:defRPr lang="en-CA"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27" name="Content Placeholder 14"/>
          <p:cNvSpPr>
            <a:spLocks noGrp="1"/>
          </p:cNvSpPr>
          <p:nvPr>
            <p:ph sz="quarter" idx="21"/>
          </p:nvPr>
        </p:nvSpPr>
        <p:spPr>
          <a:xfrm>
            <a:off x="6298692" y="2044127"/>
            <a:ext cx="2496312" cy="3959013"/>
          </a:xfrm>
        </p:spPr>
        <p:txBody>
          <a:bodyPr vert="horz" lIns="0" tIns="0" rIns="0" bIns="0" rtlCol="0">
            <a:noAutofit/>
          </a:bodyPr>
          <a:lstStyle>
            <a:lvl1pPr>
              <a:defRPr lang="en-US" sz="2000" dirty="0" smtClean="0"/>
            </a:lvl1pPr>
            <a:lvl2pPr>
              <a:defRPr lang="en-US" sz="1800" dirty="0" smtClean="0"/>
            </a:lvl2pPr>
            <a:lvl3pPr marL="429768" indent="-173736">
              <a:defRPr lang="en-US" sz="1600" dirty="0" smtClean="0"/>
            </a:lvl3pPr>
            <a:lvl4pPr marL="603504" indent="-128016">
              <a:defRPr lang="en-US" sz="1400" dirty="0" smtClean="0"/>
            </a:lvl4pPr>
            <a:lvl5pPr marL="795528" indent="-128016">
              <a:defRPr lang="en-CA"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28" name="Content Placeholder 14"/>
          <p:cNvSpPr>
            <a:spLocks noGrp="1"/>
          </p:cNvSpPr>
          <p:nvPr>
            <p:ph sz="quarter" idx="22"/>
          </p:nvPr>
        </p:nvSpPr>
        <p:spPr>
          <a:xfrm>
            <a:off x="9200388" y="2044127"/>
            <a:ext cx="2496312" cy="3959013"/>
          </a:xfrm>
        </p:spPr>
        <p:txBody>
          <a:bodyPr vert="horz" lIns="0" tIns="0" rIns="0" bIns="0" rtlCol="0">
            <a:noAutofit/>
          </a:bodyPr>
          <a:lstStyle>
            <a:lvl1pPr>
              <a:defRPr lang="en-US" sz="2000" dirty="0" smtClean="0"/>
            </a:lvl1pPr>
            <a:lvl2pPr>
              <a:defRPr lang="en-US" sz="1800" dirty="0" smtClean="0"/>
            </a:lvl2pPr>
            <a:lvl3pPr marL="429768" indent="-173736">
              <a:defRPr lang="en-US" sz="1600" dirty="0" smtClean="0"/>
            </a:lvl3pPr>
            <a:lvl4pPr marL="603504" indent="-128016">
              <a:defRPr lang="en-US" sz="1400" dirty="0" smtClean="0"/>
            </a:lvl4pPr>
            <a:lvl5pPr marL="795528" indent="-128016">
              <a:defRPr lang="en-CA"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Date Placeholder 3"/>
          <p:cNvSpPr>
            <a:spLocks noGrp="1"/>
          </p:cNvSpPr>
          <p:nvPr>
            <p:ph type="dt" sz="half" idx="2"/>
          </p:nvPr>
        </p:nvSpPr>
        <p:spPr>
          <a:xfrm>
            <a:off x="4598624" y="6432462"/>
            <a:ext cx="1671207" cy="182880"/>
          </a:xfrm>
          <a:prstGeom prst="rect">
            <a:avLst/>
          </a:prstGeom>
        </p:spPr>
        <p:txBody>
          <a:bodyPr vert="horz" lIns="0" tIns="0" rIns="0" bIns="0" rtlCol="0" anchor="t" anchorCtr="0">
            <a:noAutofit/>
          </a:bodyPr>
          <a:lstStyle>
            <a:lvl1pPr algn="l">
              <a:defRPr sz="1000">
                <a:solidFill>
                  <a:schemeClr val="accent2"/>
                </a:solidFill>
              </a:defRPr>
            </a:lvl1pPr>
          </a:lstStyle>
          <a:p>
            <a:fld id="{BB67BD37-8D27-4F26-9EC1-D635CEFC1760}" type="datetime4">
              <a:rPr lang="en-US" smtClean="0"/>
              <a:t>October 18, 2021</a:t>
            </a:fld>
            <a:endParaRPr lang="en-CA" dirty="0"/>
          </a:p>
        </p:txBody>
      </p:sp>
      <p:sp>
        <p:nvSpPr>
          <p:cNvPr id="20" name="Footer Placeholder 7"/>
          <p:cNvSpPr>
            <a:spLocks noGrp="1"/>
          </p:cNvSpPr>
          <p:nvPr>
            <p:ph type="ftr" sz="quarter" idx="23"/>
          </p:nvPr>
        </p:nvSpPr>
        <p:spPr>
          <a:xfrm>
            <a:off x="1269205" y="6432462"/>
            <a:ext cx="3229587" cy="182880"/>
          </a:xfrm>
          <a:prstGeom prst="rect">
            <a:avLst/>
          </a:prstGeom>
        </p:spPr>
        <p:txBody>
          <a:bodyPr vert="horz" lIns="0" tIns="0" rIns="0" bIns="0" rtlCol="0" anchor="t" anchorCtr="0"/>
          <a:lstStyle>
            <a:lvl1pPr algn="r">
              <a:defRPr sz="1000">
                <a:solidFill>
                  <a:schemeClr val="tx1"/>
                </a:solidFill>
              </a:defRPr>
            </a:lvl1pPr>
          </a:lstStyle>
          <a:p>
            <a:endParaRPr lang="en-US" dirty="0"/>
          </a:p>
        </p:txBody>
      </p:sp>
    </p:spTree>
    <p:extLst>
      <p:ext uri="{BB962C8B-B14F-4D97-AF65-F5344CB8AC3E}">
        <p14:creationId xmlns:p14="http://schemas.microsoft.com/office/powerpoint/2010/main" val="17473393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95300" y="1629861"/>
            <a:ext cx="1929384" cy="204671"/>
          </a:xfrm>
        </p:spPr>
        <p:txBody>
          <a:bodyPr vert="horz" wrap="square" lIns="0" tIns="0" rIns="0" bIns="0" rtlCol="0" anchor="b" anchorCtr="0">
            <a:spAutoFit/>
          </a:bodyPr>
          <a:lstStyle>
            <a:lvl1pPr>
              <a:defRPr lang="en-US" sz="1400" b="1" dirty="0" smtClean="0">
                <a:solidFill>
                  <a:schemeClr val="accent3"/>
                </a:solidFill>
              </a:defRPr>
            </a:lvl1pPr>
          </a:lstStyle>
          <a:p>
            <a:pPr lvl="0"/>
            <a:r>
              <a:rPr lang="en-US" dirty="0"/>
              <a:t>Subtitle</a:t>
            </a:r>
          </a:p>
        </p:txBody>
      </p:sp>
      <p:sp>
        <p:nvSpPr>
          <p:cNvPr id="5" name="Text Placeholder 4"/>
          <p:cNvSpPr>
            <a:spLocks noGrp="1"/>
          </p:cNvSpPr>
          <p:nvPr>
            <p:ph type="body" sz="quarter" idx="3" hasCustomPrompt="1"/>
          </p:nvPr>
        </p:nvSpPr>
        <p:spPr>
          <a:xfrm>
            <a:off x="2813304" y="1629861"/>
            <a:ext cx="1929384" cy="204671"/>
          </a:xfrm>
        </p:spPr>
        <p:txBody>
          <a:bodyPr vert="horz" wrap="square" lIns="0" tIns="0" rIns="0" bIns="0" rtlCol="0" anchor="b" anchorCtr="0">
            <a:spAutoFit/>
          </a:bodyPr>
          <a:lstStyle>
            <a:lvl1pPr>
              <a:defRPr lang="en-US" sz="1400" b="1" dirty="0" smtClean="0">
                <a:solidFill>
                  <a:schemeClr val="accent3"/>
                </a:solidFill>
              </a:defRPr>
            </a:lvl1pPr>
          </a:lstStyle>
          <a:p>
            <a:pPr lvl="0"/>
            <a:r>
              <a:rPr lang="en-US" dirty="0"/>
              <a:t>Subtitle</a:t>
            </a:r>
          </a:p>
        </p:txBody>
      </p:sp>
      <p:sp>
        <p:nvSpPr>
          <p:cNvPr id="15" name="Content Placeholder 14"/>
          <p:cNvSpPr>
            <a:spLocks noGrp="1"/>
          </p:cNvSpPr>
          <p:nvPr>
            <p:ph sz="quarter" idx="13"/>
          </p:nvPr>
        </p:nvSpPr>
        <p:spPr>
          <a:xfrm>
            <a:off x="495300" y="2014983"/>
            <a:ext cx="1929384" cy="4102446"/>
          </a:xfrm>
        </p:spPr>
        <p:txBody>
          <a:bodyPr vert="horz" lIns="0" tIns="0" rIns="0" bIns="0" rtlCol="0">
            <a:noAutofit/>
          </a:bodyPr>
          <a:lstStyle>
            <a:lvl1pPr>
              <a:defRPr lang="en-US" sz="1600" dirty="0" smtClean="0"/>
            </a:lvl1pPr>
            <a:lvl2pPr marL="146304" indent="-118872">
              <a:defRPr lang="en-US" sz="1400" dirty="0" smtClean="0"/>
            </a:lvl2pPr>
            <a:lvl3pPr marL="338328" indent="-137160">
              <a:defRPr lang="en-US" sz="1200" dirty="0" smtClean="0"/>
            </a:lvl3pPr>
            <a:lvl4pPr marL="461963" indent="-115888">
              <a:defRPr lang="en-US" sz="1200" dirty="0" smtClean="0"/>
            </a:lvl4pPr>
            <a:lvl5pPr marL="625475" indent="-115888">
              <a:defRPr lang="en-CA" sz="120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0" name="Text Placeholder 9"/>
          <p:cNvSpPr>
            <a:spLocks noGrp="1"/>
          </p:cNvSpPr>
          <p:nvPr>
            <p:ph type="body" sz="quarter" idx="15" hasCustomPrompt="1"/>
          </p:nvPr>
        </p:nvSpPr>
        <p:spPr>
          <a:xfrm>
            <a:off x="5131308" y="1629861"/>
            <a:ext cx="1929384" cy="204671"/>
          </a:xfrm>
        </p:spPr>
        <p:txBody>
          <a:bodyPr vert="horz" wrap="square" lIns="0" tIns="0" rIns="0" bIns="0" rtlCol="0" anchor="b" anchorCtr="0">
            <a:spAutoFit/>
          </a:bodyPr>
          <a:lstStyle>
            <a:lvl1pPr>
              <a:defRPr lang="en-US" sz="1400" b="1" dirty="0" smtClean="0">
                <a:solidFill>
                  <a:schemeClr val="accent3"/>
                </a:solidFill>
              </a:defRPr>
            </a:lvl1pPr>
          </a:lstStyle>
          <a:p>
            <a:pPr lvl="0"/>
            <a:r>
              <a:rPr lang="en-US" dirty="0"/>
              <a:t>Subtitle</a:t>
            </a:r>
          </a:p>
        </p:txBody>
      </p:sp>
      <p:sp>
        <p:nvSpPr>
          <p:cNvPr id="14" name="Text Placeholder 13"/>
          <p:cNvSpPr>
            <a:spLocks noGrp="1"/>
          </p:cNvSpPr>
          <p:nvPr>
            <p:ph type="body" sz="quarter" idx="17" hasCustomPrompt="1"/>
          </p:nvPr>
        </p:nvSpPr>
        <p:spPr>
          <a:xfrm>
            <a:off x="7449312" y="1629861"/>
            <a:ext cx="1929384" cy="204671"/>
          </a:xfrm>
        </p:spPr>
        <p:txBody>
          <a:bodyPr vert="horz" wrap="square" lIns="0" tIns="0" rIns="0" bIns="0" rtlCol="0" anchor="b" anchorCtr="0">
            <a:spAutoFit/>
          </a:bodyPr>
          <a:lstStyle>
            <a:lvl1pPr>
              <a:defRPr lang="en-US" sz="1400" b="1" dirty="0" smtClean="0">
                <a:solidFill>
                  <a:schemeClr val="accent3"/>
                </a:solidFill>
              </a:defRPr>
            </a:lvl1pPr>
          </a:lstStyle>
          <a:p>
            <a:pPr lvl="0"/>
            <a:r>
              <a:rPr lang="en-US" dirty="0"/>
              <a:t>Subtitle</a:t>
            </a:r>
          </a:p>
        </p:txBody>
      </p:sp>
      <p:cxnSp>
        <p:nvCxnSpPr>
          <p:cNvPr id="26" name="Straight Connector 25"/>
          <p:cNvCxnSpPr>
            <a:cxnSpLocks/>
          </p:cNvCxnSpPr>
          <p:nvPr userDrawn="1"/>
        </p:nvCxnSpPr>
        <p:spPr>
          <a:xfrm>
            <a:off x="2813304" y="1908811"/>
            <a:ext cx="192024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cxnSpLocks/>
          </p:cNvCxnSpPr>
          <p:nvPr userDrawn="1"/>
        </p:nvCxnSpPr>
        <p:spPr>
          <a:xfrm>
            <a:off x="5131308" y="1908811"/>
            <a:ext cx="192024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userDrawn="1"/>
        </p:nvCxnSpPr>
        <p:spPr>
          <a:xfrm>
            <a:off x="7449312" y="1908811"/>
            <a:ext cx="192024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userDrawn="1"/>
        </p:nvCxnSpPr>
        <p:spPr>
          <a:xfrm>
            <a:off x="495300" y="1908811"/>
            <a:ext cx="192024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6" name="Text Placeholder 13"/>
          <p:cNvSpPr>
            <a:spLocks noGrp="1"/>
          </p:cNvSpPr>
          <p:nvPr>
            <p:ph type="body" sz="quarter" idx="20" hasCustomPrompt="1"/>
          </p:nvPr>
        </p:nvSpPr>
        <p:spPr>
          <a:xfrm>
            <a:off x="9767316" y="1629861"/>
            <a:ext cx="1929384" cy="204671"/>
          </a:xfrm>
        </p:spPr>
        <p:txBody>
          <a:bodyPr vert="horz" wrap="square" lIns="0" tIns="0" rIns="0" bIns="0" rtlCol="0" anchor="b" anchorCtr="0">
            <a:spAutoFit/>
          </a:bodyPr>
          <a:lstStyle>
            <a:lvl1pPr>
              <a:defRPr lang="en-US" sz="1400" b="1" dirty="0" smtClean="0">
                <a:solidFill>
                  <a:schemeClr val="accent3"/>
                </a:solidFill>
              </a:defRPr>
            </a:lvl1pPr>
          </a:lstStyle>
          <a:p>
            <a:pPr lvl="0"/>
            <a:r>
              <a:rPr lang="en-US" dirty="0"/>
              <a:t>Subtitle</a:t>
            </a:r>
          </a:p>
        </p:txBody>
      </p:sp>
      <p:cxnSp>
        <p:nvCxnSpPr>
          <p:cNvPr id="48" name="Straight Connector 47"/>
          <p:cNvCxnSpPr>
            <a:cxnSpLocks/>
          </p:cNvCxnSpPr>
          <p:nvPr userDrawn="1"/>
        </p:nvCxnSpPr>
        <p:spPr>
          <a:xfrm>
            <a:off x="9767316" y="1908811"/>
            <a:ext cx="192024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hasCustomPrompt="1"/>
          </p:nvPr>
        </p:nvSpPr>
        <p:spPr>
          <a:xfrm>
            <a:off x="495300" y="509833"/>
            <a:ext cx="11201400" cy="914400"/>
          </a:xfrm>
        </p:spPr>
        <p:txBody>
          <a:bodyPr/>
          <a:lstStyle>
            <a:lvl1pPr>
              <a:defRPr/>
            </a:lvl1pPr>
          </a:lstStyle>
          <a:p>
            <a:r>
              <a:rPr lang="en-US" dirty="0"/>
              <a:t>Five Content Layout</a:t>
            </a:r>
          </a:p>
        </p:txBody>
      </p:sp>
      <p:sp>
        <p:nvSpPr>
          <p:cNvPr id="22" name="Slide Number Placeholder 5"/>
          <p:cNvSpPr>
            <a:spLocks noGrp="1"/>
          </p:cNvSpPr>
          <p:nvPr>
            <p:ph type="sldNum" sz="quarter" idx="4"/>
          </p:nvPr>
        </p:nvSpPr>
        <p:spPr>
          <a:xfrm>
            <a:off x="11371032" y="6432462"/>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CA" smtClean="0"/>
              <a:pPr/>
              <a:t>‹#›</a:t>
            </a:fld>
            <a:endParaRPr lang="en-CA" dirty="0"/>
          </a:p>
        </p:txBody>
      </p:sp>
      <p:sp>
        <p:nvSpPr>
          <p:cNvPr id="45" name="Content Placeholder 14"/>
          <p:cNvSpPr>
            <a:spLocks noGrp="1"/>
          </p:cNvSpPr>
          <p:nvPr>
            <p:ph sz="quarter" idx="23"/>
          </p:nvPr>
        </p:nvSpPr>
        <p:spPr>
          <a:xfrm>
            <a:off x="2813304" y="2014983"/>
            <a:ext cx="1929384" cy="4102446"/>
          </a:xfrm>
        </p:spPr>
        <p:txBody>
          <a:bodyPr vert="horz" lIns="0" tIns="0" rIns="0" bIns="0" rtlCol="0">
            <a:noAutofit/>
          </a:bodyPr>
          <a:lstStyle>
            <a:lvl1pPr>
              <a:defRPr lang="en-US" sz="1600" dirty="0" smtClean="0"/>
            </a:lvl1pPr>
            <a:lvl2pPr marL="146304" indent="-118872">
              <a:defRPr lang="en-US" sz="1400" dirty="0" smtClean="0"/>
            </a:lvl2pPr>
            <a:lvl3pPr marL="338328" indent="-137160">
              <a:defRPr lang="en-US" sz="1200" dirty="0" smtClean="0"/>
            </a:lvl3pPr>
            <a:lvl4pPr marL="461963" indent="-115888">
              <a:defRPr lang="en-US" sz="1200" dirty="0" smtClean="0"/>
            </a:lvl4pPr>
            <a:lvl5pPr marL="625475" indent="-115888">
              <a:defRPr lang="en-CA" sz="120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49" name="Content Placeholder 14"/>
          <p:cNvSpPr>
            <a:spLocks noGrp="1"/>
          </p:cNvSpPr>
          <p:nvPr>
            <p:ph sz="quarter" idx="24"/>
          </p:nvPr>
        </p:nvSpPr>
        <p:spPr>
          <a:xfrm>
            <a:off x="5131308" y="2014983"/>
            <a:ext cx="1929384" cy="4102446"/>
          </a:xfrm>
        </p:spPr>
        <p:txBody>
          <a:bodyPr vert="horz" lIns="0" tIns="0" rIns="0" bIns="0" rtlCol="0">
            <a:noAutofit/>
          </a:bodyPr>
          <a:lstStyle>
            <a:lvl1pPr>
              <a:defRPr lang="en-US" sz="1600" dirty="0" smtClean="0"/>
            </a:lvl1pPr>
            <a:lvl2pPr marL="146304" indent="-118872">
              <a:defRPr lang="en-US" sz="1400" dirty="0" smtClean="0"/>
            </a:lvl2pPr>
            <a:lvl3pPr marL="338328" indent="-137160">
              <a:defRPr lang="en-US" sz="1200" dirty="0" smtClean="0"/>
            </a:lvl3pPr>
            <a:lvl4pPr marL="461963" indent="-115888">
              <a:defRPr lang="en-US" sz="1200" dirty="0" smtClean="0"/>
            </a:lvl4pPr>
            <a:lvl5pPr marL="625475" indent="-115888">
              <a:defRPr lang="en-CA" sz="120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50" name="Content Placeholder 14"/>
          <p:cNvSpPr>
            <a:spLocks noGrp="1"/>
          </p:cNvSpPr>
          <p:nvPr>
            <p:ph sz="quarter" idx="25"/>
          </p:nvPr>
        </p:nvSpPr>
        <p:spPr>
          <a:xfrm>
            <a:off x="7449312" y="2014983"/>
            <a:ext cx="1929384" cy="4102446"/>
          </a:xfrm>
        </p:spPr>
        <p:txBody>
          <a:bodyPr vert="horz" lIns="0" tIns="0" rIns="0" bIns="0" rtlCol="0">
            <a:noAutofit/>
          </a:bodyPr>
          <a:lstStyle>
            <a:lvl1pPr>
              <a:defRPr lang="en-US" sz="1600" dirty="0" smtClean="0"/>
            </a:lvl1pPr>
            <a:lvl2pPr marL="146304" indent="-118872">
              <a:defRPr lang="en-US" sz="1400" dirty="0" smtClean="0"/>
            </a:lvl2pPr>
            <a:lvl3pPr marL="338328" indent="-137160">
              <a:defRPr lang="en-US" sz="1200" dirty="0" smtClean="0"/>
            </a:lvl3pPr>
            <a:lvl4pPr marL="461963" indent="-115888">
              <a:defRPr lang="en-US" sz="1200" dirty="0" smtClean="0"/>
            </a:lvl4pPr>
            <a:lvl5pPr marL="625475" indent="-115888">
              <a:defRPr lang="en-CA" sz="120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51" name="Content Placeholder 14"/>
          <p:cNvSpPr>
            <a:spLocks noGrp="1"/>
          </p:cNvSpPr>
          <p:nvPr>
            <p:ph sz="quarter" idx="26"/>
          </p:nvPr>
        </p:nvSpPr>
        <p:spPr>
          <a:xfrm>
            <a:off x="9767316" y="2014983"/>
            <a:ext cx="1929384" cy="4102446"/>
          </a:xfrm>
        </p:spPr>
        <p:txBody>
          <a:bodyPr vert="horz" lIns="0" tIns="0" rIns="0" bIns="0" rtlCol="0">
            <a:noAutofit/>
          </a:bodyPr>
          <a:lstStyle>
            <a:lvl1pPr>
              <a:defRPr lang="en-US" sz="1600" dirty="0" smtClean="0"/>
            </a:lvl1pPr>
            <a:lvl2pPr marL="146304" indent="-118872">
              <a:defRPr lang="en-US" sz="1400" dirty="0" smtClean="0"/>
            </a:lvl2pPr>
            <a:lvl3pPr marL="338328" indent="-137160">
              <a:defRPr lang="en-US" sz="1200" dirty="0" smtClean="0"/>
            </a:lvl3pPr>
            <a:lvl4pPr marL="461963" indent="-115888">
              <a:defRPr lang="en-US" sz="1200" dirty="0" smtClean="0"/>
            </a:lvl4pPr>
            <a:lvl5pPr marL="625475" indent="-115888">
              <a:defRPr lang="en-CA" sz="120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24" name="Date Placeholder 3"/>
          <p:cNvSpPr>
            <a:spLocks noGrp="1"/>
          </p:cNvSpPr>
          <p:nvPr>
            <p:ph type="dt" sz="half" idx="2"/>
          </p:nvPr>
        </p:nvSpPr>
        <p:spPr>
          <a:xfrm>
            <a:off x="4598624" y="6432462"/>
            <a:ext cx="1671207" cy="182880"/>
          </a:xfrm>
          <a:prstGeom prst="rect">
            <a:avLst/>
          </a:prstGeom>
        </p:spPr>
        <p:txBody>
          <a:bodyPr vert="horz" lIns="0" tIns="0" rIns="0" bIns="0" rtlCol="0" anchor="t" anchorCtr="0">
            <a:noAutofit/>
          </a:bodyPr>
          <a:lstStyle>
            <a:lvl1pPr algn="l">
              <a:defRPr sz="1000">
                <a:solidFill>
                  <a:schemeClr val="accent2"/>
                </a:solidFill>
              </a:defRPr>
            </a:lvl1pPr>
          </a:lstStyle>
          <a:p>
            <a:fld id="{73E9B7D7-A302-4BAC-9579-912F1E56C5ED}" type="datetime4">
              <a:rPr lang="en-US" smtClean="0"/>
              <a:t>October 18, 2021</a:t>
            </a:fld>
            <a:endParaRPr lang="en-CA" dirty="0"/>
          </a:p>
        </p:txBody>
      </p:sp>
      <p:sp>
        <p:nvSpPr>
          <p:cNvPr id="25" name="Footer Placeholder 7"/>
          <p:cNvSpPr>
            <a:spLocks noGrp="1"/>
          </p:cNvSpPr>
          <p:nvPr>
            <p:ph type="ftr" sz="quarter" idx="27"/>
          </p:nvPr>
        </p:nvSpPr>
        <p:spPr>
          <a:xfrm>
            <a:off x="1269205" y="6432462"/>
            <a:ext cx="3229587" cy="182880"/>
          </a:xfrm>
          <a:prstGeom prst="rect">
            <a:avLst/>
          </a:prstGeom>
        </p:spPr>
        <p:txBody>
          <a:bodyPr vert="horz" lIns="0" tIns="0" rIns="0" bIns="0" rtlCol="0" anchor="t" anchorCtr="0"/>
          <a:lstStyle>
            <a:lvl1pPr algn="r">
              <a:defRPr sz="1000">
                <a:solidFill>
                  <a:schemeClr val="tx1"/>
                </a:solidFill>
              </a:defRPr>
            </a:lvl1pPr>
          </a:lstStyle>
          <a:p>
            <a:endParaRPr lang="en-US" dirty="0"/>
          </a:p>
        </p:txBody>
      </p:sp>
    </p:spTree>
    <p:extLst>
      <p:ext uri="{BB962C8B-B14F-4D97-AF65-F5344CB8AC3E}">
        <p14:creationId xmlns:p14="http://schemas.microsoft.com/office/powerpoint/2010/main" val="39153879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torytelling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7F624BD-8E2E-4662-B3C4-1C765576FDCD}" type="datetime4">
              <a:rPr lang="en-US" smtClean="0"/>
              <a:t>October 18, 2021</a:t>
            </a:fld>
            <a:endParaRPr lang="en-CA" dirty="0"/>
          </a:p>
        </p:txBody>
      </p:sp>
      <p:sp>
        <p:nvSpPr>
          <p:cNvPr id="4" name="Slide Number Placeholder 3"/>
          <p:cNvSpPr>
            <a:spLocks noGrp="1"/>
          </p:cNvSpPr>
          <p:nvPr>
            <p:ph type="sldNum" sz="quarter" idx="11"/>
          </p:nvPr>
        </p:nvSpPr>
        <p:spPr/>
        <p:txBody>
          <a:bodyPr/>
          <a:lstStyle/>
          <a:p>
            <a:fld id="{00E6A5BD-C011-4A45-AA3A-201790FB7F2B}" type="slidenum">
              <a:rPr lang="en-CA" smtClean="0"/>
              <a:pPr/>
              <a:t>‹#›</a:t>
            </a:fld>
            <a:endParaRPr lang="en-CA" dirty="0"/>
          </a:p>
        </p:txBody>
      </p:sp>
      <p:sp>
        <p:nvSpPr>
          <p:cNvPr id="5" name="Footer Placeholder 4"/>
          <p:cNvSpPr>
            <a:spLocks noGrp="1"/>
          </p:cNvSpPr>
          <p:nvPr>
            <p:ph type="ftr" sz="quarter" idx="12"/>
          </p:nvPr>
        </p:nvSpPr>
        <p:spPr/>
        <p:txBody>
          <a:bodyPr/>
          <a:lstStyle/>
          <a:p>
            <a:endParaRPr lang="en-US" dirty="0"/>
          </a:p>
        </p:txBody>
      </p:sp>
      <p:sp>
        <p:nvSpPr>
          <p:cNvPr id="6" name="Content Placeholder 2"/>
          <p:cNvSpPr>
            <a:spLocks noGrp="1"/>
          </p:cNvSpPr>
          <p:nvPr>
            <p:ph idx="1"/>
          </p:nvPr>
        </p:nvSpPr>
        <p:spPr>
          <a:xfrm>
            <a:off x="495300" y="1603166"/>
            <a:ext cx="11201400" cy="4319584"/>
          </a:xfrm>
        </p:spPr>
        <p:txBody>
          <a:bodyPr/>
          <a:lstStyle>
            <a:lvl1pPr>
              <a:defRPr sz="2800">
                <a:solidFill>
                  <a:schemeClr val="accent3"/>
                </a:solidFill>
              </a:defRPr>
            </a:lvl1pPr>
            <a:lvl2pPr marL="237744" indent="-182880">
              <a:defRPr sz="2600"/>
            </a:lvl2pPr>
          </a:lstStyle>
          <a:p>
            <a:pPr lvl="0"/>
            <a:r>
              <a:rPr lang="en-US"/>
              <a:t>Edit Master text styles</a:t>
            </a:r>
          </a:p>
          <a:p>
            <a:pPr lvl="1"/>
            <a:r>
              <a:rPr lang="en-US"/>
              <a:t>Second level</a:t>
            </a:r>
          </a:p>
        </p:txBody>
      </p:sp>
    </p:spTree>
    <p:extLst>
      <p:ext uri="{BB962C8B-B14F-4D97-AF65-F5344CB8AC3E}">
        <p14:creationId xmlns:p14="http://schemas.microsoft.com/office/powerpoint/2010/main" val="3814075445"/>
      </p:ext>
    </p:extLst>
  </p:cSld>
  <p:clrMapOvr>
    <a:masterClrMapping/>
  </p:clrMapOvr>
  <p:extLst>
    <p:ext uri="{DCECCB84-F9BA-43D5-87BE-67443E8EF086}">
      <p15:sldGuideLst xmlns:p15="http://schemas.microsoft.com/office/powerpoint/2012/main">
        <p15:guide id="1" orient="horz" pos="105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Text Heavy 1-Line">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670236"/>
            <a:ext cx="11201400" cy="4310062"/>
          </a:xfrm>
        </p:spPr>
        <p:txBody>
          <a:bodyPr vert="horz" lIns="0" tIns="0" rIns="0" bIns="0" rtlCol="0">
            <a:noAutofit/>
          </a:bodyPr>
          <a:lstStyle>
            <a:lvl1pPr>
              <a:spcAft>
                <a:spcPts val="0"/>
              </a:spcAft>
              <a:defRPr lang="en-US" sz="2200" dirty="0" smtClean="0">
                <a:solidFill>
                  <a:schemeClr val="accent3"/>
                </a:solidFill>
              </a:defRPr>
            </a:lvl1pPr>
            <a:lvl2pPr marL="219456" indent="-164592">
              <a:defRPr lang="en-US" sz="2000" dirty="0" smtClean="0"/>
            </a:lvl2pPr>
            <a:lvl3pPr marL="400050" indent="-195263">
              <a:defRPr lang="en-US" sz="1800" dirty="0" smtClean="0"/>
            </a:lvl3pPr>
          </a:lstStyle>
          <a:p>
            <a:pPr lvl="0"/>
            <a:r>
              <a:rPr lang="en-US"/>
              <a:t>Edit Master text styles</a:t>
            </a:r>
          </a:p>
          <a:p>
            <a:pPr lvl="1"/>
            <a:r>
              <a:rPr lang="en-US"/>
              <a:t>Second level</a:t>
            </a:r>
          </a:p>
          <a:p>
            <a:pPr lvl="2"/>
            <a:r>
              <a:rPr lang="en-US"/>
              <a:t>Third level</a:t>
            </a:r>
          </a:p>
        </p:txBody>
      </p:sp>
      <p:sp>
        <p:nvSpPr>
          <p:cNvPr id="7" name="Title 1"/>
          <p:cNvSpPr>
            <a:spLocks noGrp="1"/>
          </p:cNvSpPr>
          <p:nvPr>
            <p:ph type="title" hasCustomPrompt="1"/>
          </p:nvPr>
        </p:nvSpPr>
        <p:spPr>
          <a:xfrm>
            <a:off x="495300" y="510063"/>
            <a:ext cx="11201400" cy="914400"/>
          </a:xfrm>
        </p:spPr>
        <p:txBody>
          <a:bodyPr/>
          <a:lstStyle>
            <a:lvl1pPr>
              <a:defRPr/>
            </a:lvl1pPr>
          </a:lstStyle>
          <a:p>
            <a:r>
              <a:rPr lang="en-US" dirty="0">
                <a:solidFill>
                  <a:srgbClr val="63666A"/>
                </a:solidFill>
              </a:rPr>
              <a:t>Title and Content Text Heavy</a:t>
            </a:r>
          </a:p>
        </p:txBody>
      </p:sp>
      <p:sp>
        <p:nvSpPr>
          <p:cNvPr id="9" name="Slide Number Placeholder 5"/>
          <p:cNvSpPr>
            <a:spLocks noGrp="1"/>
          </p:cNvSpPr>
          <p:nvPr>
            <p:ph type="sldNum" sz="quarter" idx="4"/>
          </p:nvPr>
        </p:nvSpPr>
        <p:spPr>
          <a:xfrm>
            <a:off x="11371032" y="6432462"/>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CA" smtClean="0"/>
              <a:pPr/>
              <a:t>‹#›</a:t>
            </a:fld>
            <a:endParaRPr lang="en-CA" dirty="0"/>
          </a:p>
        </p:txBody>
      </p:sp>
      <p:sp>
        <p:nvSpPr>
          <p:cNvPr id="11" name="Date Placeholder 3"/>
          <p:cNvSpPr>
            <a:spLocks noGrp="1"/>
          </p:cNvSpPr>
          <p:nvPr>
            <p:ph type="dt" sz="half" idx="2"/>
          </p:nvPr>
        </p:nvSpPr>
        <p:spPr>
          <a:xfrm>
            <a:off x="4598624" y="6432462"/>
            <a:ext cx="1671207" cy="182880"/>
          </a:xfrm>
          <a:prstGeom prst="rect">
            <a:avLst/>
          </a:prstGeom>
        </p:spPr>
        <p:txBody>
          <a:bodyPr vert="horz" lIns="0" tIns="0" rIns="0" bIns="0" rtlCol="0" anchor="t" anchorCtr="0">
            <a:noAutofit/>
          </a:bodyPr>
          <a:lstStyle>
            <a:lvl1pPr algn="l">
              <a:defRPr sz="1000">
                <a:solidFill>
                  <a:schemeClr val="accent2"/>
                </a:solidFill>
              </a:defRPr>
            </a:lvl1pPr>
          </a:lstStyle>
          <a:p>
            <a:fld id="{03FF6F96-D992-40FA-AC18-B40519FCC84F}" type="datetime4">
              <a:rPr lang="en-US" smtClean="0"/>
              <a:t>October 18, 2021</a:t>
            </a:fld>
            <a:endParaRPr lang="en-CA" dirty="0"/>
          </a:p>
        </p:txBody>
      </p:sp>
      <p:sp>
        <p:nvSpPr>
          <p:cNvPr id="12" name="Footer Placeholder 7"/>
          <p:cNvSpPr>
            <a:spLocks noGrp="1"/>
          </p:cNvSpPr>
          <p:nvPr>
            <p:ph type="ftr" sz="quarter" idx="3"/>
          </p:nvPr>
        </p:nvSpPr>
        <p:spPr>
          <a:xfrm>
            <a:off x="1269205" y="6432462"/>
            <a:ext cx="3229587" cy="182880"/>
          </a:xfrm>
          <a:prstGeom prst="rect">
            <a:avLst/>
          </a:prstGeom>
        </p:spPr>
        <p:txBody>
          <a:bodyPr vert="horz" lIns="0" tIns="0" rIns="0" bIns="0" rtlCol="0" anchor="t" anchorCtr="0"/>
          <a:lstStyle>
            <a:lvl1pPr algn="r">
              <a:defRPr sz="1000">
                <a:solidFill>
                  <a:schemeClr val="tx1"/>
                </a:solidFill>
              </a:defRPr>
            </a:lvl1pPr>
          </a:lstStyle>
          <a:p>
            <a:endParaRPr lang="en-US" dirty="0"/>
          </a:p>
        </p:txBody>
      </p:sp>
    </p:spTree>
    <p:extLst>
      <p:ext uri="{BB962C8B-B14F-4D97-AF65-F5344CB8AC3E}">
        <p14:creationId xmlns:p14="http://schemas.microsoft.com/office/powerpoint/2010/main" val="2613636209"/>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300" y="450166"/>
            <a:ext cx="11227308" cy="1645920"/>
          </a:xfrm>
        </p:spPr>
        <p:txBody>
          <a:bodyPr/>
          <a:lstStyle>
            <a:lvl1pPr>
              <a:lnSpc>
                <a:spcPct val="85000"/>
              </a:lnSpc>
              <a:defRPr sz="6000"/>
            </a:lvl1pPr>
          </a:lstStyle>
          <a:p>
            <a:r>
              <a:rPr lang="en-US" dirty="0"/>
              <a:t>Big Title Text</a:t>
            </a:r>
          </a:p>
        </p:txBody>
      </p:sp>
      <p:sp>
        <p:nvSpPr>
          <p:cNvPr id="3" name="Content Placeholder 2"/>
          <p:cNvSpPr>
            <a:spLocks noGrp="1"/>
          </p:cNvSpPr>
          <p:nvPr>
            <p:ph idx="1"/>
          </p:nvPr>
        </p:nvSpPr>
        <p:spPr>
          <a:xfrm>
            <a:off x="495300" y="2327510"/>
            <a:ext cx="11227308" cy="3749040"/>
          </a:xfrm>
        </p:spPr>
        <p:txBody>
          <a:bodyPr/>
          <a:lstStyle>
            <a:lvl1pPr>
              <a:defRPr sz="3000">
                <a:solidFill>
                  <a:schemeClr val="accent3"/>
                </a:solidFill>
              </a:defRPr>
            </a:lvl1pPr>
            <a:lvl2pPr>
              <a:defRPr>
                <a:solidFill>
                  <a:schemeClr val="tx1"/>
                </a:solidFill>
              </a:defRPr>
            </a:lvl2pPr>
            <a:lvl3pPr>
              <a:defRPr>
                <a:solidFill>
                  <a:schemeClr val="tx1"/>
                </a:solidFill>
              </a:defRPr>
            </a:lvl3pPr>
            <a:lvl4pPr>
              <a:defRPr sz="1600">
                <a:solidFill>
                  <a:schemeClr val="tx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0" name="Slide Number Placeholder 5"/>
          <p:cNvSpPr>
            <a:spLocks noGrp="1"/>
          </p:cNvSpPr>
          <p:nvPr>
            <p:ph type="sldNum" sz="quarter" idx="4"/>
          </p:nvPr>
        </p:nvSpPr>
        <p:spPr>
          <a:xfrm>
            <a:off x="11371032" y="6432462"/>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CA" smtClean="0"/>
              <a:pPr/>
              <a:t>‹#›</a:t>
            </a:fld>
            <a:endParaRPr lang="en-CA" dirty="0"/>
          </a:p>
        </p:txBody>
      </p:sp>
      <p:sp>
        <p:nvSpPr>
          <p:cNvPr id="7" name="Date Placeholder 3"/>
          <p:cNvSpPr>
            <a:spLocks noGrp="1"/>
          </p:cNvSpPr>
          <p:nvPr>
            <p:ph type="dt" sz="half" idx="2"/>
          </p:nvPr>
        </p:nvSpPr>
        <p:spPr>
          <a:xfrm>
            <a:off x="4598624" y="6432462"/>
            <a:ext cx="1671207" cy="182880"/>
          </a:xfrm>
          <a:prstGeom prst="rect">
            <a:avLst/>
          </a:prstGeom>
        </p:spPr>
        <p:txBody>
          <a:bodyPr vert="horz" lIns="0" tIns="0" rIns="0" bIns="0" rtlCol="0" anchor="t" anchorCtr="0">
            <a:noAutofit/>
          </a:bodyPr>
          <a:lstStyle>
            <a:lvl1pPr algn="l">
              <a:defRPr sz="1000">
                <a:solidFill>
                  <a:schemeClr val="accent2"/>
                </a:solidFill>
              </a:defRPr>
            </a:lvl1pPr>
          </a:lstStyle>
          <a:p>
            <a:fld id="{50A26F28-6B41-43B4-8106-8B405D8BB470}" type="datetime4">
              <a:rPr lang="en-US" smtClean="0"/>
              <a:t>October 18, 2021</a:t>
            </a:fld>
            <a:endParaRPr lang="en-CA" dirty="0"/>
          </a:p>
        </p:txBody>
      </p:sp>
      <p:sp>
        <p:nvSpPr>
          <p:cNvPr id="8" name="Footer Placeholder 7"/>
          <p:cNvSpPr>
            <a:spLocks noGrp="1"/>
          </p:cNvSpPr>
          <p:nvPr>
            <p:ph type="ftr" sz="quarter" idx="3"/>
          </p:nvPr>
        </p:nvSpPr>
        <p:spPr>
          <a:xfrm>
            <a:off x="1269205" y="6432462"/>
            <a:ext cx="3229587" cy="182880"/>
          </a:xfrm>
          <a:prstGeom prst="rect">
            <a:avLst/>
          </a:prstGeom>
        </p:spPr>
        <p:txBody>
          <a:bodyPr vert="horz" lIns="0" tIns="0" rIns="0" bIns="0" rtlCol="0" anchor="t" anchorCtr="0"/>
          <a:lstStyle>
            <a:lvl1pPr algn="r">
              <a:defRPr sz="1000">
                <a:solidFill>
                  <a:schemeClr val="tx1"/>
                </a:solidFill>
              </a:defRPr>
            </a:lvl1pPr>
          </a:lstStyle>
          <a:p>
            <a:endParaRPr lang="en-US" dirty="0"/>
          </a:p>
        </p:txBody>
      </p:sp>
    </p:spTree>
    <p:extLst>
      <p:ext uri="{BB962C8B-B14F-4D97-AF65-F5344CB8AC3E}">
        <p14:creationId xmlns:p14="http://schemas.microsoft.com/office/powerpoint/2010/main" val="35979569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wo Statem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auto">
          <a:xfrm>
            <a:off x="495300" y="458076"/>
            <a:ext cx="5655243" cy="5614416"/>
          </a:xfrm>
        </p:spPr>
        <p:txBody>
          <a:bodyPr anchor="t" anchorCtr="0"/>
          <a:lstStyle>
            <a:lvl1pPr>
              <a:lnSpc>
                <a:spcPct val="90000"/>
              </a:lnSpc>
              <a:defRPr sz="4400">
                <a:solidFill>
                  <a:schemeClr val="tx1"/>
                </a:solidFill>
              </a:defRPr>
            </a:lvl1pPr>
          </a:lstStyle>
          <a:p>
            <a:r>
              <a:rPr lang="en-US" dirty="0"/>
              <a:t>Two Statements</a:t>
            </a:r>
          </a:p>
        </p:txBody>
      </p:sp>
      <p:sp>
        <p:nvSpPr>
          <p:cNvPr id="3" name="Subtitle 2"/>
          <p:cNvSpPr>
            <a:spLocks noGrp="1"/>
          </p:cNvSpPr>
          <p:nvPr>
            <p:ph type="subTitle" idx="1" hasCustomPrompt="1"/>
          </p:nvPr>
        </p:nvSpPr>
        <p:spPr bwMode="invGray">
          <a:xfrm>
            <a:off x="6478290" y="458076"/>
            <a:ext cx="5222378" cy="5614416"/>
          </a:xfrm>
        </p:spPr>
        <p:txBody>
          <a:bodyPr/>
          <a:lstStyle>
            <a:lvl1pPr marL="0" indent="0" algn="l">
              <a:lnSpc>
                <a:spcPct val="100000"/>
              </a:lnSpc>
              <a:buNone/>
              <a:defRPr sz="2000" baseline="0">
                <a:solidFill>
                  <a:schemeClr val="accent3"/>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dditional statement goes here</a:t>
            </a:r>
          </a:p>
        </p:txBody>
      </p:sp>
      <p:sp>
        <p:nvSpPr>
          <p:cNvPr id="4" name="Date Placeholder 3"/>
          <p:cNvSpPr>
            <a:spLocks noGrp="1"/>
          </p:cNvSpPr>
          <p:nvPr>
            <p:ph type="dt" sz="half" idx="10"/>
          </p:nvPr>
        </p:nvSpPr>
        <p:spPr/>
        <p:txBody>
          <a:bodyPr/>
          <a:lstStyle/>
          <a:p>
            <a:fld id="{0E4672EC-9335-448D-8FBF-1FB0446FC985}" type="datetime4">
              <a:rPr lang="en-US" smtClean="0"/>
              <a:t>October 18, 2021</a:t>
            </a:fld>
            <a:endParaRPr lang="en-CA" dirty="0"/>
          </a:p>
        </p:txBody>
      </p:sp>
      <p:sp>
        <p:nvSpPr>
          <p:cNvPr id="5" name="Footer Placeholder 4"/>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19259212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alf Text - Half Imag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51415" y="1930688"/>
            <a:ext cx="5245285" cy="4165312"/>
          </a:xfrm>
        </p:spPr>
        <p:txBody>
          <a:bodyPr vert="horz" lIns="0" tIns="0" rIns="0" bIns="0" rtlCol="0">
            <a:noAutofit/>
          </a:bodyPr>
          <a:lstStyle>
            <a:lvl1pPr>
              <a:defRPr lang="en-US" sz="2800" dirty="0" smtClean="0">
                <a:solidFill>
                  <a:schemeClr val="accent3"/>
                </a:solidFill>
              </a:defRPr>
            </a:lvl1pPr>
            <a:lvl2pPr>
              <a:defRPr lang="en-US" sz="2400" dirty="0" smtClean="0"/>
            </a:lvl2pPr>
            <a:lvl3pPr>
              <a:defRPr lang="en-US" sz="2000" dirty="0" smtClean="0"/>
            </a:lvl3pPr>
            <a:lvl4pPr marL="658368" indent="-146304">
              <a:defRPr lang="en-US" sz="1600" dirty="0" smtClean="0"/>
            </a:lvl4pPr>
          </a:lstStyle>
          <a:p>
            <a:pPr lvl="0">
              <a:spcBef>
                <a:spcPts val="1000"/>
              </a:spcBef>
            </a:pPr>
            <a:r>
              <a:rPr lang="en-US"/>
              <a:t>Edit Master text styles</a:t>
            </a:r>
          </a:p>
          <a:p>
            <a:pPr lvl="1">
              <a:spcBef>
                <a:spcPts val="1000"/>
              </a:spcBef>
            </a:pPr>
            <a:r>
              <a:rPr lang="en-US"/>
              <a:t>Second level</a:t>
            </a:r>
          </a:p>
          <a:p>
            <a:pPr lvl="2">
              <a:spcBef>
                <a:spcPts val="1000"/>
              </a:spcBef>
            </a:pPr>
            <a:r>
              <a:rPr lang="en-US"/>
              <a:t>Third level</a:t>
            </a:r>
          </a:p>
          <a:p>
            <a:pPr lvl="3">
              <a:spcBef>
                <a:spcPts val="1000"/>
              </a:spcBef>
            </a:pPr>
            <a:r>
              <a:rPr lang="en-US"/>
              <a:t>Fourth level</a:t>
            </a:r>
          </a:p>
        </p:txBody>
      </p:sp>
      <p:sp>
        <p:nvSpPr>
          <p:cNvPr id="11" name="Picture Placeholder 10"/>
          <p:cNvSpPr>
            <a:spLocks noGrp="1"/>
          </p:cNvSpPr>
          <p:nvPr>
            <p:ph type="pic" sz="quarter" idx="13" hasCustomPrompt="1"/>
          </p:nvPr>
        </p:nvSpPr>
        <p:spPr>
          <a:xfrm>
            <a:off x="495300" y="1930688"/>
            <a:ext cx="5220727" cy="4149582"/>
          </a:xfrm>
          <a:solidFill>
            <a:schemeClr val="bg1">
              <a:lumMod val="95000"/>
            </a:schemeClr>
          </a:solidFill>
        </p:spPr>
        <p:txBody>
          <a:bodyPr anchor="ctr"/>
          <a:lstStyle>
            <a:lvl1pPr algn="ctr">
              <a:defRPr/>
            </a:lvl1pPr>
          </a:lstStyle>
          <a:p>
            <a:r>
              <a:rPr lang="en-US" dirty="0"/>
              <a:t>Click to add image</a:t>
            </a:r>
          </a:p>
        </p:txBody>
      </p:sp>
      <p:sp>
        <p:nvSpPr>
          <p:cNvPr id="9" name="Text Placeholder 2"/>
          <p:cNvSpPr>
            <a:spLocks noGrp="1"/>
          </p:cNvSpPr>
          <p:nvPr>
            <p:ph type="body" idx="14" hasCustomPrompt="1"/>
          </p:nvPr>
        </p:nvSpPr>
        <p:spPr>
          <a:xfrm>
            <a:off x="494170" y="1621671"/>
            <a:ext cx="5221858" cy="233910"/>
          </a:xfrm>
        </p:spPr>
        <p:txBody>
          <a:bodyPr vert="horz" wrap="square" lIns="0" tIns="0" rIns="0" bIns="0" rtlCol="0" anchor="b" anchorCtr="0">
            <a:spAutoFit/>
          </a:bodyPr>
          <a:lstStyle>
            <a:lvl1pPr>
              <a:defRPr lang="en-US" sz="1600" b="1" dirty="0" smtClean="0">
                <a:solidFill>
                  <a:schemeClr val="accent3"/>
                </a:solidFill>
              </a:defRPr>
            </a:lvl1pPr>
          </a:lstStyle>
          <a:p>
            <a:pPr lvl="0"/>
            <a:r>
              <a:rPr lang="en-US" dirty="0"/>
              <a:t>Optional Subtitle</a:t>
            </a:r>
          </a:p>
        </p:txBody>
      </p:sp>
      <p:sp>
        <p:nvSpPr>
          <p:cNvPr id="4" name="Title 3"/>
          <p:cNvSpPr>
            <a:spLocks noGrp="1"/>
          </p:cNvSpPr>
          <p:nvPr>
            <p:ph type="title" hasCustomPrompt="1"/>
          </p:nvPr>
        </p:nvSpPr>
        <p:spPr/>
        <p:txBody>
          <a:bodyPr/>
          <a:lstStyle>
            <a:lvl1pPr>
              <a:defRPr/>
            </a:lvl1pPr>
          </a:lstStyle>
          <a:p>
            <a:r>
              <a:rPr lang="en-US" dirty="0"/>
              <a:t>Half Text – Half Image</a:t>
            </a:r>
          </a:p>
        </p:txBody>
      </p:sp>
      <p:sp>
        <p:nvSpPr>
          <p:cNvPr id="15" name="Slide Number Placeholder 5"/>
          <p:cNvSpPr>
            <a:spLocks noGrp="1"/>
          </p:cNvSpPr>
          <p:nvPr>
            <p:ph type="sldNum" sz="quarter" idx="4"/>
          </p:nvPr>
        </p:nvSpPr>
        <p:spPr>
          <a:xfrm>
            <a:off x="11371032" y="6432462"/>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CA" smtClean="0"/>
              <a:pPr/>
              <a:t>‹#›</a:t>
            </a:fld>
            <a:endParaRPr lang="en-CA" dirty="0"/>
          </a:p>
        </p:txBody>
      </p:sp>
      <p:sp>
        <p:nvSpPr>
          <p:cNvPr id="10" name="Date Placeholder 3"/>
          <p:cNvSpPr>
            <a:spLocks noGrp="1"/>
          </p:cNvSpPr>
          <p:nvPr>
            <p:ph type="dt" sz="half" idx="2"/>
          </p:nvPr>
        </p:nvSpPr>
        <p:spPr>
          <a:xfrm>
            <a:off x="4598624" y="6432462"/>
            <a:ext cx="1671207" cy="182880"/>
          </a:xfrm>
          <a:prstGeom prst="rect">
            <a:avLst/>
          </a:prstGeom>
        </p:spPr>
        <p:txBody>
          <a:bodyPr vert="horz" lIns="0" tIns="0" rIns="0" bIns="0" rtlCol="0" anchor="t" anchorCtr="0">
            <a:noAutofit/>
          </a:bodyPr>
          <a:lstStyle>
            <a:lvl1pPr algn="l">
              <a:defRPr sz="1000">
                <a:solidFill>
                  <a:schemeClr val="accent2"/>
                </a:solidFill>
              </a:defRPr>
            </a:lvl1pPr>
          </a:lstStyle>
          <a:p>
            <a:fld id="{1B05F9E7-AE8A-4B83-B2C7-5257563D69ED}" type="datetime4">
              <a:rPr lang="en-US" smtClean="0"/>
              <a:t>October 18, 2021</a:t>
            </a:fld>
            <a:endParaRPr lang="en-CA" dirty="0"/>
          </a:p>
        </p:txBody>
      </p:sp>
      <p:sp>
        <p:nvSpPr>
          <p:cNvPr id="12" name="Footer Placeholder 7"/>
          <p:cNvSpPr>
            <a:spLocks noGrp="1"/>
          </p:cNvSpPr>
          <p:nvPr>
            <p:ph type="ftr" sz="quarter" idx="3"/>
          </p:nvPr>
        </p:nvSpPr>
        <p:spPr>
          <a:xfrm>
            <a:off x="1269205" y="6432462"/>
            <a:ext cx="3229587" cy="182880"/>
          </a:xfrm>
          <a:prstGeom prst="rect">
            <a:avLst/>
          </a:prstGeom>
        </p:spPr>
        <p:txBody>
          <a:bodyPr vert="horz" lIns="0" tIns="0" rIns="0" bIns="0" rtlCol="0" anchor="t" anchorCtr="0"/>
          <a:lstStyle>
            <a:lvl1pPr algn="r">
              <a:defRPr sz="1000">
                <a:solidFill>
                  <a:schemeClr val="tx1"/>
                </a:solidFill>
              </a:defRPr>
            </a:lvl1pPr>
          </a:lstStyle>
          <a:p>
            <a:endParaRPr lang="en-US" dirty="0"/>
          </a:p>
        </p:txBody>
      </p:sp>
    </p:spTree>
    <p:extLst>
      <p:ext uri="{BB962C8B-B14F-4D97-AF65-F5344CB8AC3E}">
        <p14:creationId xmlns:p14="http://schemas.microsoft.com/office/powerpoint/2010/main" val="33768357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Divider Dark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bg1"/>
                </a:solidFill>
              </a:defRPr>
            </a:lvl1pPr>
          </a:lstStyle>
          <a:p>
            <a:r>
              <a:rPr lang="en-US" dirty="0"/>
              <a:t>Section Divider Dark Image Layout</a:t>
            </a:r>
            <a:endParaRPr lang="en-CA" dirty="0"/>
          </a:p>
        </p:txBody>
      </p:sp>
    </p:spTree>
    <p:extLst>
      <p:ext uri="{BB962C8B-B14F-4D97-AF65-F5344CB8AC3E}">
        <p14:creationId xmlns:p14="http://schemas.microsoft.com/office/powerpoint/2010/main" val="21878233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w/ Title &amp; Footer">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495300" y="1929382"/>
            <a:ext cx="11201400" cy="4166617"/>
          </a:xfrm>
          <a:solidFill>
            <a:schemeClr val="bg1">
              <a:lumMod val="95000"/>
            </a:schemeClr>
          </a:solidFill>
        </p:spPr>
        <p:txBody>
          <a:bodyPr anchor="ctr"/>
          <a:lstStyle>
            <a:lvl1pPr algn="ctr">
              <a:defRPr/>
            </a:lvl1pPr>
          </a:lstStyle>
          <a:p>
            <a:r>
              <a:rPr lang="en-US" dirty="0"/>
              <a:t>Click to add image</a:t>
            </a:r>
          </a:p>
        </p:txBody>
      </p:sp>
      <p:sp>
        <p:nvSpPr>
          <p:cNvPr id="9" name="Text Placeholder 8"/>
          <p:cNvSpPr>
            <a:spLocks noGrp="1"/>
          </p:cNvSpPr>
          <p:nvPr>
            <p:ph type="body" sz="quarter" idx="14" hasCustomPrompt="1"/>
          </p:nvPr>
        </p:nvSpPr>
        <p:spPr bwMode="gray">
          <a:xfrm>
            <a:off x="712381" y="2362364"/>
            <a:ext cx="10781414" cy="1395412"/>
          </a:xfrm>
        </p:spPr>
        <p:txBody>
          <a:bodyPr/>
          <a:lstStyle>
            <a:lvl1pPr>
              <a:defRPr sz="3200" baseline="0"/>
            </a:lvl1pPr>
          </a:lstStyle>
          <a:p>
            <a:pPr lvl="0"/>
            <a:r>
              <a:rPr lang="en-US" dirty="0"/>
              <a:t>Click to add text over image. White or gray only. 32pt flexible positioning. Delete if not needed.</a:t>
            </a:r>
          </a:p>
        </p:txBody>
      </p:sp>
      <p:sp>
        <p:nvSpPr>
          <p:cNvPr id="3" name="Date Placeholder 2"/>
          <p:cNvSpPr>
            <a:spLocks noGrp="1"/>
          </p:cNvSpPr>
          <p:nvPr>
            <p:ph type="dt" sz="half" idx="15"/>
          </p:nvPr>
        </p:nvSpPr>
        <p:spPr/>
        <p:txBody>
          <a:bodyPr/>
          <a:lstStyle/>
          <a:p>
            <a:fld id="{96589ABA-AD83-46F7-94AC-5DC04F8E6D90}" type="datetime4">
              <a:rPr lang="en-US" smtClean="0"/>
              <a:t>October 18, 2021</a:t>
            </a:fld>
            <a:endParaRPr lang="en-CA" dirty="0"/>
          </a:p>
        </p:txBody>
      </p:sp>
      <p:sp>
        <p:nvSpPr>
          <p:cNvPr id="4" name="Footer Placeholder 3"/>
          <p:cNvSpPr>
            <a:spLocks noGrp="1"/>
          </p:cNvSpPr>
          <p:nvPr>
            <p:ph type="ftr" sz="quarter" idx="16"/>
          </p:nvPr>
        </p:nvSpPr>
        <p:spPr/>
        <p:txBody>
          <a:bodyPr/>
          <a:lstStyle/>
          <a:p>
            <a:endParaRPr lang="en-US" dirty="0"/>
          </a:p>
        </p:txBody>
      </p:sp>
      <p:sp>
        <p:nvSpPr>
          <p:cNvPr id="5" name="Slide Number Placeholder 4"/>
          <p:cNvSpPr>
            <a:spLocks noGrp="1"/>
          </p:cNvSpPr>
          <p:nvPr>
            <p:ph type="sldNum" sz="quarter" idx="17"/>
          </p:nvPr>
        </p:nvSpPr>
        <p:spPr/>
        <p:txBody>
          <a:bodyPr/>
          <a:lstStyle/>
          <a:p>
            <a:fld id="{00E6A5BD-C011-4A45-AA3A-201790FB7F2B}" type="slidenum">
              <a:rPr lang="en-CA" smtClean="0"/>
              <a:pPr/>
              <a:t>‹#›</a:t>
            </a:fld>
            <a:endParaRPr lang="en-CA" dirty="0"/>
          </a:p>
        </p:txBody>
      </p:sp>
      <p:sp>
        <p:nvSpPr>
          <p:cNvPr id="6" name="Title 5"/>
          <p:cNvSpPr>
            <a:spLocks noGrp="1"/>
          </p:cNvSpPr>
          <p:nvPr>
            <p:ph type="title" hasCustomPrompt="1"/>
          </p:nvPr>
        </p:nvSpPr>
        <p:spPr>
          <a:xfrm>
            <a:off x="495300" y="510063"/>
            <a:ext cx="11201400" cy="914400"/>
          </a:xfrm>
        </p:spPr>
        <p:txBody>
          <a:bodyPr/>
          <a:lstStyle>
            <a:lvl1pPr>
              <a:defRPr/>
            </a:lvl1pPr>
          </a:lstStyle>
          <a:p>
            <a:r>
              <a:rPr lang="en-US" dirty="0"/>
              <a:t>Image w/ Title and Footer</a:t>
            </a:r>
          </a:p>
        </p:txBody>
      </p:sp>
      <p:sp>
        <p:nvSpPr>
          <p:cNvPr id="8" name="Text Placeholder 2"/>
          <p:cNvSpPr>
            <a:spLocks noGrp="1"/>
          </p:cNvSpPr>
          <p:nvPr>
            <p:ph type="body" idx="18" hasCustomPrompt="1"/>
          </p:nvPr>
        </p:nvSpPr>
        <p:spPr>
          <a:xfrm>
            <a:off x="495300" y="1621673"/>
            <a:ext cx="4966221" cy="233910"/>
          </a:xfrm>
        </p:spPr>
        <p:txBody>
          <a:bodyPr vert="horz" wrap="square" lIns="0" tIns="0" rIns="0" bIns="0" rtlCol="0" anchor="b" anchorCtr="0">
            <a:spAutoFit/>
          </a:bodyPr>
          <a:lstStyle>
            <a:lvl1pPr>
              <a:defRPr lang="en-US" sz="1600" b="1" dirty="0" smtClean="0">
                <a:solidFill>
                  <a:schemeClr val="accent3"/>
                </a:solidFill>
              </a:defRPr>
            </a:lvl1pPr>
          </a:lstStyle>
          <a:p>
            <a:pPr lvl="0"/>
            <a:r>
              <a:rPr lang="en-US" dirty="0"/>
              <a:t>Optional Subtitle</a:t>
            </a:r>
          </a:p>
        </p:txBody>
      </p:sp>
    </p:spTree>
    <p:extLst>
      <p:ext uri="{BB962C8B-B14F-4D97-AF65-F5344CB8AC3E}">
        <p14:creationId xmlns:p14="http://schemas.microsoft.com/office/powerpoint/2010/main" val="31507799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300" y="510063"/>
            <a:ext cx="11201400" cy="914400"/>
          </a:xfrm>
        </p:spPr>
        <p:txBody>
          <a:bodyPr/>
          <a:lstStyle>
            <a:lvl1pPr>
              <a:defRPr/>
            </a:lvl1pPr>
          </a:lstStyle>
          <a:p>
            <a:r>
              <a:rPr lang="en-US" dirty="0"/>
              <a:t>Quadrant</a:t>
            </a:r>
          </a:p>
        </p:txBody>
      </p:sp>
      <p:sp>
        <p:nvSpPr>
          <p:cNvPr id="12" name="Content Placeholder 2"/>
          <p:cNvSpPr>
            <a:spLocks noGrp="1"/>
          </p:cNvSpPr>
          <p:nvPr>
            <p:ph sz="half" idx="13"/>
          </p:nvPr>
        </p:nvSpPr>
        <p:spPr>
          <a:xfrm>
            <a:off x="6174068" y="1666276"/>
            <a:ext cx="5522632" cy="2084832"/>
          </a:xfrm>
          <a:solidFill>
            <a:schemeClr val="accent3"/>
          </a:solidFill>
        </p:spPr>
        <p:txBody>
          <a:bodyPr lIns="182880" tIns="137160" rIns="182880"/>
          <a:lstStyle>
            <a:lvl1pPr marL="176213" indent="-176213">
              <a:lnSpc>
                <a:spcPct val="95000"/>
              </a:lnSpc>
              <a:spcBef>
                <a:spcPts val="600"/>
              </a:spcBef>
              <a:spcAft>
                <a:spcPts val="200"/>
              </a:spcAft>
              <a:defRPr lang="en-US" sz="2000" dirty="0" smtClean="0">
                <a:solidFill>
                  <a:schemeClr val="bg1"/>
                </a:solidFill>
              </a:defRPr>
            </a:lvl1pPr>
            <a:lvl2pPr marL="176213" indent="-176213">
              <a:lnSpc>
                <a:spcPct val="95000"/>
              </a:lnSpc>
              <a:spcBef>
                <a:spcPts val="1000"/>
              </a:spcBef>
              <a:defRPr lang="en-US" sz="1600" kern="1200" dirty="0">
                <a:solidFill>
                  <a:schemeClr val="bg1"/>
                </a:solidFill>
                <a:latin typeface="+mn-lt"/>
                <a:ea typeface="+mn-ea"/>
                <a:cs typeface="+mn-cs"/>
              </a:defRPr>
            </a:lvl2pPr>
            <a:lvl3pPr marL="165100" indent="-165100">
              <a:defRPr lang="en-US" sz="1400" dirty="0" smtClean="0"/>
            </a:lvl3pPr>
            <a:lvl4pPr marL="311150" indent="-130175">
              <a:defRPr lang="en-US" sz="1400" dirty="0" smtClean="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13" name="Content Placeholder 2"/>
          <p:cNvSpPr>
            <a:spLocks noGrp="1"/>
          </p:cNvSpPr>
          <p:nvPr>
            <p:ph sz="half" idx="14"/>
          </p:nvPr>
        </p:nvSpPr>
        <p:spPr>
          <a:xfrm>
            <a:off x="495300" y="3932342"/>
            <a:ext cx="5495093" cy="2084832"/>
          </a:xfrm>
          <a:solidFill>
            <a:schemeClr val="accent3"/>
          </a:solidFill>
        </p:spPr>
        <p:txBody>
          <a:bodyPr lIns="182880" tIns="137160" rIns="182880"/>
          <a:lstStyle>
            <a:lvl1pPr marL="176213" indent="-176213">
              <a:lnSpc>
                <a:spcPct val="95000"/>
              </a:lnSpc>
              <a:spcBef>
                <a:spcPts val="600"/>
              </a:spcBef>
              <a:spcAft>
                <a:spcPts val="200"/>
              </a:spcAft>
              <a:defRPr lang="en-US" sz="2000" dirty="0" smtClean="0">
                <a:solidFill>
                  <a:schemeClr val="bg1"/>
                </a:solidFill>
              </a:defRPr>
            </a:lvl1pPr>
            <a:lvl2pPr marL="176213" indent="-176213">
              <a:lnSpc>
                <a:spcPct val="95000"/>
              </a:lnSpc>
              <a:spcBef>
                <a:spcPts val="1000"/>
              </a:spcBef>
              <a:defRPr lang="en-US" sz="1600" dirty="0" smtClean="0">
                <a:solidFill>
                  <a:schemeClr val="bg1"/>
                </a:solidFill>
              </a:defRPr>
            </a:lvl2pPr>
            <a:lvl3pPr marL="165100" indent="-165100">
              <a:defRPr lang="en-US" sz="1400" dirty="0" smtClean="0"/>
            </a:lvl3pPr>
            <a:lvl4pPr marL="311150" indent="-130175">
              <a:defRPr lang="en-US" sz="1400" dirty="0" smtClean="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14" name="Content Placeholder 2"/>
          <p:cNvSpPr>
            <a:spLocks noGrp="1"/>
          </p:cNvSpPr>
          <p:nvPr>
            <p:ph sz="half" idx="15"/>
          </p:nvPr>
        </p:nvSpPr>
        <p:spPr>
          <a:xfrm>
            <a:off x="6174068" y="3932342"/>
            <a:ext cx="5522632" cy="2084832"/>
          </a:xfrm>
          <a:solidFill>
            <a:schemeClr val="accent3"/>
          </a:solidFill>
        </p:spPr>
        <p:txBody>
          <a:bodyPr lIns="182880" tIns="137160" rIns="182880"/>
          <a:lstStyle>
            <a:lvl1pPr marL="176213" indent="-176213">
              <a:lnSpc>
                <a:spcPct val="95000"/>
              </a:lnSpc>
              <a:spcBef>
                <a:spcPts val="600"/>
              </a:spcBef>
              <a:spcAft>
                <a:spcPts val="200"/>
              </a:spcAft>
              <a:defRPr lang="en-US" sz="2000" dirty="0" smtClean="0">
                <a:solidFill>
                  <a:schemeClr val="bg1"/>
                </a:solidFill>
              </a:defRPr>
            </a:lvl1pPr>
            <a:lvl2pPr marL="176213" indent="-176213">
              <a:lnSpc>
                <a:spcPct val="95000"/>
              </a:lnSpc>
              <a:spcBef>
                <a:spcPts val="1000"/>
              </a:spcBef>
              <a:defRPr lang="en-US" sz="1600" kern="1200" dirty="0">
                <a:solidFill>
                  <a:schemeClr val="bg1"/>
                </a:solidFill>
                <a:latin typeface="+mn-lt"/>
                <a:ea typeface="+mn-ea"/>
                <a:cs typeface="+mn-cs"/>
              </a:defRPr>
            </a:lvl2pPr>
            <a:lvl3pPr marL="165100" indent="-165100">
              <a:defRPr lang="en-US" sz="1400" dirty="0" smtClean="0"/>
            </a:lvl3pPr>
            <a:lvl4pPr marL="311150" indent="-130175">
              <a:defRPr lang="en-US" sz="1400" dirty="0" smtClean="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17" name="Slide Number Placeholder 5"/>
          <p:cNvSpPr>
            <a:spLocks noGrp="1"/>
          </p:cNvSpPr>
          <p:nvPr>
            <p:ph type="sldNum" sz="quarter" idx="4"/>
          </p:nvPr>
        </p:nvSpPr>
        <p:spPr>
          <a:xfrm>
            <a:off x="11371032" y="6432462"/>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CA" smtClean="0"/>
              <a:pPr/>
              <a:t>‹#›</a:t>
            </a:fld>
            <a:endParaRPr lang="en-CA" dirty="0"/>
          </a:p>
        </p:txBody>
      </p:sp>
      <p:sp>
        <p:nvSpPr>
          <p:cNvPr id="10" name="Content Placeholder 2"/>
          <p:cNvSpPr>
            <a:spLocks noGrp="1"/>
          </p:cNvSpPr>
          <p:nvPr>
            <p:ph sz="half" idx="16"/>
          </p:nvPr>
        </p:nvSpPr>
        <p:spPr>
          <a:xfrm>
            <a:off x="495300" y="1666276"/>
            <a:ext cx="5495093" cy="2084832"/>
          </a:xfrm>
          <a:solidFill>
            <a:schemeClr val="accent3"/>
          </a:solidFill>
        </p:spPr>
        <p:txBody>
          <a:bodyPr lIns="182880" tIns="137160" rIns="182880"/>
          <a:lstStyle>
            <a:lvl1pPr marL="176213" indent="-176213">
              <a:lnSpc>
                <a:spcPct val="95000"/>
              </a:lnSpc>
              <a:spcBef>
                <a:spcPts val="600"/>
              </a:spcBef>
              <a:spcAft>
                <a:spcPts val="200"/>
              </a:spcAft>
              <a:defRPr lang="en-US" sz="2000" dirty="0" smtClean="0">
                <a:solidFill>
                  <a:schemeClr val="bg1"/>
                </a:solidFill>
              </a:defRPr>
            </a:lvl1pPr>
            <a:lvl2pPr marL="176213" indent="-176213">
              <a:lnSpc>
                <a:spcPct val="95000"/>
              </a:lnSpc>
              <a:spcBef>
                <a:spcPts val="1000"/>
              </a:spcBef>
              <a:defRPr lang="en-US" sz="1600" dirty="0" smtClean="0">
                <a:solidFill>
                  <a:schemeClr val="bg1"/>
                </a:solidFill>
              </a:defRPr>
            </a:lvl2pPr>
            <a:lvl3pPr marL="165100" indent="-165100">
              <a:defRPr lang="en-US" sz="1400" dirty="0" smtClean="0"/>
            </a:lvl3pPr>
            <a:lvl4pPr marL="311150" indent="-130175">
              <a:defRPr lang="en-US" sz="1400" dirty="0" smtClean="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11" name="Date Placeholder 3"/>
          <p:cNvSpPr>
            <a:spLocks noGrp="1"/>
          </p:cNvSpPr>
          <p:nvPr>
            <p:ph type="dt" sz="half" idx="2"/>
          </p:nvPr>
        </p:nvSpPr>
        <p:spPr>
          <a:xfrm>
            <a:off x="4598624" y="6432462"/>
            <a:ext cx="1671207" cy="182880"/>
          </a:xfrm>
          <a:prstGeom prst="rect">
            <a:avLst/>
          </a:prstGeom>
        </p:spPr>
        <p:txBody>
          <a:bodyPr vert="horz" lIns="0" tIns="0" rIns="0" bIns="0" rtlCol="0" anchor="t" anchorCtr="0">
            <a:noAutofit/>
          </a:bodyPr>
          <a:lstStyle>
            <a:lvl1pPr algn="l">
              <a:defRPr sz="1000">
                <a:solidFill>
                  <a:schemeClr val="accent2"/>
                </a:solidFill>
              </a:defRPr>
            </a:lvl1pPr>
          </a:lstStyle>
          <a:p>
            <a:fld id="{69A70334-996B-40FD-AF4F-310EE353EE17}" type="datetime4">
              <a:rPr lang="en-US" smtClean="0"/>
              <a:t>October 18, 2021</a:t>
            </a:fld>
            <a:endParaRPr lang="en-CA" dirty="0"/>
          </a:p>
        </p:txBody>
      </p:sp>
      <p:sp>
        <p:nvSpPr>
          <p:cNvPr id="15" name="Footer Placeholder 7"/>
          <p:cNvSpPr>
            <a:spLocks noGrp="1"/>
          </p:cNvSpPr>
          <p:nvPr>
            <p:ph type="ftr" sz="quarter" idx="3"/>
          </p:nvPr>
        </p:nvSpPr>
        <p:spPr>
          <a:xfrm>
            <a:off x="1269205" y="6432462"/>
            <a:ext cx="3229587" cy="182880"/>
          </a:xfrm>
          <a:prstGeom prst="rect">
            <a:avLst/>
          </a:prstGeom>
        </p:spPr>
        <p:txBody>
          <a:bodyPr vert="horz" lIns="0" tIns="0" rIns="0" bIns="0" rtlCol="0" anchor="t" anchorCtr="0"/>
          <a:lstStyle>
            <a:lvl1pPr algn="r">
              <a:defRPr sz="1000">
                <a:solidFill>
                  <a:schemeClr val="tx1"/>
                </a:solidFill>
              </a:defRPr>
            </a:lvl1pPr>
          </a:lstStyle>
          <a:p>
            <a:endParaRPr lang="en-US" dirty="0"/>
          </a:p>
        </p:txBody>
      </p:sp>
    </p:spTree>
    <p:extLst>
      <p:ext uri="{BB962C8B-B14F-4D97-AF65-F5344CB8AC3E}">
        <p14:creationId xmlns:p14="http://schemas.microsoft.com/office/powerpoint/2010/main" val="7662183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ertical 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300" y="510063"/>
            <a:ext cx="11201400" cy="914400"/>
          </a:xfrm>
        </p:spPr>
        <p:txBody>
          <a:bodyPr/>
          <a:lstStyle>
            <a:lvl1pPr>
              <a:defRPr/>
            </a:lvl1pPr>
          </a:lstStyle>
          <a:p>
            <a:r>
              <a:rPr lang="en-US" dirty="0"/>
              <a:t>Vertical Quadrant</a:t>
            </a:r>
          </a:p>
        </p:txBody>
      </p:sp>
      <p:sp>
        <p:nvSpPr>
          <p:cNvPr id="3" name="Content Placeholder 2"/>
          <p:cNvSpPr>
            <a:spLocks noGrp="1"/>
          </p:cNvSpPr>
          <p:nvPr>
            <p:ph sz="half" idx="1"/>
          </p:nvPr>
        </p:nvSpPr>
        <p:spPr>
          <a:xfrm>
            <a:off x="495300" y="1666174"/>
            <a:ext cx="2688488" cy="4429825"/>
          </a:xfrm>
          <a:solidFill>
            <a:schemeClr val="accent3"/>
          </a:solidFill>
        </p:spPr>
        <p:txBody>
          <a:bodyPr lIns="182880" tIns="137160" rIns="182880"/>
          <a:lstStyle>
            <a:lvl1pPr marL="1588" indent="0">
              <a:lnSpc>
                <a:spcPct val="95000"/>
              </a:lnSpc>
              <a:spcBef>
                <a:spcPts val="600"/>
              </a:spcBef>
              <a:spcAft>
                <a:spcPts val="200"/>
              </a:spcAft>
              <a:defRPr lang="en-US" sz="1800" dirty="0" smtClean="0">
                <a:solidFill>
                  <a:schemeClr val="bg1"/>
                </a:solidFill>
              </a:defRPr>
            </a:lvl1pPr>
            <a:lvl2pPr marL="1588" indent="0">
              <a:lnSpc>
                <a:spcPct val="95000"/>
              </a:lnSpc>
              <a:spcBef>
                <a:spcPts val="1000"/>
              </a:spcBef>
              <a:buNone/>
              <a:defRPr lang="en-US" sz="1400" dirty="0" smtClean="0">
                <a:solidFill>
                  <a:schemeClr val="bg1"/>
                </a:solidFill>
              </a:defRPr>
            </a:lvl2pPr>
            <a:lvl3pPr marL="165100" indent="-165100">
              <a:defRPr lang="en-US" sz="1400" dirty="0" smtClean="0"/>
            </a:lvl3pPr>
            <a:lvl4pPr marL="311150" indent="-130175">
              <a:defRPr lang="en-US" sz="1400" dirty="0" smtClean="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16" name="Content Placeholder 2"/>
          <p:cNvSpPr>
            <a:spLocks noGrp="1"/>
          </p:cNvSpPr>
          <p:nvPr>
            <p:ph sz="half" idx="13"/>
          </p:nvPr>
        </p:nvSpPr>
        <p:spPr>
          <a:xfrm>
            <a:off x="3332937" y="1666174"/>
            <a:ext cx="2688488" cy="4429825"/>
          </a:xfrm>
          <a:solidFill>
            <a:schemeClr val="accent3"/>
          </a:solidFill>
        </p:spPr>
        <p:txBody>
          <a:bodyPr lIns="182880" tIns="137160" rIns="182880"/>
          <a:lstStyle>
            <a:lvl1pPr marL="1588" indent="0">
              <a:lnSpc>
                <a:spcPct val="95000"/>
              </a:lnSpc>
              <a:spcBef>
                <a:spcPts val="600"/>
              </a:spcBef>
              <a:spcAft>
                <a:spcPts val="200"/>
              </a:spcAft>
              <a:defRPr lang="en-US" sz="1800" dirty="0" smtClean="0">
                <a:solidFill>
                  <a:schemeClr val="bg1"/>
                </a:solidFill>
              </a:defRPr>
            </a:lvl1pPr>
            <a:lvl2pPr marL="1588" indent="0">
              <a:lnSpc>
                <a:spcPct val="95000"/>
              </a:lnSpc>
              <a:spcBef>
                <a:spcPts val="1000"/>
              </a:spcBef>
              <a:buNone/>
              <a:defRPr lang="en-US" sz="1400" dirty="0" smtClean="0">
                <a:solidFill>
                  <a:schemeClr val="bg1"/>
                </a:solidFill>
              </a:defRPr>
            </a:lvl2pPr>
            <a:lvl3pPr marL="165100" indent="-165100">
              <a:defRPr lang="en-US" sz="1400" dirty="0" smtClean="0"/>
            </a:lvl3pPr>
            <a:lvl4pPr marL="311150" indent="-130175">
              <a:defRPr lang="en-US" sz="1400" dirty="0" smtClean="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20" name="Content Placeholder 2"/>
          <p:cNvSpPr>
            <a:spLocks noGrp="1"/>
          </p:cNvSpPr>
          <p:nvPr>
            <p:ph sz="half" idx="14"/>
          </p:nvPr>
        </p:nvSpPr>
        <p:spPr>
          <a:xfrm>
            <a:off x="6170574" y="1666174"/>
            <a:ext cx="2688488" cy="4429825"/>
          </a:xfrm>
          <a:solidFill>
            <a:schemeClr val="accent3"/>
          </a:solidFill>
        </p:spPr>
        <p:txBody>
          <a:bodyPr lIns="182880" tIns="137160" rIns="182880"/>
          <a:lstStyle>
            <a:lvl1pPr marL="1588" indent="0">
              <a:lnSpc>
                <a:spcPct val="95000"/>
              </a:lnSpc>
              <a:spcBef>
                <a:spcPts val="600"/>
              </a:spcBef>
              <a:spcAft>
                <a:spcPts val="200"/>
              </a:spcAft>
              <a:defRPr lang="en-US" sz="1800" dirty="0" smtClean="0">
                <a:solidFill>
                  <a:schemeClr val="bg1"/>
                </a:solidFill>
              </a:defRPr>
            </a:lvl1pPr>
            <a:lvl2pPr marL="1588" indent="0">
              <a:lnSpc>
                <a:spcPct val="95000"/>
              </a:lnSpc>
              <a:spcBef>
                <a:spcPts val="1000"/>
              </a:spcBef>
              <a:buNone/>
              <a:defRPr lang="en-US" sz="1400" dirty="0" smtClean="0">
                <a:solidFill>
                  <a:schemeClr val="bg1"/>
                </a:solidFill>
              </a:defRPr>
            </a:lvl2pPr>
            <a:lvl3pPr marL="165100" indent="-165100">
              <a:defRPr lang="en-US" sz="1400" dirty="0" smtClean="0"/>
            </a:lvl3pPr>
            <a:lvl4pPr marL="311150" indent="-130175">
              <a:defRPr lang="en-US" sz="1400" dirty="0" smtClean="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22" name="Content Placeholder 2"/>
          <p:cNvSpPr>
            <a:spLocks noGrp="1"/>
          </p:cNvSpPr>
          <p:nvPr>
            <p:ph sz="half" idx="15"/>
          </p:nvPr>
        </p:nvSpPr>
        <p:spPr>
          <a:xfrm>
            <a:off x="9008212" y="1666174"/>
            <a:ext cx="2688488" cy="4429825"/>
          </a:xfrm>
          <a:solidFill>
            <a:schemeClr val="accent3"/>
          </a:solidFill>
        </p:spPr>
        <p:txBody>
          <a:bodyPr lIns="182880" tIns="137160" rIns="182880"/>
          <a:lstStyle>
            <a:lvl1pPr marL="1588" indent="0">
              <a:lnSpc>
                <a:spcPct val="95000"/>
              </a:lnSpc>
              <a:spcBef>
                <a:spcPts val="600"/>
              </a:spcBef>
              <a:spcAft>
                <a:spcPts val="200"/>
              </a:spcAft>
              <a:defRPr lang="en-US" sz="1800" dirty="0" smtClean="0">
                <a:solidFill>
                  <a:schemeClr val="bg1"/>
                </a:solidFill>
              </a:defRPr>
            </a:lvl1pPr>
            <a:lvl2pPr marL="1588" indent="0">
              <a:lnSpc>
                <a:spcPct val="95000"/>
              </a:lnSpc>
              <a:spcBef>
                <a:spcPts val="1000"/>
              </a:spcBef>
              <a:buNone/>
              <a:defRPr lang="en-US" sz="1400" dirty="0" smtClean="0">
                <a:solidFill>
                  <a:schemeClr val="bg1"/>
                </a:solidFill>
              </a:defRPr>
            </a:lvl2pPr>
            <a:lvl3pPr marL="165100" indent="-165100">
              <a:defRPr lang="en-US" sz="1400" dirty="0" smtClean="0"/>
            </a:lvl3pPr>
            <a:lvl4pPr marL="311150" indent="-130175">
              <a:defRPr lang="en-US" sz="1400" dirty="0" smtClean="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11" name="Slide Number Placeholder 5"/>
          <p:cNvSpPr>
            <a:spLocks noGrp="1"/>
          </p:cNvSpPr>
          <p:nvPr>
            <p:ph type="sldNum" sz="quarter" idx="4"/>
          </p:nvPr>
        </p:nvSpPr>
        <p:spPr>
          <a:xfrm>
            <a:off x="11371032" y="6432462"/>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CA" smtClean="0"/>
              <a:pPr/>
              <a:t>‹#›</a:t>
            </a:fld>
            <a:endParaRPr lang="en-CA" dirty="0"/>
          </a:p>
        </p:txBody>
      </p:sp>
      <p:sp>
        <p:nvSpPr>
          <p:cNvPr id="12" name="Date Placeholder 3"/>
          <p:cNvSpPr>
            <a:spLocks noGrp="1"/>
          </p:cNvSpPr>
          <p:nvPr>
            <p:ph type="dt" sz="half" idx="2"/>
          </p:nvPr>
        </p:nvSpPr>
        <p:spPr>
          <a:xfrm>
            <a:off x="4598624" y="6432462"/>
            <a:ext cx="1671207" cy="182880"/>
          </a:xfrm>
          <a:prstGeom prst="rect">
            <a:avLst/>
          </a:prstGeom>
        </p:spPr>
        <p:txBody>
          <a:bodyPr vert="horz" lIns="0" tIns="0" rIns="0" bIns="0" rtlCol="0" anchor="t" anchorCtr="0">
            <a:noAutofit/>
          </a:bodyPr>
          <a:lstStyle>
            <a:lvl1pPr algn="l">
              <a:defRPr sz="1000">
                <a:solidFill>
                  <a:schemeClr val="accent2"/>
                </a:solidFill>
              </a:defRPr>
            </a:lvl1pPr>
          </a:lstStyle>
          <a:p>
            <a:fld id="{F91C8AF9-9C06-4191-A649-64A0E4E603D8}" type="datetime4">
              <a:rPr lang="en-US" smtClean="0"/>
              <a:t>October 18, 2021</a:t>
            </a:fld>
            <a:endParaRPr lang="en-CA" dirty="0"/>
          </a:p>
        </p:txBody>
      </p:sp>
      <p:sp>
        <p:nvSpPr>
          <p:cNvPr id="13" name="Footer Placeholder 7"/>
          <p:cNvSpPr>
            <a:spLocks noGrp="1"/>
          </p:cNvSpPr>
          <p:nvPr>
            <p:ph type="ftr" sz="quarter" idx="3"/>
          </p:nvPr>
        </p:nvSpPr>
        <p:spPr>
          <a:xfrm>
            <a:off x="1269205" y="6432462"/>
            <a:ext cx="3229587" cy="182880"/>
          </a:xfrm>
          <a:prstGeom prst="rect">
            <a:avLst/>
          </a:prstGeom>
        </p:spPr>
        <p:txBody>
          <a:bodyPr vert="horz" lIns="0" tIns="0" rIns="0" bIns="0" rtlCol="0" anchor="t" anchorCtr="0"/>
          <a:lstStyle>
            <a:lvl1pPr algn="r">
              <a:defRPr sz="1000">
                <a:solidFill>
                  <a:schemeClr val="tx1"/>
                </a:solidFill>
              </a:defRPr>
            </a:lvl1pPr>
          </a:lstStyle>
          <a:p>
            <a:endParaRPr lang="en-US" dirty="0"/>
          </a:p>
        </p:txBody>
      </p:sp>
    </p:spTree>
    <p:extLst>
      <p:ext uri="{BB962C8B-B14F-4D97-AF65-F5344CB8AC3E}">
        <p14:creationId xmlns:p14="http://schemas.microsoft.com/office/powerpoint/2010/main" val="37204708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adra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95300" y="1665293"/>
            <a:ext cx="5398744" cy="411480"/>
          </a:xfrm>
          <a:solidFill>
            <a:schemeClr val="accent3"/>
          </a:solidFill>
        </p:spPr>
        <p:txBody>
          <a:bodyPr lIns="0" rIns="0" bIns="0" anchor="ctr"/>
          <a:lstStyle>
            <a:lvl1pPr marL="173038" indent="0">
              <a:spcBef>
                <a:spcPts val="0"/>
              </a:spcBef>
              <a:buNone/>
              <a:defRPr sz="18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59758" y="2201006"/>
            <a:ext cx="4892646" cy="1536192"/>
          </a:xfrm>
        </p:spPr>
        <p:txBody>
          <a:bodyPr vert="horz" lIns="0" tIns="0" rIns="0" bIns="0" rtlCol="0">
            <a:noAutofit/>
          </a:bodyPr>
          <a:lstStyle>
            <a:lvl1pPr marL="0" indent="0">
              <a:defRPr lang="en-US" sz="1800" dirty="0"/>
            </a:lvl1pPr>
          </a:lstStyle>
          <a:p>
            <a:pPr lvl="0"/>
            <a:r>
              <a:rPr lang="en-US"/>
              <a:t>Edit Master text styles</a:t>
            </a:r>
          </a:p>
        </p:txBody>
      </p:sp>
      <p:sp>
        <p:nvSpPr>
          <p:cNvPr id="5" name="Text Placeholder 4"/>
          <p:cNvSpPr>
            <a:spLocks noGrp="1"/>
          </p:cNvSpPr>
          <p:nvPr>
            <p:ph type="body" sz="quarter" idx="3" hasCustomPrompt="1"/>
          </p:nvPr>
        </p:nvSpPr>
        <p:spPr>
          <a:xfrm>
            <a:off x="6312297" y="1665293"/>
            <a:ext cx="5398744" cy="411480"/>
          </a:xfrm>
          <a:solidFill>
            <a:schemeClr val="accent3"/>
          </a:solidFill>
        </p:spPr>
        <p:txBody>
          <a:bodyPr lIns="0" rIns="0" bIns="0" anchor="ctr"/>
          <a:lstStyle>
            <a:lvl1pPr marL="182563" indent="0">
              <a:spcBef>
                <a:spcPts val="0"/>
              </a:spcBef>
              <a:buNone/>
              <a:tabLst/>
              <a:defRPr sz="18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489669" y="2201006"/>
            <a:ext cx="5019592" cy="1536192"/>
          </a:xfrm>
        </p:spPr>
        <p:txBody>
          <a:bodyPr vert="horz" lIns="0" tIns="0" rIns="0" bIns="0" rtlCol="0">
            <a:noAutofit/>
          </a:bodyPr>
          <a:lstStyle>
            <a:lvl1pPr>
              <a:defRPr lang="en-US" sz="1800" dirty="0"/>
            </a:lvl1pPr>
          </a:lstStyle>
          <a:p>
            <a:pPr lvl="0"/>
            <a:r>
              <a:rPr lang="en-US"/>
              <a:t>Edit Master text styles</a:t>
            </a:r>
          </a:p>
        </p:txBody>
      </p:sp>
      <p:sp>
        <p:nvSpPr>
          <p:cNvPr id="24" name="Text Placeholder 4"/>
          <p:cNvSpPr>
            <a:spLocks noGrp="1"/>
          </p:cNvSpPr>
          <p:nvPr>
            <p:ph type="body" sz="quarter" idx="14" hasCustomPrompt="1"/>
          </p:nvPr>
        </p:nvSpPr>
        <p:spPr>
          <a:xfrm>
            <a:off x="495300" y="3928921"/>
            <a:ext cx="5398744" cy="411480"/>
          </a:xfrm>
          <a:solidFill>
            <a:schemeClr val="accent3"/>
          </a:solidFill>
        </p:spPr>
        <p:txBody>
          <a:bodyPr lIns="0" rIns="0" bIns="0" anchor="ctr"/>
          <a:lstStyle>
            <a:lvl1pPr marL="173038" indent="0">
              <a:spcBef>
                <a:spcPts val="0"/>
              </a:spcBef>
              <a:buNone/>
              <a:tabLst/>
              <a:defRPr sz="18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5" name="Content Placeholder 5"/>
          <p:cNvSpPr>
            <a:spLocks noGrp="1"/>
          </p:cNvSpPr>
          <p:nvPr>
            <p:ph sz="quarter" idx="15"/>
          </p:nvPr>
        </p:nvSpPr>
        <p:spPr>
          <a:xfrm>
            <a:off x="659758" y="4464634"/>
            <a:ext cx="4892644" cy="1536192"/>
          </a:xfrm>
        </p:spPr>
        <p:txBody>
          <a:bodyPr vert="horz" lIns="0" tIns="0" rIns="0" bIns="0" rtlCol="0">
            <a:noAutofit/>
          </a:bodyPr>
          <a:lstStyle>
            <a:lvl1pPr marL="0" indent="0">
              <a:defRPr lang="en-US" sz="1800" dirty="0"/>
            </a:lvl1pPr>
          </a:lstStyle>
          <a:p>
            <a:pPr lvl="0"/>
            <a:r>
              <a:rPr lang="en-US"/>
              <a:t>Edit Master text styles</a:t>
            </a:r>
          </a:p>
        </p:txBody>
      </p:sp>
      <p:sp>
        <p:nvSpPr>
          <p:cNvPr id="26" name="Text Placeholder 4"/>
          <p:cNvSpPr>
            <a:spLocks noGrp="1"/>
          </p:cNvSpPr>
          <p:nvPr>
            <p:ph type="body" sz="quarter" idx="16" hasCustomPrompt="1"/>
          </p:nvPr>
        </p:nvSpPr>
        <p:spPr>
          <a:xfrm>
            <a:off x="6312297" y="3928921"/>
            <a:ext cx="5398744" cy="411480"/>
          </a:xfrm>
          <a:solidFill>
            <a:schemeClr val="accent3"/>
          </a:solidFill>
        </p:spPr>
        <p:txBody>
          <a:bodyPr lIns="0" rIns="0" bIns="0" anchor="ctr"/>
          <a:lstStyle>
            <a:lvl1pPr marL="180975" indent="0">
              <a:spcBef>
                <a:spcPts val="0"/>
              </a:spcBef>
              <a:buNone/>
              <a:tabLst/>
              <a:defRPr sz="18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7" name="Content Placeholder 5"/>
          <p:cNvSpPr>
            <a:spLocks noGrp="1"/>
          </p:cNvSpPr>
          <p:nvPr>
            <p:ph sz="quarter" idx="17"/>
          </p:nvPr>
        </p:nvSpPr>
        <p:spPr>
          <a:xfrm>
            <a:off x="6489669" y="4464634"/>
            <a:ext cx="5019594" cy="1536192"/>
          </a:xfrm>
        </p:spPr>
        <p:txBody>
          <a:bodyPr vert="horz" lIns="0" tIns="0" rIns="0" bIns="0" rtlCol="0">
            <a:noAutofit/>
          </a:bodyPr>
          <a:lstStyle>
            <a:lvl1pPr>
              <a:defRPr lang="en-US" sz="1800" dirty="0"/>
            </a:lvl1pPr>
          </a:lstStyle>
          <a:p>
            <a:pPr lvl="0"/>
            <a:r>
              <a:rPr lang="en-US"/>
              <a:t>Edit Master text styles</a:t>
            </a:r>
          </a:p>
        </p:txBody>
      </p:sp>
      <p:sp>
        <p:nvSpPr>
          <p:cNvPr id="14" name="Title 5"/>
          <p:cNvSpPr>
            <a:spLocks noGrp="1"/>
          </p:cNvSpPr>
          <p:nvPr>
            <p:ph type="title" hasCustomPrompt="1"/>
          </p:nvPr>
        </p:nvSpPr>
        <p:spPr>
          <a:xfrm>
            <a:off x="495300" y="510063"/>
            <a:ext cx="11201400" cy="914400"/>
          </a:xfrm>
        </p:spPr>
        <p:txBody>
          <a:bodyPr/>
          <a:lstStyle>
            <a:lvl1pPr>
              <a:defRPr/>
            </a:lvl1pPr>
          </a:lstStyle>
          <a:p>
            <a:r>
              <a:rPr lang="en-US" dirty="0"/>
              <a:t>Quadrant 2</a:t>
            </a:r>
          </a:p>
        </p:txBody>
      </p:sp>
      <p:sp>
        <p:nvSpPr>
          <p:cNvPr id="19" name="Slide Number Placeholder 5"/>
          <p:cNvSpPr>
            <a:spLocks noGrp="1"/>
          </p:cNvSpPr>
          <p:nvPr>
            <p:ph type="sldNum" sz="quarter" idx="19"/>
          </p:nvPr>
        </p:nvSpPr>
        <p:spPr>
          <a:xfrm>
            <a:off x="11371032" y="6432462"/>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CA" smtClean="0"/>
              <a:pPr/>
              <a:t>‹#›</a:t>
            </a:fld>
            <a:endParaRPr lang="en-CA" dirty="0"/>
          </a:p>
        </p:txBody>
      </p:sp>
      <p:sp>
        <p:nvSpPr>
          <p:cNvPr id="15" name="Date Placeholder 3"/>
          <p:cNvSpPr>
            <a:spLocks noGrp="1"/>
          </p:cNvSpPr>
          <p:nvPr>
            <p:ph type="dt" sz="half" idx="20"/>
          </p:nvPr>
        </p:nvSpPr>
        <p:spPr>
          <a:xfrm>
            <a:off x="4598624" y="6432462"/>
            <a:ext cx="1671207" cy="182880"/>
          </a:xfrm>
          <a:prstGeom prst="rect">
            <a:avLst/>
          </a:prstGeom>
        </p:spPr>
        <p:txBody>
          <a:bodyPr vert="horz" lIns="0" tIns="0" rIns="0" bIns="0" rtlCol="0" anchor="t" anchorCtr="0">
            <a:noAutofit/>
          </a:bodyPr>
          <a:lstStyle>
            <a:lvl1pPr algn="l">
              <a:defRPr sz="1000">
                <a:solidFill>
                  <a:schemeClr val="accent2"/>
                </a:solidFill>
              </a:defRPr>
            </a:lvl1pPr>
          </a:lstStyle>
          <a:p>
            <a:fld id="{65C75F51-A80F-4E77-8D83-E95689A06A73}" type="datetime4">
              <a:rPr lang="en-US" smtClean="0"/>
              <a:t>October 18, 2021</a:t>
            </a:fld>
            <a:endParaRPr lang="en-CA" dirty="0"/>
          </a:p>
        </p:txBody>
      </p:sp>
      <p:sp>
        <p:nvSpPr>
          <p:cNvPr id="16" name="Footer Placeholder 7"/>
          <p:cNvSpPr>
            <a:spLocks noGrp="1"/>
          </p:cNvSpPr>
          <p:nvPr>
            <p:ph type="ftr" sz="quarter" idx="21"/>
          </p:nvPr>
        </p:nvSpPr>
        <p:spPr>
          <a:xfrm>
            <a:off x="1269205" y="6432462"/>
            <a:ext cx="3229587" cy="182880"/>
          </a:xfrm>
          <a:prstGeom prst="rect">
            <a:avLst/>
          </a:prstGeom>
        </p:spPr>
        <p:txBody>
          <a:bodyPr vert="horz" lIns="0" tIns="0" rIns="0" bIns="0" rtlCol="0" anchor="t" anchorCtr="0"/>
          <a:lstStyle>
            <a:lvl1pPr algn="r">
              <a:defRPr sz="1000">
                <a:solidFill>
                  <a:schemeClr val="tx1"/>
                </a:solidFill>
              </a:defRPr>
            </a:lvl1pPr>
          </a:lstStyle>
          <a:p>
            <a:endParaRPr lang="en-US" dirty="0"/>
          </a:p>
        </p:txBody>
      </p:sp>
    </p:spTree>
    <p:extLst>
      <p:ext uri="{BB962C8B-B14F-4D97-AF65-F5344CB8AC3E}">
        <p14:creationId xmlns:p14="http://schemas.microsoft.com/office/powerpoint/2010/main" val="3225755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Column Table">
    <p:spTree>
      <p:nvGrpSpPr>
        <p:cNvPr id="1" name=""/>
        <p:cNvGrpSpPr/>
        <p:nvPr/>
      </p:nvGrpSpPr>
      <p:grpSpPr>
        <a:xfrm>
          <a:off x="0" y="0"/>
          <a:ext cx="0" cy="0"/>
          <a:chOff x="0" y="0"/>
          <a:chExt cx="0" cy="0"/>
        </a:xfrm>
      </p:grpSpPr>
      <p:sp>
        <p:nvSpPr>
          <p:cNvPr id="13" name="Table Placeholder 12"/>
          <p:cNvSpPr>
            <a:spLocks noGrp="1"/>
          </p:cNvSpPr>
          <p:nvPr>
            <p:ph type="tbl" sz="quarter" idx="13"/>
          </p:nvPr>
        </p:nvSpPr>
        <p:spPr>
          <a:xfrm>
            <a:off x="495300" y="1665478"/>
            <a:ext cx="11201400" cy="4368882"/>
          </a:xfrm>
        </p:spPr>
        <p:txBody>
          <a:bodyPr/>
          <a:lstStyle/>
          <a:p>
            <a:r>
              <a:rPr lang="en-US"/>
              <a:t>Click icon to add table</a:t>
            </a:r>
            <a:endParaRPr lang="en-CA" dirty="0"/>
          </a:p>
        </p:txBody>
      </p:sp>
      <p:sp>
        <p:nvSpPr>
          <p:cNvPr id="3" name="Date Placeholder 2"/>
          <p:cNvSpPr>
            <a:spLocks noGrp="1"/>
          </p:cNvSpPr>
          <p:nvPr>
            <p:ph type="dt" sz="half" idx="14"/>
          </p:nvPr>
        </p:nvSpPr>
        <p:spPr/>
        <p:txBody>
          <a:bodyPr/>
          <a:lstStyle/>
          <a:p>
            <a:fld id="{94294B49-5E35-4EAE-AE9E-1F7C9AA6AE4D}" type="datetime4">
              <a:rPr lang="en-US" smtClean="0"/>
              <a:t>October 18, 2021</a:t>
            </a:fld>
            <a:endParaRPr lang="en-CA" dirty="0"/>
          </a:p>
        </p:txBody>
      </p:sp>
      <p:sp>
        <p:nvSpPr>
          <p:cNvPr id="4" name="Footer Placeholder 3"/>
          <p:cNvSpPr>
            <a:spLocks noGrp="1"/>
          </p:cNvSpPr>
          <p:nvPr>
            <p:ph type="ftr" sz="quarter" idx="15"/>
          </p:nvPr>
        </p:nvSpPr>
        <p:spPr/>
        <p:txBody>
          <a:bodyPr/>
          <a:lstStyle/>
          <a:p>
            <a:endParaRPr lang="en-US" dirty="0"/>
          </a:p>
        </p:txBody>
      </p:sp>
      <p:sp>
        <p:nvSpPr>
          <p:cNvPr id="5" name="Slide Number Placeholder 4"/>
          <p:cNvSpPr>
            <a:spLocks noGrp="1"/>
          </p:cNvSpPr>
          <p:nvPr>
            <p:ph type="sldNum" sz="quarter" idx="16"/>
          </p:nvPr>
        </p:nvSpPr>
        <p:spPr/>
        <p:txBody>
          <a:bodyPr/>
          <a:lstStyle/>
          <a:p>
            <a:fld id="{00E6A5BD-C011-4A45-AA3A-201790FB7F2B}" type="slidenum">
              <a:rPr lang="en-CA" smtClean="0"/>
              <a:pPr/>
              <a:t>‹#›</a:t>
            </a:fld>
            <a:endParaRPr lang="en-CA" dirty="0"/>
          </a:p>
        </p:txBody>
      </p:sp>
      <p:sp>
        <p:nvSpPr>
          <p:cNvPr id="6" name="Title 5"/>
          <p:cNvSpPr>
            <a:spLocks noGrp="1"/>
          </p:cNvSpPr>
          <p:nvPr>
            <p:ph type="title" hasCustomPrompt="1"/>
          </p:nvPr>
        </p:nvSpPr>
        <p:spPr/>
        <p:txBody>
          <a:bodyPr/>
          <a:lstStyle>
            <a:lvl1pPr>
              <a:defRPr/>
            </a:lvl1pPr>
          </a:lstStyle>
          <a:p>
            <a:r>
              <a:rPr lang="en-US" dirty="0"/>
              <a:t>2-Column Table Layout</a:t>
            </a:r>
          </a:p>
        </p:txBody>
      </p:sp>
    </p:spTree>
    <p:extLst>
      <p:ext uri="{BB962C8B-B14F-4D97-AF65-F5344CB8AC3E}">
        <p14:creationId xmlns:p14="http://schemas.microsoft.com/office/powerpoint/2010/main" val="7790385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Column Table">
    <p:spTree>
      <p:nvGrpSpPr>
        <p:cNvPr id="1" name=""/>
        <p:cNvGrpSpPr/>
        <p:nvPr/>
      </p:nvGrpSpPr>
      <p:grpSpPr>
        <a:xfrm>
          <a:off x="0" y="0"/>
          <a:ext cx="0" cy="0"/>
          <a:chOff x="0" y="0"/>
          <a:chExt cx="0" cy="0"/>
        </a:xfrm>
      </p:grpSpPr>
      <p:sp>
        <p:nvSpPr>
          <p:cNvPr id="13" name="Table Placeholder 12"/>
          <p:cNvSpPr>
            <a:spLocks noGrp="1"/>
          </p:cNvSpPr>
          <p:nvPr>
            <p:ph type="tbl" sz="quarter" idx="13"/>
          </p:nvPr>
        </p:nvSpPr>
        <p:spPr>
          <a:xfrm>
            <a:off x="495300" y="1664208"/>
            <a:ext cx="11201400" cy="4431792"/>
          </a:xfrm>
        </p:spPr>
        <p:txBody>
          <a:bodyPr/>
          <a:lstStyle/>
          <a:p>
            <a:r>
              <a:rPr lang="en-US"/>
              <a:t>Click icon to add table</a:t>
            </a:r>
            <a:endParaRPr lang="en-CA" dirty="0"/>
          </a:p>
        </p:txBody>
      </p:sp>
      <p:sp>
        <p:nvSpPr>
          <p:cNvPr id="3" name="Date Placeholder 2"/>
          <p:cNvSpPr>
            <a:spLocks noGrp="1"/>
          </p:cNvSpPr>
          <p:nvPr>
            <p:ph type="dt" sz="half" idx="14"/>
          </p:nvPr>
        </p:nvSpPr>
        <p:spPr/>
        <p:txBody>
          <a:bodyPr/>
          <a:lstStyle/>
          <a:p>
            <a:fld id="{C6F43E92-0000-4713-9F0A-EA7BF17F0297}" type="datetime4">
              <a:rPr lang="en-US" smtClean="0"/>
              <a:t>October 18, 2021</a:t>
            </a:fld>
            <a:endParaRPr lang="en-CA" dirty="0"/>
          </a:p>
        </p:txBody>
      </p:sp>
      <p:sp>
        <p:nvSpPr>
          <p:cNvPr id="4" name="Footer Placeholder 3"/>
          <p:cNvSpPr>
            <a:spLocks noGrp="1"/>
          </p:cNvSpPr>
          <p:nvPr>
            <p:ph type="ftr" sz="quarter" idx="15"/>
          </p:nvPr>
        </p:nvSpPr>
        <p:spPr/>
        <p:txBody>
          <a:bodyPr/>
          <a:lstStyle/>
          <a:p>
            <a:endParaRPr lang="en-US" dirty="0"/>
          </a:p>
        </p:txBody>
      </p:sp>
      <p:sp>
        <p:nvSpPr>
          <p:cNvPr id="5" name="Slide Number Placeholder 4"/>
          <p:cNvSpPr>
            <a:spLocks noGrp="1"/>
          </p:cNvSpPr>
          <p:nvPr>
            <p:ph type="sldNum" sz="quarter" idx="16"/>
          </p:nvPr>
        </p:nvSpPr>
        <p:spPr/>
        <p:txBody>
          <a:bodyPr/>
          <a:lstStyle/>
          <a:p>
            <a:fld id="{00E6A5BD-C011-4A45-AA3A-201790FB7F2B}" type="slidenum">
              <a:rPr lang="en-CA" smtClean="0"/>
              <a:pPr/>
              <a:t>‹#›</a:t>
            </a:fld>
            <a:endParaRPr lang="en-CA" dirty="0"/>
          </a:p>
        </p:txBody>
      </p:sp>
      <p:sp>
        <p:nvSpPr>
          <p:cNvPr id="6" name="Title 5"/>
          <p:cNvSpPr>
            <a:spLocks noGrp="1"/>
          </p:cNvSpPr>
          <p:nvPr>
            <p:ph type="title" hasCustomPrompt="1"/>
          </p:nvPr>
        </p:nvSpPr>
        <p:spPr/>
        <p:txBody>
          <a:bodyPr/>
          <a:lstStyle>
            <a:lvl1pPr>
              <a:defRPr/>
            </a:lvl1pPr>
          </a:lstStyle>
          <a:p>
            <a:r>
              <a:rPr lang="en-US" dirty="0"/>
              <a:t>3-Column Table</a:t>
            </a:r>
          </a:p>
        </p:txBody>
      </p:sp>
    </p:spTree>
    <p:extLst>
      <p:ext uri="{BB962C8B-B14F-4D97-AF65-F5344CB8AC3E}">
        <p14:creationId xmlns:p14="http://schemas.microsoft.com/office/powerpoint/2010/main" val="41433417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300" y="510063"/>
            <a:ext cx="11201400" cy="914400"/>
          </a:xfrm>
        </p:spPr>
        <p:txBody>
          <a:bodyPr/>
          <a:lstStyle>
            <a:lvl1pPr>
              <a:defRPr/>
            </a:lvl1pPr>
          </a:lstStyle>
          <a:p>
            <a:r>
              <a:rPr lang="en-US" dirty="0"/>
              <a:t>4-Column Table Layout</a:t>
            </a:r>
            <a:endParaRPr lang="en-CA" dirty="0"/>
          </a:p>
        </p:txBody>
      </p:sp>
      <p:sp>
        <p:nvSpPr>
          <p:cNvPr id="13" name="Table Placeholder 12"/>
          <p:cNvSpPr>
            <a:spLocks noGrp="1"/>
          </p:cNvSpPr>
          <p:nvPr>
            <p:ph type="tbl" sz="quarter" idx="13"/>
          </p:nvPr>
        </p:nvSpPr>
        <p:spPr>
          <a:xfrm>
            <a:off x="495300" y="1664208"/>
            <a:ext cx="11201400" cy="4431792"/>
          </a:xfrm>
        </p:spPr>
        <p:txBody>
          <a:bodyPr/>
          <a:lstStyle/>
          <a:p>
            <a:r>
              <a:rPr lang="en-US"/>
              <a:t>Click icon to add table</a:t>
            </a:r>
            <a:endParaRPr lang="en-CA" dirty="0"/>
          </a:p>
        </p:txBody>
      </p:sp>
      <p:sp>
        <p:nvSpPr>
          <p:cNvPr id="3" name="Date Placeholder 2"/>
          <p:cNvSpPr>
            <a:spLocks noGrp="1"/>
          </p:cNvSpPr>
          <p:nvPr>
            <p:ph type="dt" sz="half" idx="14"/>
          </p:nvPr>
        </p:nvSpPr>
        <p:spPr/>
        <p:txBody>
          <a:bodyPr/>
          <a:lstStyle/>
          <a:p>
            <a:fld id="{E232D616-756B-4933-98BB-787B6EEAD878}" type="datetime4">
              <a:rPr lang="en-US" smtClean="0"/>
              <a:t>October 18, 2021</a:t>
            </a:fld>
            <a:endParaRPr lang="en-CA" dirty="0"/>
          </a:p>
        </p:txBody>
      </p:sp>
      <p:sp>
        <p:nvSpPr>
          <p:cNvPr id="4" name="Footer Placeholder 3"/>
          <p:cNvSpPr>
            <a:spLocks noGrp="1"/>
          </p:cNvSpPr>
          <p:nvPr>
            <p:ph type="ftr" sz="quarter" idx="15"/>
          </p:nvPr>
        </p:nvSpPr>
        <p:spPr/>
        <p:txBody>
          <a:bodyPr/>
          <a:lstStyle/>
          <a:p>
            <a:endParaRPr lang="en-US" dirty="0"/>
          </a:p>
        </p:txBody>
      </p:sp>
      <p:sp>
        <p:nvSpPr>
          <p:cNvPr id="5" name="Slide Number Placeholder 4"/>
          <p:cNvSpPr>
            <a:spLocks noGrp="1"/>
          </p:cNvSpPr>
          <p:nvPr>
            <p:ph type="sldNum" sz="quarter" idx="16"/>
          </p:nvPr>
        </p:nvSpPr>
        <p:spPr/>
        <p:txBody>
          <a:body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13312623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Column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300" y="510063"/>
            <a:ext cx="11201400" cy="914400"/>
          </a:xfrm>
        </p:spPr>
        <p:txBody>
          <a:bodyPr/>
          <a:lstStyle>
            <a:lvl1pPr>
              <a:defRPr/>
            </a:lvl1pPr>
          </a:lstStyle>
          <a:p>
            <a:r>
              <a:rPr lang="en-US" dirty="0"/>
              <a:t>5-Column Table Layout</a:t>
            </a:r>
            <a:endParaRPr lang="en-CA" dirty="0"/>
          </a:p>
        </p:txBody>
      </p:sp>
      <p:sp>
        <p:nvSpPr>
          <p:cNvPr id="13" name="Table Placeholder 12"/>
          <p:cNvSpPr>
            <a:spLocks noGrp="1"/>
          </p:cNvSpPr>
          <p:nvPr>
            <p:ph type="tbl" sz="quarter" idx="13"/>
          </p:nvPr>
        </p:nvSpPr>
        <p:spPr>
          <a:xfrm>
            <a:off x="495300" y="1664208"/>
            <a:ext cx="11201400" cy="4431792"/>
          </a:xfrm>
        </p:spPr>
        <p:txBody>
          <a:bodyPr/>
          <a:lstStyle/>
          <a:p>
            <a:r>
              <a:rPr lang="en-US"/>
              <a:t>Click icon to add table</a:t>
            </a:r>
            <a:endParaRPr lang="en-CA" dirty="0"/>
          </a:p>
        </p:txBody>
      </p:sp>
      <p:sp>
        <p:nvSpPr>
          <p:cNvPr id="3" name="Date Placeholder 2"/>
          <p:cNvSpPr>
            <a:spLocks noGrp="1"/>
          </p:cNvSpPr>
          <p:nvPr>
            <p:ph type="dt" sz="half" idx="14"/>
          </p:nvPr>
        </p:nvSpPr>
        <p:spPr/>
        <p:txBody>
          <a:bodyPr/>
          <a:lstStyle/>
          <a:p>
            <a:fld id="{AAB36AC4-8343-4401-8B39-B85D949D0B20}" type="datetime4">
              <a:rPr lang="en-US" smtClean="0"/>
              <a:t>October 18, 2021</a:t>
            </a:fld>
            <a:endParaRPr lang="en-CA" dirty="0"/>
          </a:p>
        </p:txBody>
      </p:sp>
      <p:sp>
        <p:nvSpPr>
          <p:cNvPr id="4" name="Footer Placeholder 3"/>
          <p:cNvSpPr>
            <a:spLocks noGrp="1"/>
          </p:cNvSpPr>
          <p:nvPr>
            <p:ph type="ftr" sz="quarter" idx="15"/>
          </p:nvPr>
        </p:nvSpPr>
        <p:spPr/>
        <p:txBody>
          <a:bodyPr/>
          <a:lstStyle/>
          <a:p>
            <a:endParaRPr lang="en-US" dirty="0"/>
          </a:p>
        </p:txBody>
      </p:sp>
      <p:sp>
        <p:nvSpPr>
          <p:cNvPr id="5" name="Slide Number Placeholder 4"/>
          <p:cNvSpPr>
            <a:spLocks noGrp="1"/>
          </p:cNvSpPr>
          <p:nvPr>
            <p:ph type="sldNum" sz="quarter" idx="16"/>
          </p:nvPr>
        </p:nvSpPr>
        <p:spPr/>
        <p:txBody>
          <a:body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36320029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a:xfrm>
            <a:off x="495300" y="510063"/>
            <a:ext cx="11201400" cy="914400"/>
          </a:xfrm>
        </p:spPr>
        <p:txBody>
          <a:bodyPr/>
          <a:lstStyle/>
          <a:p>
            <a:r>
              <a:rPr lang="en-US"/>
              <a:t>Click to edit Master title style</a:t>
            </a:r>
            <a:endParaRPr lang="en-US" dirty="0"/>
          </a:p>
        </p:txBody>
      </p:sp>
      <p:sp>
        <p:nvSpPr>
          <p:cNvPr id="7" name="Chart Placeholder 6"/>
          <p:cNvSpPr>
            <a:spLocks noGrp="1"/>
          </p:cNvSpPr>
          <p:nvPr>
            <p:ph type="chart" sz="quarter" idx="13"/>
          </p:nvPr>
        </p:nvSpPr>
        <p:spPr>
          <a:xfrm>
            <a:off x="495299" y="1983545"/>
            <a:ext cx="11360369" cy="4096512"/>
          </a:xfrm>
        </p:spPr>
        <p:txBody>
          <a:bodyPr anchor="ctr"/>
          <a:lstStyle>
            <a:lvl1pPr algn="ctr">
              <a:defRPr/>
            </a:lvl1pPr>
          </a:lstStyle>
          <a:p>
            <a:r>
              <a:rPr lang="en-US"/>
              <a:t>Click icon to add chart</a:t>
            </a:r>
          </a:p>
        </p:txBody>
      </p:sp>
      <p:sp>
        <p:nvSpPr>
          <p:cNvPr id="8" name="Text Placeholder 2"/>
          <p:cNvSpPr>
            <a:spLocks noGrp="1"/>
          </p:cNvSpPr>
          <p:nvPr>
            <p:ph type="body" idx="14" hasCustomPrompt="1"/>
          </p:nvPr>
        </p:nvSpPr>
        <p:spPr>
          <a:xfrm>
            <a:off x="495300" y="1610018"/>
            <a:ext cx="4937760" cy="246221"/>
          </a:xfrm>
        </p:spPr>
        <p:txBody>
          <a:bodyPr vert="horz" wrap="square" lIns="0" tIns="0" rIns="0" bIns="0" rtlCol="0" anchor="b" anchorCtr="0">
            <a:noAutofit/>
          </a:bodyPr>
          <a:lstStyle>
            <a:lvl1pPr>
              <a:defRPr lang="en-US" sz="1600" b="1" dirty="0">
                <a:solidFill>
                  <a:schemeClr val="accent3"/>
                </a:solidFill>
              </a:defRPr>
            </a:lvl1pPr>
          </a:lstStyle>
          <a:p>
            <a:pPr lvl="0"/>
            <a:r>
              <a:rPr lang="en-US" dirty="0"/>
              <a:t>Optional Subtitle</a:t>
            </a:r>
          </a:p>
        </p:txBody>
      </p:sp>
      <p:sp>
        <p:nvSpPr>
          <p:cNvPr id="6" name="Date Placeholder 5"/>
          <p:cNvSpPr>
            <a:spLocks noGrp="1"/>
          </p:cNvSpPr>
          <p:nvPr>
            <p:ph type="dt" sz="half" idx="15"/>
          </p:nvPr>
        </p:nvSpPr>
        <p:spPr/>
        <p:txBody>
          <a:bodyPr/>
          <a:lstStyle/>
          <a:p>
            <a:fld id="{6DEB58C0-AB82-4AE7-957D-61EFBDAD7808}" type="datetime4">
              <a:rPr lang="en-US" smtClean="0"/>
              <a:t>October 18, 2021</a:t>
            </a:fld>
            <a:endParaRPr lang="en-CA" dirty="0"/>
          </a:p>
        </p:txBody>
      </p:sp>
      <p:sp>
        <p:nvSpPr>
          <p:cNvPr id="14" name="Footer Placeholder 13"/>
          <p:cNvSpPr>
            <a:spLocks noGrp="1"/>
          </p:cNvSpPr>
          <p:nvPr>
            <p:ph type="ftr" sz="quarter" idx="16"/>
          </p:nvPr>
        </p:nvSpPr>
        <p:spPr/>
        <p:txBody>
          <a:bodyPr/>
          <a:lstStyle/>
          <a:p>
            <a:endParaRPr lang="en-US" dirty="0"/>
          </a:p>
        </p:txBody>
      </p:sp>
      <p:sp>
        <p:nvSpPr>
          <p:cNvPr id="15" name="Slide Number Placeholder 14"/>
          <p:cNvSpPr>
            <a:spLocks noGrp="1"/>
          </p:cNvSpPr>
          <p:nvPr>
            <p:ph type="sldNum" sz="quarter" idx="17"/>
          </p:nvPr>
        </p:nvSpPr>
        <p:spPr/>
        <p:txBody>
          <a:bodyPr/>
          <a:lstStyle/>
          <a:p>
            <a:fld id="{00E6A5BD-C011-4A45-AA3A-201790FB7F2B}" type="slidenum">
              <a:rPr lang="en-CA" smtClean="0"/>
              <a:pPr/>
              <a:t>‹#›</a:t>
            </a:fld>
            <a:endParaRPr lang="en-CA" dirty="0"/>
          </a:p>
        </p:txBody>
      </p:sp>
    </p:spTree>
    <p:extLst>
      <p:ext uri="{BB962C8B-B14F-4D97-AF65-F5344CB8AC3E}">
        <p14:creationId xmlns:p14="http://schemas.microsoft.com/office/powerpoint/2010/main" val="34917766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495300" y="1728788"/>
            <a:ext cx="11201400" cy="433894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dirty="0"/>
          </a:p>
        </p:txBody>
      </p:sp>
      <p:sp>
        <p:nvSpPr>
          <p:cNvPr id="2" name="Date Placeholder 1"/>
          <p:cNvSpPr>
            <a:spLocks noGrp="1"/>
          </p:cNvSpPr>
          <p:nvPr>
            <p:ph type="dt" sz="half" idx="10"/>
          </p:nvPr>
        </p:nvSpPr>
        <p:spPr/>
        <p:txBody>
          <a:bodyPr/>
          <a:lstStyle/>
          <a:p>
            <a:fld id="{4188F50D-64A4-4FCB-8019-94CA2FBCBD7C}" type="datetime4">
              <a:rPr lang="en-US" smtClean="0"/>
              <a:t>October 18, 2021</a:t>
            </a:fld>
            <a:endParaRPr lang="en-CA" dirty="0"/>
          </a:p>
        </p:txBody>
      </p:sp>
      <p:sp>
        <p:nvSpPr>
          <p:cNvPr id="4" name="Footer Placeholder 3"/>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E6A5BD-C011-4A45-AA3A-201790FB7F2B}" type="slidenum">
              <a:rPr lang="en-CA" smtClean="0"/>
              <a:pPr/>
              <a:t>‹#›</a:t>
            </a:fld>
            <a:endParaRPr lang="en-CA" dirty="0"/>
          </a:p>
        </p:txBody>
      </p:sp>
      <p:sp>
        <p:nvSpPr>
          <p:cNvPr id="9" name="Title 1"/>
          <p:cNvSpPr>
            <a:spLocks noGrp="1"/>
          </p:cNvSpPr>
          <p:nvPr>
            <p:ph type="title" hasCustomPrompt="1"/>
          </p:nvPr>
        </p:nvSpPr>
        <p:spPr>
          <a:xfrm>
            <a:off x="495300" y="510063"/>
            <a:ext cx="11201400" cy="914400"/>
          </a:xfrm>
        </p:spPr>
        <p:txBody>
          <a:bodyPr/>
          <a:lstStyle>
            <a:lvl1pPr>
              <a:defRPr/>
            </a:lvl1pPr>
          </a:lstStyle>
          <a:p>
            <a:r>
              <a:rPr lang="en-US" dirty="0"/>
              <a:t>Picture with Caption</a:t>
            </a:r>
            <a:endParaRPr lang="en-CA" dirty="0"/>
          </a:p>
        </p:txBody>
      </p:sp>
    </p:spTree>
    <p:extLst>
      <p:ext uri="{BB962C8B-B14F-4D97-AF65-F5344CB8AC3E}">
        <p14:creationId xmlns:p14="http://schemas.microsoft.com/office/powerpoint/2010/main" val="34862655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Divider Light Image">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9144" y="-9144"/>
            <a:ext cx="12207240" cy="6876288"/>
          </a:xfrm>
        </p:spPr>
        <p:txBody>
          <a:bodyPr/>
          <a:lstStyle/>
          <a:p>
            <a:r>
              <a:rPr lang="en-US"/>
              <a:t>Click icon to add picture</a:t>
            </a:r>
            <a:endParaRPr lang="en-CA"/>
          </a:p>
        </p:txBody>
      </p:sp>
      <p:sp>
        <p:nvSpPr>
          <p:cNvPr id="2" name="Title 1"/>
          <p:cNvSpPr>
            <a:spLocks noGrp="1"/>
          </p:cNvSpPr>
          <p:nvPr>
            <p:ph type="title" hasCustomPrompt="1"/>
          </p:nvPr>
        </p:nvSpPr>
        <p:spPr>
          <a:xfrm>
            <a:off x="1627188" y="219456"/>
            <a:ext cx="9004300" cy="914400"/>
          </a:xfrm>
        </p:spPr>
        <p:txBody>
          <a:bodyPr anchor="ctr" anchorCtr="0">
            <a:noAutofit/>
          </a:bodyPr>
          <a:lstStyle>
            <a:lvl1pPr>
              <a:lnSpc>
                <a:spcPct val="90000"/>
              </a:lnSpc>
              <a:defRPr sz="3600">
                <a:solidFill>
                  <a:schemeClr val="accent2"/>
                </a:solidFill>
              </a:defRPr>
            </a:lvl1pPr>
          </a:lstStyle>
          <a:p>
            <a:r>
              <a:rPr lang="en-US" dirty="0"/>
              <a:t>Section Divider Light Image Layout</a:t>
            </a:r>
            <a:endParaRPr lang="en-CA" dirty="0"/>
          </a:p>
        </p:txBody>
      </p:sp>
    </p:spTree>
    <p:extLst>
      <p:ext uri="{BB962C8B-B14F-4D97-AF65-F5344CB8AC3E}">
        <p14:creationId xmlns:p14="http://schemas.microsoft.com/office/powerpoint/2010/main" val="6012525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47652F8-2028-47EC-8E89-6F1BC4534984}" type="datetime4">
              <a:rPr lang="en-US" smtClean="0"/>
              <a:t>October 18, 2021</a:t>
            </a:fld>
            <a:endParaRPr lang="en-CA" dirty="0"/>
          </a:p>
        </p:txBody>
      </p:sp>
      <p:sp>
        <p:nvSpPr>
          <p:cNvPr id="7" name="Footer Placeholder 6"/>
          <p:cNvSpPr>
            <a:spLocks noGrp="1"/>
          </p:cNvSpPr>
          <p:nvPr>
            <p:ph type="ftr" sz="quarter" idx="11"/>
          </p:nvPr>
        </p:nvSpPr>
        <p:spPr/>
        <p:txBody>
          <a:bodyPr/>
          <a:lstStyle/>
          <a:p>
            <a:endParaRPr lang="en-US" dirty="0"/>
          </a:p>
        </p:txBody>
      </p:sp>
      <p:sp>
        <p:nvSpPr>
          <p:cNvPr id="8" name="Slide Number Placeholder 7"/>
          <p:cNvSpPr>
            <a:spLocks noGrp="1"/>
          </p:cNvSpPr>
          <p:nvPr>
            <p:ph type="sldNum" sz="quarter" idx="12"/>
          </p:nvPr>
        </p:nvSpPr>
        <p:spPr/>
        <p:txBody>
          <a:bodyPr/>
          <a:lstStyle/>
          <a:p>
            <a:fld id="{00E6A5BD-C011-4A45-AA3A-201790FB7F2B}" type="slidenum">
              <a:rPr lang="en-CA" smtClean="0"/>
              <a:pPr/>
              <a:t>‹#›</a:t>
            </a:fld>
            <a:endParaRPr lang="en-CA" dirty="0"/>
          </a:p>
        </p:txBody>
      </p:sp>
      <p:sp>
        <p:nvSpPr>
          <p:cNvPr id="9" name="Rectangle 8"/>
          <p:cNvSpPr/>
          <p:nvPr userDrawn="1"/>
        </p:nvSpPr>
        <p:spPr bwMode="white">
          <a:xfrm>
            <a:off x="694267" y="1659467"/>
            <a:ext cx="10786533" cy="1185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title" hasCustomPrompt="1"/>
          </p:nvPr>
        </p:nvSpPr>
        <p:spPr>
          <a:xfrm>
            <a:off x="495300" y="510063"/>
            <a:ext cx="11201400" cy="914400"/>
          </a:xfrm>
        </p:spPr>
        <p:txBody>
          <a:bodyPr/>
          <a:lstStyle>
            <a:lvl1pPr>
              <a:defRPr/>
            </a:lvl1pPr>
          </a:lstStyle>
          <a:p>
            <a:r>
              <a:rPr lang="en-US" dirty="0"/>
              <a:t>Title Only</a:t>
            </a:r>
            <a:endParaRPr lang="en-CA" dirty="0"/>
          </a:p>
        </p:txBody>
      </p:sp>
    </p:spTree>
    <p:extLst>
      <p:ext uri="{BB962C8B-B14F-4D97-AF65-F5344CB8AC3E}">
        <p14:creationId xmlns:p14="http://schemas.microsoft.com/office/powerpoint/2010/main" val="33456114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7226835-DF95-4DD9-8B62-4B603339E75A}"/>
              </a:ext>
            </a:extLst>
          </p:cNvPr>
          <p:cNvSpPr/>
          <p:nvPr userDrawn="1"/>
        </p:nvSpPr>
        <p:spPr>
          <a:xfrm>
            <a:off x="0" y="0"/>
            <a:ext cx="12192000" cy="6858000"/>
          </a:xfrm>
          <a:prstGeom prst="rect">
            <a:avLst/>
          </a:prstGeom>
          <a:solidFill>
            <a:srgbClr val="143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327816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sp>
        <p:nvSpPr>
          <p:cNvPr id="4" name="Freeform 5"/>
          <p:cNvSpPr>
            <a:spLocks noChangeAspect="1" noEditPoints="1"/>
          </p:cNvSpPr>
          <p:nvPr userDrawn="1"/>
        </p:nvSpPr>
        <p:spPr bwMode="gray">
          <a:xfrm>
            <a:off x="4757541" y="2110155"/>
            <a:ext cx="2651760" cy="2651760"/>
          </a:xfrm>
          <a:custGeom>
            <a:avLst/>
            <a:gdLst>
              <a:gd name="T0" fmla="*/ 3869 w 5760"/>
              <a:gd name="T1" fmla="*/ 1545 h 5760"/>
              <a:gd name="T2" fmla="*/ 2018 w 5760"/>
              <a:gd name="T3" fmla="*/ 2250 h 5760"/>
              <a:gd name="T4" fmla="*/ 2018 w 5760"/>
              <a:gd name="T5" fmla="*/ 2250 h 5760"/>
              <a:gd name="T6" fmla="*/ 1556 w 5760"/>
              <a:gd name="T7" fmla="*/ 3934 h 5760"/>
              <a:gd name="T8" fmla="*/ 1755 w 5760"/>
              <a:gd name="T9" fmla="*/ 4133 h 5760"/>
              <a:gd name="T10" fmla="*/ 3470 w 5760"/>
              <a:gd name="T11" fmla="*/ 3455 h 5760"/>
              <a:gd name="T12" fmla="*/ 3861 w 5760"/>
              <a:gd name="T13" fmla="*/ 3710 h 5760"/>
              <a:gd name="T14" fmla="*/ 3933 w 5760"/>
              <a:gd name="T15" fmla="*/ 3255 h 5760"/>
              <a:gd name="T16" fmla="*/ 3734 w 5760"/>
              <a:gd name="T17" fmla="*/ 4133 h 5760"/>
              <a:gd name="T18" fmla="*/ 3694 w 5760"/>
              <a:gd name="T19" fmla="*/ 2712 h 5760"/>
              <a:gd name="T20" fmla="*/ 3905 w 5760"/>
              <a:gd name="T21" fmla="*/ 2466 h 5760"/>
              <a:gd name="T22" fmla="*/ 3574 w 5760"/>
              <a:gd name="T23" fmla="*/ 2354 h 5760"/>
              <a:gd name="T24" fmla="*/ 3853 w 5760"/>
              <a:gd name="T25" fmla="*/ 1324 h 5760"/>
              <a:gd name="T26" fmla="*/ 3295 w 5760"/>
              <a:gd name="T27" fmla="*/ 2298 h 5760"/>
              <a:gd name="T28" fmla="*/ 2685 w 5760"/>
              <a:gd name="T29" fmla="*/ 2469 h 5760"/>
              <a:gd name="T30" fmla="*/ 2816 w 5760"/>
              <a:gd name="T31" fmla="*/ 1987 h 5760"/>
              <a:gd name="T32" fmla="*/ 2170 w 5760"/>
              <a:gd name="T33" fmla="*/ 2593 h 5760"/>
              <a:gd name="T34" fmla="*/ 2712 w 5760"/>
              <a:gd name="T35" fmla="*/ 1580 h 5760"/>
              <a:gd name="T36" fmla="*/ 1779 w 5760"/>
              <a:gd name="T37" fmla="*/ 2274 h 5760"/>
              <a:gd name="T38" fmla="*/ 1643 w 5760"/>
              <a:gd name="T39" fmla="*/ 1795 h 5760"/>
              <a:gd name="T40" fmla="*/ 1388 w 5760"/>
              <a:gd name="T41" fmla="*/ 2066 h 5760"/>
              <a:gd name="T42" fmla="*/ 2122 w 5760"/>
              <a:gd name="T43" fmla="*/ 2792 h 5760"/>
              <a:gd name="T44" fmla="*/ 2417 w 5760"/>
              <a:gd name="T45" fmla="*/ 2832 h 5760"/>
              <a:gd name="T46" fmla="*/ 1292 w 5760"/>
              <a:gd name="T47" fmla="*/ 3917 h 5760"/>
              <a:gd name="T48" fmla="*/ 2537 w 5760"/>
              <a:gd name="T49" fmla="*/ 3678 h 5760"/>
              <a:gd name="T50" fmla="*/ 3374 w 5760"/>
              <a:gd name="T51" fmla="*/ 2489 h 5760"/>
              <a:gd name="T52" fmla="*/ 2888 w 5760"/>
              <a:gd name="T53" fmla="*/ 3502 h 5760"/>
              <a:gd name="T54" fmla="*/ 4484 w 5760"/>
              <a:gd name="T55" fmla="*/ 3646 h 5760"/>
              <a:gd name="T56" fmla="*/ 5321 w 5760"/>
              <a:gd name="T57" fmla="*/ 3701 h 5760"/>
              <a:gd name="T58" fmla="*/ 5297 w 5760"/>
              <a:gd name="T59" fmla="*/ 3694 h 5760"/>
              <a:gd name="T60" fmla="*/ 5066 w 5760"/>
              <a:gd name="T61" fmla="*/ 2513 h 5760"/>
              <a:gd name="T62" fmla="*/ 5138 w 5760"/>
              <a:gd name="T63" fmla="*/ 3415 h 5760"/>
              <a:gd name="T64" fmla="*/ 2880 w 5760"/>
              <a:gd name="T65" fmla="*/ 5449 h 5760"/>
              <a:gd name="T66" fmla="*/ 2063 w 5760"/>
              <a:gd name="T67" fmla="*/ 5306 h 5760"/>
              <a:gd name="T68" fmla="*/ 2689 w 5760"/>
              <a:gd name="T69" fmla="*/ 5393 h 5760"/>
              <a:gd name="T70" fmla="*/ 3047 w 5760"/>
              <a:gd name="T71" fmla="*/ 4875 h 5760"/>
              <a:gd name="T72" fmla="*/ 1771 w 5760"/>
              <a:gd name="T73" fmla="*/ 5042 h 5760"/>
              <a:gd name="T74" fmla="*/ 440 w 5760"/>
              <a:gd name="T75" fmla="*/ 2067 h 5760"/>
              <a:gd name="T76" fmla="*/ 462 w 5760"/>
              <a:gd name="T77" fmla="*/ 2075 h 5760"/>
              <a:gd name="T78" fmla="*/ 694 w 5760"/>
              <a:gd name="T79" fmla="*/ 3247 h 5760"/>
              <a:gd name="T80" fmla="*/ 622 w 5760"/>
              <a:gd name="T81" fmla="*/ 2354 h 5760"/>
              <a:gd name="T82" fmla="*/ 2880 w 5760"/>
              <a:gd name="T83" fmla="*/ 311 h 5760"/>
              <a:gd name="T84" fmla="*/ 3696 w 5760"/>
              <a:gd name="T85" fmla="*/ 461 h 5760"/>
              <a:gd name="T86" fmla="*/ 3071 w 5760"/>
              <a:gd name="T87" fmla="*/ 367 h 5760"/>
              <a:gd name="T88" fmla="*/ 2712 w 5760"/>
              <a:gd name="T89" fmla="*/ 885 h 5760"/>
              <a:gd name="T90" fmla="*/ 3989 w 5760"/>
              <a:gd name="T91" fmla="*/ 726 h 5760"/>
              <a:gd name="T92" fmla="*/ 5321 w 5760"/>
              <a:gd name="T93" fmla="*/ 3701 h 5760"/>
              <a:gd name="T94" fmla="*/ 135 w 5760"/>
              <a:gd name="T95" fmla="*/ 2880 h 5760"/>
              <a:gd name="T96" fmla="*/ 5624 w 5760"/>
              <a:gd name="T97" fmla="*/ 2880 h 5760"/>
              <a:gd name="T98" fmla="*/ 2880 w 5760"/>
              <a:gd name="T99" fmla="*/ 5760 h 5760"/>
              <a:gd name="T100" fmla="*/ 2880 w 5760"/>
              <a:gd name="T101" fmla="*/ 0 h 5760"/>
              <a:gd name="T102" fmla="*/ 2880 w 5760"/>
              <a:gd name="T103" fmla="*/ 576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5760">
                <a:moveTo>
                  <a:pt x="3526" y="2130"/>
                </a:moveTo>
                <a:cubicBezTo>
                  <a:pt x="3526" y="1803"/>
                  <a:pt x="3748" y="1485"/>
                  <a:pt x="3869" y="1545"/>
                </a:cubicBezTo>
                <a:cubicBezTo>
                  <a:pt x="4006" y="1614"/>
                  <a:pt x="3766" y="1923"/>
                  <a:pt x="3526" y="2130"/>
                </a:cubicBezTo>
                <a:moveTo>
                  <a:pt x="2018" y="2250"/>
                </a:moveTo>
                <a:cubicBezTo>
                  <a:pt x="2018" y="1987"/>
                  <a:pt x="2278" y="1486"/>
                  <a:pt x="2437" y="1539"/>
                </a:cubicBezTo>
                <a:cubicBezTo>
                  <a:pt x="2625" y="1601"/>
                  <a:pt x="2282" y="2106"/>
                  <a:pt x="2018" y="2250"/>
                </a:cubicBezTo>
                <a:close/>
                <a:moveTo>
                  <a:pt x="1755" y="4133"/>
                </a:moveTo>
                <a:cubicBezTo>
                  <a:pt x="1635" y="4138"/>
                  <a:pt x="1556" y="4062"/>
                  <a:pt x="1556" y="3934"/>
                </a:cubicBezTo>
                <a:cubicBezTo>
                  <a:pt x="1556" y="3591"/>
                  <a:pt x="2031" y="3264"/>
                  <a:pt x="2390" y="3088"/>
                </a:cubicBezTo>
                <a:cubicBezTo>
                  <a:pt x="2327" y="3567"/>
                  <a:pt x="2165" y="4114"/>
                  <a:pt x="1755" y="4133"/>
                </a:cubicBezTo>
                <a:close/>
                <a:moveTo>
                  <a:pt x="3949" y="3016"/>
                </a:moveTo>
                <a:cubicBezTo>
                  <a:pt x="3678" y="3016"/>
                  <a:pt x="3470" y="3215"/>
                  <a:pt x="3470" y="3455"/>
                </a:cubicBezTo>
                <a:cubicBezTo>
                  <a:pt x="3470" y="3654"/>
                  <a:pt x="3590" y="3813"/>
                  <a:pt x="3750" y="3813"/>
                </a:cubicBezTo>
                <a:cubicBezTo>
                  <a:pt x="3806" y="3813"/>
                  <a:pt x="3861" y="3782"/>
                  <a:pt x="3861" y="3710"/>
                </a:cubicBezTo>
                <a:cubicBezTo>
                  <a:pt x="3861" y="3606"/>
                  <a:pt x="3724" y="3581"/>
                  <a:pt x="3734" y="3426"/>
                </a:cubicBezTo>
                <a:cubicBezTo>
                  <a:pt x="3741" y="3323"/>
                  <a:pt x="3837" y="3255"/>
                  <a:pt x="3933" y="3255"/>
                </a:cubicBezTo>
                <a:cubicBezTo>
                  <a:pt x="4124" y="3255"/>
                  <a:pt x="4214" y="3440"/>
                  <a:pt x="4214" y="3632"/>
                </a:cubicBezTo>
                <a:cubicBezTo>
                  <a:pt x="4206" y="3927"/>
                  <a:pt x="3989" y="4133"/>
                  <a:pt x="3734" y="4133"/>
                </a:cubicBezTo>
                <a:cubicBezTo>
                  <a:pt x="3398" y="4133"/>
                  <a:pt x="3183" y="3813"/>
                  <a:pt x="3183" y="3470"/>
                </a:cubicBezTo>
                <a:cubicBezTo>
                  <a:pt x="3183" y="2960"/>
                  <a:pt x="3518" y="2760"/>
                  <a:pt x="3694" y="2712"/>
                </a:cubicBezTo>
                <a:cubicBezTo>
                  <a:pt x="3696" y="2712"/>
                  <a:pt x="4153" y="2794"/>
                  <a:pt x="4138" y="2592"/>
                </a:cubicBezTo>
                <a:cubicBezTo>
                  <a:pt x="4132" y="2504"/>
                  <a:pt x="4000" y="2470"/>
                  <a:pt x="3905" y="2466"/>
                </a:cubicBezTo>
                <a:cubicBezTo>
                  <a:pt x="3799" y="2462"/>
                  <a:pt x="3692" y="2500"/>
                  <a:pt x="3692" y="2500"/>
                </a:cubicBezTo>
                <a:cubicBezTo>
                  <a:pt x="3636" y="2472"/>
                  <a:pt x="3598" y="2417"/>
                  <a:pt x="3574" y="2354"/>
                </a:cubicBezTo>
                <a:cubicBezTo>
                  <a:pt x="3901" y="2106"/>
                  <a:pt x="4133" y="1867"/>
                  <a:pt x="4133" y="1596"/>
                </a:cubicBezTo>
                <a:cubicBezTo>
                  <a:pt x="4133" y="1452"/>
                  <a:pt x="4037" y="1324"/>
                  <a:pt x="3853" y="1324"/>
                </a:cubicBezTo>
                <a:cubicBezTo>
                  <a:pt x="3526" y="1324"/>
                  <a:pt x="3279" y="1739"/>
                  <a:pt x="3279" y="2114"/>
                </a:cubicBezTo>
                <a:cubicBezTo>
                  <a:pt x="3279" y="2178"/>
                  <a:pt x="3279" y="2242"/>
                  <a:pt x="3295" y="2298"/>
                </a:cubicBezTo>
                <a:cubicBezTo>
                  <a:pt x="3087" y="2449"/>
                  <a:pt x="2933" y="2543"/>
                  <a:pt x="2654" y="2711"/>
                </a:cubicBezTo>
                <a:cubicBezTo>
                  <a:pt x="2654" y="2676"/>
                  <a:pt x="2661" y="2586"/>
                  <a:pt x="2685" y="2469"/>
                </a:cubicBezTo>
                <a:cubicBezTo>
                  <a:pt x="2780" y="2365"/>
                  <a:pt x="2912" y="2210"/>
                  <a:pt x="2912" y="2090"/>
                </a:cubicBezTo>
                <a:cubicBezTo>
                  <a:pt x="2912" y="2034"/>
                  <a:pt x="2880" y="1987"/>
                  <a:pt x="2816" y="1987"/>
                </a:cubicBezTo>
                <a:cubicBezTo>
                  <a:pt x="2657" y="1987"/>
                  <a:pt x="2537" y="2226"/>
                  <a:pt x="2505" y="2393"/>
                </a:cubicBezTo>
                <a:cubicBezTo>
                  <a:pt x="2433" y="2481"/>
                  <a:pt x="2290" y="2593"/>
                  <a:pt x="2170" y="2593"/>
                </a:cubicBezTo>
                <a:cubicBezTo>
                  <a:pt x="2074" y="2593"/>
                  <a:pt x="2042" y="2505"/>
                  <a:pt x="2034" y="2473"/>
                </a:cubicBezTo>
                <a:cubicBezTo>
                  <a:pt x="2338" y="2369"/>
                  <a:pt x="2712" y="1955"/>
                  <a:pt x="2712" y="1580"/>
                </a:cubicBezTo>
                <a:cubicBezTo>
                  <a:pt x="2712" y="1500"/>
                  <a:pt x="2681" y="1324"/>
                  <a:pt x="2441" y="1324"/>
                </a:cubicBezTo>
                <a:cubicBezTo>
                  <a:pt x="2082" y="1324"/>
                  <a:pt x="1779" y="1859"/>
                  <a:pt x="1779" y="2274"/>
                </a:cubicBezTo>
                <a:cubicBezTo>
                  <a:pt x="1651" y="2274"/>
                  <a:pt x="1604" y="2138"/>
                  <a:pt x="1604" y="2034"/>
                </a:cubicBezTo>
                <a:cubicBezTo>
                  <a:pt x="1604" y="1931"/>
                  <a:pt x="1643" y="1827"/>
                  <a:pt x="1643" y="1795"/>
                </a:cubicBezTo>
                <a:cubicBezTo>
                  <a:pt x="1643" y="1763"/>
                  <a:pt x="1627" y="1723"/>
                  <a:pt x="1580" y="1723"/>
                </a:cubicBezTo>
                <a:cubicBezTo>
                  <a:pt x="1460" y="1723"/>
                  <a:pt x="1388" y="1883"/>
                  <a:pt x="1388" y="2066"/>
                </a:cubicBezTo>
                <a:cubicBezTo>
                  <a:pt x="1396" y="2322"/>
                  <a:pt x="1564" y="2481"/>
                  <a:pt x="1787" y="2497"/>
                </a:cubicBezTo>
                <a:cubicBezTo>
                  <a:pt x="1819" y="2649"/>
                  <a:pt x="1955" y="2792"/>
                  <a:pt x="2122" y="2792"/>
                </a:cubicBezTo>
                <a:cubicBezTo>
                  <a:pt x="2226" y="2792"/>
                  <a:pt x="2353" y="2760"/>
                  <a:pt x="2441" y="2681"/>
                </a:cubicBezTo>
                <a:cubicBezTo>
                  <a:pt x="2433" y="2737"/>
                  <a:pt x="2425" y="2784"/>
                  <a:pt x="2417" y="2832"/>
                </a:cubicBezTo>
                <a:cubicBezTo>
                  <a:pt x="2066" y="3016"/>
                  <a:pt x="1811" y="3143"/>
                  <a:pt x="1580" y="3351"/>
                </a:cubicBezTo>
                <a:cubicBezTo>
                  <a:pt x="1396" y="3518"/>
                  <a:pt x="1292" y="3742"/>
                  <a:pt x="1292" y="3917"/>
                </a:cubicBezTo>
                <a:cubicBezTo>
                  <a:pt x="1292" y="4157"/>
                  <a:pt x="1444" y="4380"/>
                  <a:pt x="1755" y="4380"/>
                </a:cubicBezTo>
                <a:cubicBezTo>
                  <a:pt x="2122" y="4380"/>
                  <a:pt x="2401" y="4085"/>
                  <a:pt x="2537" y="3678"/>
                </a:cubicBezTo>
                <a:cubicBezTo>
                  <a:pt x="2601" y="3486"/>
                  <a:pt x="2626" y="3208"/>
                  <a:pt x="2642" y="2952"/>
                </a:cubicBezTo>
                <a:cubicBezTo>
                  <a:pt x="3009" y="2745"/>
                  <a:pt x="3183" y="2625"/>
                  <a:pt x="3374" y="2489"/>
                </a:cubicBezTo>
                <a:cubicBezTo>
                  <a:pt x="3398" y="2529"/>
                  <a:pt x="3423" y="2561"/>
                  <a:pt x="3454" y="2585"/>
                </a:cubicBezTo>
                <a:cubicBezTo>
                  <a:pt x="3287" y="2673"/>
                  <a:pt x="2888" y="2920"/>
                  <a:pt x="2888" y="3502"/>
                </a:cubicBezTo>
                <a:cubicBezTo>
                  <a:pt x="2888" y="3917"/>
                  <a:pt x="3167" y="4380"/>
                  <a:pt x="3718" y="4380"/>
                </a:cubicBezTo>
                <a:cubicBezTo>
                  <a:pt x="4172" y="4380"/>
                  <a:pt x="4484" y="4005"/>
                  <a:pt x="4484" y="3646"/>
                </a:cubicBezTo>
                <a:cubicBezTo>
                  <a:pt x="4484" y="3319"/>
                  <a:pt x="4300" y="3016"/>
                  <a:pt x="3949" y="3016"/>
                </a:cubicBezTo>
                <a:close/>
                <a:moveTo>
                  <a:pt x="5321" y="3701"/>
                </a:moveTo>
                <a:cubicBezTo>
                  <a:pt x="5319" y="3703"/>
                  <a:pt x="5315" y="3707"/>
                  <a:pt x="5306" y="3704"/>
                </a:cubicBezTo>
                <a:cubicBezTo>
                  <a:pt x="5299" y="3702"/>
                  <a:pt x="5297" y="3698"/>
                  <a:pt x="5297" y="3694"/>
                </a:cubicBezTo>
                <a:cubicBezTo>
                  <a:pt x="5298" y="3689"/>
                  <a:pt x="5394" y="3405"/>
                  <a:pt x="5393" y="3080"/>
                </a:cubicBezTo>
                <a:cubicBezTo>
                  <a:pt x="5392" y="2728"/>
                  <a:pt x="5249" y="2513"/>
                  <a:pt x="5066" y="2513"/>
                </a:cubicBezTo>
                <a:cubicBezTo>
                  <a:pt x="4954" y="2513"/>
                  <a:pt x="4874" y="2593"/>
                  <a:pt x="4874" y="2712"/>
                </a:cubicBezTo>
                <a:cubicBezTo>
                  <a:pt x="4874" y="2928"/>
                  <a:pt x="5138" y="2944"/>
                  <a:pt x="5138" y="3415"/>
                </a:cubicBezTo>
                <a:cubicBezTo>
                  <a:pt x="5138" y="3606"/>
                  <a:pt x="5098" y="3789"/>
                  <a:pt x="5034" y="3989"/>
                </a:cubicBezTo>
                <a:cubicBezTo>
                  <a:pt x="4739" y="4986"/>
                  <a:pt x="3797" y="5449"/>
                  <a:pt x="2880" y="5449"/>
                </a:cubicBezTo>
                <a:cubicBezTo>
                  <a:pt x="2457" y="5449"/>
                  <a:pt x="2157" y="5362"/>
                  <a:pt x="2067" y="5322"/>
                </a:cubicBezTo>
                <a:cubicBezTo>
                  <a:pt x="2063" y="5320"/>
                  <a:pt x="2061" y="5313"/>
                  <a:pt x="2063" y="5306"/>
                </a:cubicBezTo>
                <a:cubicBezTo>
                  <a:pt x="2065" y="5300"/>
                  <a:pt x="2072" y="5296"/>
                  <a:pt x="2075" y="5298"/>
                </a:cubicBezTo>
                <a:cubicBezTo>
                  <a:pt x="2111" y="5312"/>
                  <a:pt x="2369" y="5393"/>
                  <a:pt x="2689" y="5393"/>
                </a:cubicBezTo>
                <a:cubicBezTo>
                  <a:pt x="3040" y="5393"/>
                  <a:pt x="3247" y="5250"/>
                  <a:pt x="3247" y="5074"/>
                </a:cubicBezTo>
                <a:cubicBezTo>
                  <a:pt x="3247" y="4962"/>
                  <a:pt x="3159" y="4875"/>
                  <a:pt x="3047" y="4875"/>
                </a:cubicBezTo>
                <a:cubicBezTo>
                  <a:pt x="2832" y="4875"/>
                  <a:pt x="2816" y="5146"/>
                  <a:pt x="2353" y="5146"/>
                </a:cubicBezTo>
                <a:cubicBezTo>
                  <a:pt x="2154" y="5146"/>
                  <a:pt x="1979" y="5106"/>
                  <a:pt x="1771" y="5042"/>
                </a:cubicBezTo>
                <a:cubicBezTo>
                  <a:pt x="782" y="4739"/>
                  <a:pt x="310" y="3805"/>
                  <a:pt x="311" y="2880"/>
                </a:cubicBezTo>
                <a:cubicBezTo>
                  <a:pt x="311" y="2429"/>
                  <a:pt x="438" y="2070"/>
                  <a:pt x="440" y="2067"/>
                </a:cubicBezTo>
                <a:cubicBezTo>
                  <a:pt x="441" y="2065"/>
                  <a:pt x="447" y="2062"/>
                  <a:pt x="454" y="2065"/>
                </a:cubicBezTo>
                <a:cubicBezTo>
                  <a:pt x="461" y="2067"/>
                  <a:pt x="463" y="2073"/>
                  <a:pt x="462" y="2075"/>
                </a:cubicBezTo>
                <a:cubicBezTo>
                  <a:pt x="451" y="2112"/>
                  <a:pt x="367" y="2370"/>
                  <a:pt x="367" y="2688"/>
                </a:cubicBezTo>
                <a:cubicBezTo>
                  <a:pt x="367" y="3040"/>
                  <a:pt x="511" y="3247"/>
                  <a:pt x="694" y="3247"/>
                </a:cubicBezTo>
                <a:cubicBezTo>
                  <a:pt x="798" y="3247"/>
                  <a:pt x="885" y="3167"/>
                  <a:pt x="885" y="3056"/>
                </a:cubicBezTo>
                <a:cubicBezTo>
                  <a:pt x="885" y="2840"/>
                  <a:pt x="622" y="2816"/>
                  <a:pt x="622" y="2354"/>
                </a:cubicBezTo>
                <a:cubicBezTo>
                  <a:pt x="622" y="2154"/>
                  <a:pt x="662" y="1978"/>
                  <a:pt x="726" y="1771"/>
                </a:cubicBezTo>
                <a:cubicBezTo>
                  <a:pt x="1029" y="782"/>
                  <a:pt x="1963" y="318"/>
                  <a:pt x="2880" y="311"/>
                </a:cubicBezTo>
                <a:cubicBezTo>
                  <a:pt x="3306" y="308"/>
                  <a:pt x="3680" y="435"/>
                  <a:pt x="3694" y="447"/>
                </a:cubicBezTo>
                <a:cubicBezTo>
                  <a:pt x="3696" y="449"/>
                  <a:pt x="3699" y="455"/>
                  <a:pt x="3696" y="461"/>
                </a:cubicBezTo>
                <a:cubicBezTo>
                  <a:pt x="3693" y="468"/>
                  <a:pt x="3688" y="469"/>
                  <a:pt x="3686" y="469"/>
                </a:cubicBezTo>
                <a:cubicBezTo>
                  <a:pt x="3681" y="468"/>
                  <a:pt x="3439" y="367"/>
                  <a:pt x="3071" y="367"/>
                </a:cubicBezTo>
                <a:cubicBezTo>
                  <a:pt x="2728" y="367"/>
                  <a:pt x="2513" y="510"/>
                  <a:pt x="2513" y="694"/>
                </a:cubicBezTo>
                <a:cubicBezTo>
                  <a:pt x="2513" y="798"/>
                  <a:pt x="2593" y="885"/>
                  <a:pt x="2712" y="885"/>
                </a:cubicBezTo>
                <a:cubicBezTo>
                  <a:pt x="2928" y="885"/>
                  <a:pt x="2944" y="622"/>
                  <a:pt x="3406" y="622"/>
                </a:cubicBezTo>
                <a:cubicBezTo>
                  <a:pt x="3606" y="622"/>
                  <a:pt x="3781" y="662"/>
                  <a:pt x="3989" y="726"/>
                </a:cubicBezTo>
                <a:cubicBezTo>
                  <a:pt x="4986" y="1029"/>
                  <a:pt x="5440" y="1971"/>
                  <a:pt x="5449" y="2880"/>
                </a:cubicBezTo>
                <a:cubicBezTo>
                  <a:pt x="5453" y="3346"/>
                  <a:pt x="5322" y="3699"/>
                  <a:pt x="5321" y="3701"/>
                </a:cubicBezTo>
                <a:close/>
                <a:moveTo>
                  <a:pt x="2880" y="136"/>
                </a:moveTo>
                <a:cubicBezTo>
                  <a:pt x="1364" y="136"/>
                  <a:pt x="135" y="1364"/>
                  <a:pt x="135" y="2880"/>
                </a:cubicBezTo>
                <a:cubicBezTo>
                  <a:pt x="135" y="4396"/>
                  <a:pt x="1364" y="5624"/>
                  <a:pt x="2880" y="5624"/>
                </a:cubicBezTo>
                <a:cubicBezTo>
                  <a:pt x="4396" y="5624"/>
                  <a:pt x="5624" y="4396"/>
                  <a:pt x="5624" y="2880"/>
                </a:cubicBezTo>
                <a:cubicBezTo>
                  <a:pt x="5624" y="1372"/>
                  <a:pt x="4396" y="136"/>
                  <a:pt x="2880" y="136"/>
                </a:cubicBezTo>
                <a:close/>
                <a:moveTo>
                  <a:pt x="2880" y="5760"/>
                </a:moveTo>
                <a:cubicBezTo>
                  <a:pt x="1292" y="5760"/>
                  <a:pt x="0" y="4476"/>
                  <a:pt x="0" y="2880"/>
                </a:cubicBezTo>
                <a:cubicBezTo>
                  <a:pt x="0" y="1292"/>
                  <a:pt x="1292" y="0"/>
                  <a:pt x="2880" y="0"/>
                </a:cubicBezTo>
                <a:cubicBezTo>
                  <a:pt x="4467" y="0"/>
                  <a:pt x="5760" y="1292"/>
                  <a:pt x="5760" y="2880"/>
                </a:cubicBezTo>
                <a:cubicBezTo>
                  <a:pt x="5760" y="4476"/>
                  <a:pt x="4467" y="5760"/>
                  <a:pt x="2880" y="5760"/>
                </a:cubicBezTo>
                <a:close/>
              </a:path>
            </a:pathLst>
          </a:custGeom>
          <a:solidFill>
            <a:srgbClr val="005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273886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sp>
        <p:nvSpPr>
          <p:cNvPr id="5" name="Freeform 5"/>
          <p:cNvSpPr>
            <a:spLocks noChangeAspect="1" noEditPoints="1"/>
          </p:cNvSpPr>
          <p:nvPr userDrawn="1"/>
        </p:nvSpPr>
        <p:spPr bwMode="black">
          <a:xfrm>
            <a:off x="4757541" y="2110155"/>
            <a:ext cx="2651760" cy="2651760"/>
          </a:xfrm>
          <a:custGeom>
            <a:avLst/>
            <a:gdLst>
              <a:gd name="T0" fmla="*/ 3869 w 5760"/>
              <a:gd name="T1" fmla="*/ 1545 h 5760"/>
              <a:gd name="T2" fmla="*/ 2018 w 5760"/>
              <a:gd name="T3" fmla="*/ 2250 h 5760"/>
              <a:gd name="T4" fmla="*/ 2018 w 5760"/>
              <a:gd name="T5" fmla="*/ 2250 h 5760"/>
              <a:gd name="T6" fmla="*/ 1556 w 5760"/>
              <a:gd name="T7" fmla="*/ 3934 h 5760"/>
              <a:gd name="T8" fmla="*/ 1755 w 5760"/>
              <a:gd name="T9" fmla="*/ 4133 h 5760"/>
              <a:gd name="T10" fmla="*/ 3470 w 5760"/>
              <a:gd name="T11" fmla="*/ 3455 h 5760"/>
              <a:gd name="T12" fmla="*/ 3861 w 5760"/>
              <a:gd name="T13" fmla="*/ 3710 h 5760"/>
              <a:gd name="T14" fmla="*/ 3933 w 5760"/>
              <a:gd name="T15" fmla="*/ 3255 h 5760"/>
              <a:gd name="T16" fmla="*/ 3734 w 5760"/>
              <a:gd name="T17" fmla="*/ 4133 h 5760"/>
              <a:gd name="T18" fmla="*/ 3694 w 5760"/>
              <a:gd name="T19" fmla="*/ 2712 h 5760"/>
              <a:gd name="T20" fmla="*/ 3905 w 5760"/>
              <a:gd name="T21" fmla="*/ 2466 h 5760"/>
              <a:gd name="T22" fmla="*/ 3574 w 5760"/>
              <a:gd name="T23" fmla="*/ 2354 h 5760"/>
              <a:gd name="T24" fmla="*/ 3853 w 5760"/>
              <a:gd name="T25" fmla="*/ 1324 h 5760"/>
              <a:gd name="T26" fmla="*/ 3295 w 5760"/>
              <a:gd name="T27" fmla="*/ 2298 h 5760"/>
              <a:gd name="T28" fmla="*/ 2685 w 5760"/>
              <a:gd name="T29" fmla="*/ 2469 h 5760"/>
              <a:gd name="T30" fmla="*/ 2816 w 5760"/>
              <a:gd name="T31" fmla="*/ 1987 h 5760"/>
              <a:gd name="T32" fmla="*/ 2170 w 5760"/>
              <a:gd name="T33" fmla="*/ 2593 h 5760"/>
              <a:gd name="T34" fmla="*/ 2712 w 5760"/>
              <a:gd name="T35" fmla="*/ 1580 h 5760"/>
              <a:gd name="T36" fmla="*/ 1779 w 5760"/>
              <a:gd name="T37" fmla="*/ 2274 h 5760"/>
              <a:gd name="T38" fmla="*/ 1643 w 5760"/>
              <a:gd name="T39" fmla="*/ 1795 h 5760"/>
              <a:gd name="T40" fmla="*/ 1388 w 5760"/>
              <a:gd name="T41" fmla="*/ 2066 h 5760"/>
              <a:gd name="T42" fmla="*/ 2122 w 5760"/>
              <a:gd name="T43" fmla="*/ 2792 h 5760"/>
              <a:gd name="T44" fmla="*/ 2417 w 5760"/>
              <a:gd name="T45" fmla="*/ 2832 h 5760"/>
              <a:gd name="T46" fmla="*/ 1292 w 5760"/>
              <a:gd name="T47" fmla="*/ 3917 h 5760"/>
              <a:gd name="T48" fmla="*/ 2537 w 5760"/>
              <a:gd name="T49" fmla="*/ 3678 h 5760"/>
              <a:gd name="T50" fmla="*/ 3374 w 5760"/>
              <a:gd name="T51" fmla="*/ 2489 h 5760"/>
              <a:gd name="T52" fmla="*/ 2888 w 5760"/>
              <a:gd name="T53" fmla="*/ 3502 h 5760"/>
              <a:gd name="T54" fmla="*/ 4484 w 5760"/>
              <a:gd name="T55" fmla="*/ 3646 h 5760"/>
              <a:gd name="T56" fmla="*/ 5321 w 5760"/>
              <a:gd name="T57" fmla="*/ 3701 h 5760"/>
              <a:gd name="T58" fmla="*/ 5297 w 5760"/>
              <a:gd name="T59" fmla="*/ 3694 h 5760"/>
              <a:gd name="T60" fmla="*/ 5066 w 5760"/>
              <a:gd name="T61" fmla="*/ 2513 h 5760"/>
              <a:gd name="T62" fmla="*/ 5138 w 5760"/>
              <a:gd name="T63" fmla="*/ 3415 h 5760"/>
              <a:gd name="T64" fmla="*/ 2880 w 5760"/>
              <a:gd name="T65" fmla="*/ 5449 h 5760"/>
              <a:gd name="T66" fmla="*/ 2063 w 5760"/>
              <a:gd name="T67" fmla="*/ 5306 h 5760"/>
              <a:gd name="T68" fmla="*/ 2689 w 5760"/>
              <a:gd name="T69" fmla="*/ 5393 h 5760"/>
              <a:gd name="T70" fmla="*/ 3047 w 5760"/>
              <a:gd name="T71" fmla="*/ 4875 h 5760"/>
              <a:gd name="T72" fmla="*/ 1771 w 5760"/>
              <a:gd name="T73" fmla="*/ 5042 h 5760"/>
              <a:gd name="T74" fmla="*/ 440 w 5760"/>
              <a:gd name="T75" fmla="*/ 2067 h 5760"/>
              <a:gd name="T76" fmla="*/ 462 w 5760"/>
              <a:gd name="T77" fmla="*/ 2075 h 5760"/>
              <a:gd name="T78" fmla="*/ 694 w 5760"/>
              <a:gd name="T79" fmla="*/ 3247 h 5760"/>
              <a:gd name="T80" fmla="*/ 622 w 5760"/>
              <a:gd name="T81" fmla="*/ 2354 h 5760"/>
              <a:gd name="T82" fmla="*/ 2880 w 5760"/>
              <a:gd name="T83" fmla="*/ 311 h 5760"/>
              <a:gd name="T84" fmla="*/ 3696 w 5760"/>
              <a:gd name="T85" fmla="*/ 461 h 5760"/>
              <a:gd name="T86" fmla="*/ 3071 w 5760"/>
              <a:gd name="T87" fmla="*/ 367 h 5760"/>
              <a:gd name="T88" fmla="*/ 2712 w 5760"/>
              <a:gd name="T89" fmla="*/ 885 h 5760"/>
              <a:gd name="T90" fmla="*/ 3989 w 5760"/>
              <a:gd name="T91" fmla="*/ 726 h 5760"/>
              <a:gd name="T92" fmla="*/ 5321 w 5760"/>
              <a:gd name="T93" fmla="*/ 3701 h 5760"/>
              <a:gd name="T94" fmla="*/ 135 w 5760"/>
              <a:gd name="T95" fmla="*/ 2880 h 5760"/>
              <a:gd name="T96" fmla="*/ 5624 w 5760"/>
              <a:gd name="T97" fmla="*/ 2880 h 5760"/>
              <a:gd name="T98" fmla="*/ 2880 w 5760"/>
              <a:gd name="T99" fmla="*/ 5760 h 5760"/>
              <a:gd name="T100" fmla="*/ 2880 w 5760"/>
              <a:gd name="T101" fmla="*/ 0 h 5760"/>
              <a:gd name="T102" fmla="*/ 2880 w 5760"/>
              <a:gd name="T103" fmla="*/ 576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5760">
                <a:moveTo>
                  <a:pt x="3526" y="2130"/>
                </a:moveTo>
                <a:cubicBezTo>
                  <a:pt x="3526" y="1803"/>
                  <a:pt x="3748" y="1485"/>
                  <a:pt x="3869" y="1545"/>
                </a:cubicBezTo>
                <a:cubicBezTo>
                  <a:pt x="4006" y="1614"/>
                  <a:pt x="3766" y="1923"/>
                  <a:pt x="3526" y="2130"/>
                </a:cubicBezTo>
                <a:moveTo>
                  <a:pt x="2018" y="2250"/>
                </a:moveTo>
                <a:cubicBezTo>
                  <a:pt x="2018" y="1987"/>
                  <a:pt x="2278" y="1486"/>
                  <a:pt x="2437" y="1539"/>
                </a:cubicBezTo>
                <a:cubicBezTo>
                  <a:pt x="2625" y="1601"/>
                  <a:pt x="2282" y="2106"/>
                  <a:pt x="2018" y="2250"/>
                </a:cubicBezTo>
                <a:close/>
                <a:moveTo>
                  <a:pt x="1755" y="4133"/>
                </a:moveTo>
                <a:cubicBezTo>
                  <a:pt x="1635" y="4138"/>
                  <a:pt x="1556" y="4062"/>
                  <a:pt x="1556" y="3934"/>
                </a:cubicBezTo>
                <a:cubicBezTo>
                  <a:pt x="1556" y="3591"/>
                  <a:pt x="2031" y="3264"/>
                  <a:pt x="2390" y="3088"/>
                </a:cubicBezTo>
                <a:cubicBezTo>
                  <a:pt x="2327" y="3567"/>
                  <a:pt x="2165" y="4114"/>
                  <a:pt x="1755" y="4133"/>
                </a:cubicBezTo>
                <a:close/>
                <a:moveTo>
                  <a:pt x="3949" y="3016"/>
                </a:moveTo>
                <a:cubicBezTo>
                  <a:pt x="3678" y="3016"/>
                  <a:pt x="3470" y="3215"/>
                  <a:pt x="3470" y="3455"/>
                </a:cubicBezTo>
                <a:cubicBezTo>
                  <a:pt x="3470" y="3654"/>
                  <a:pt x="3590" y="3813"/>
                  <a:pt x="3750" y="3813"/>
                </a:cubicBezTo>
                <a:cubicBezTo>
                  <a:pt x="3806" y="3813"/>
                  <a:pt x="3861" y="3782"/>
                  <a:pt x="3861" y="3710"/>
                </a:cubicBezTo>
                <a:cubicBezTo>
                  <a:pt x="3861" y="3606"/>
                  <a:pt x="3724" y="3581"/>
                  <a:pt x="3734" y="3426"/>
                </a:cubicBezTo>
                <a:cubicBezTo>
                  <a:pt x="3741" y="3323"/>
                  <a:pt x="3837" y="3255"/>
                  <a:pt x="3933" y="3255"/>
                </a:cubicBezTo>
                <a:cubicBezTo>
                  <a:pt x="4124" y="3255"/>
                  <a:pt x="4214" y="3440"/>
                  <a:pt x="4214" y="3632"/>
                </a:cubicBezTo>
                <a:cubicBezTo>
                  <a:pt x="4206" y="3927"/>
                  <a:pt x="3989" y="4133"/>
                  <a:pt x="3734" y="4133"/>
                </a:cubicBezTo>
                <a:cubicBezTo>
                  <a:pt x="3398" y="4133"/>
                  <a:pt x="3183" y="3813"/>
                  <a:pt x="3183" y="3470"/>
                </a:cubicBezTo>
                <a:cubicBezTo>
                  <a:pt x="3183" y="2960"/>
                  <a:pt x="3518" y="2760"/>
                  <a:pt x="3694" y="2712"/>
                </a:cubicBezTo>
                <a:cubicBezTo>
                  <a:pt x="3696" y="2712"/>
                  <a:pt x="4153" y="2794"/>
                  <a:pt x="4138" y="2592"/>
                </a:cubicBezTo>
                <a:cubicBezTo>
                  <a:pt x="4132" y="2504"/>
                  <a:pt x="4000" y="2470"/>
                  <a:pt x="3905" y="2466"/>
                </a:cubicBezTo>
                <a:cubicBezTo>
                  <a:pt x="3799" y="2462"/>
                  <a:pt x="3692" y="2500"/>
                  <a:pt x="3692" y="2500"/>
                </a:cubicBezTo>
                <a:cubicBezTo>
                  <a:pt x="3636" y="2472"/>
                  <a:pt x="3598" y="2417"/>
                  <a:pt x="3574" y="2354"/>
                </a:cubicBezTo>
                <a:cubicBezTo>
                  <a:pt x="3901" y="2106"/>
                  <a:pt x="4133" y="1867"/>
                  <a:pt x="4133" y="1596"/>
                </a:cubicBezTo>
                <a:cubicBezTo>
                  <a:pt x="4133" y="1452"/>
                  <a:pt x="4037" y="1324"/>
                  <a:pt x="3853" y="1324"/>
                </a:cubicBezTo>
                <a:cubicBezTo>
                  <a:pt x="3526" y="1324"/>
                  <a:pt x="3279" y="1739"/>
                  <a:pt x="3279" y="2114"/>
                </a:cubicBezTo>
                <a:cubicBezTo>
                  <a:pt x="3279" y="2178"/>
                  <a:pt x="3279" y="2242"/>
                  <a:pt x="3295" y="2298"/>
                </a:cubicBezTo>
                <a:cubicBezTo>
                  <a:pt x="3087" y="2449"/>
                  <a:pt x="2933" y="2543"/>
                  <a:pt x="2654" y="2711"/>
                </a:cubicBezTo>
                <a:cubicBezTo>
                  <a:pt x="2654" y="2676"/>
                  <a:pt x="2661" y="2586"/>
                  <a:pt x="2685" y="2469"/>
                </a:cubicBezTo>
                <a:cubicBezTo>
                  <a:pt x="2780" y="2365"/>
                  <a:pt x="2912" y="2210"/>
                  <a:pt x="2912" y="2090"/>
                </a:cubicBezTo>
                <a:cubicBezTo>
                  <a:pt x="2912" y="2034"/>
                  <a:pt x="2880" y="1987"/>
                  <a:pt x="2816" y="1987"/>
                </a:cubicBezTo>
                <a:cubicBezTo>
                  <a:pt x="2657" y="1987"/>
                  <a:pt x="2537" y="2226"/>
                  <a:pt x="2505" y="2393"/>
                </a:cubicBezTo>
                <a:cubicBezTo>
                  <a:pt x="2433" y="2481"/>
                  <a:pt x="2290" y="2593"/>
                  <a:pt x="2170" y="2593"/>
                </a:cubicBezTo>
                <a:cubicBezTo>
                  <a:pt x="2074" y="2593"/>
                  <a:pt x="2042" y="2505"/>
                  <a:pt x="2034" y="2473"/>
                </a:cubicBezTo>
                <a:cubicBezTo>
                  <a:pt x="2338" y="2369"/>
                  <a:pt x="2712" y="1955"/>
                  <a:pt x="2712" y="1580"/>
                </a:cubicBezTo>
                <a:cubicBezTo>
                  <a:pt x="2712" y="1500"/>
                  <a:pt x="2681" y="1324"/>
                  <a:pt x="2441" y="1324"/>
                </a:cubicBezTo>
                <a:cubicBezTo>
                  <a:pt x="2082" y="1324"/>
                  <a:pt x="1779" y="1859"/>
                  <a:pt x="1779" y="2274"/>
                </a:cubicBezTo>
                <a:cubicBezTo>
                  <a:pt x="1651" y="2274"/>
                  <a:pt x="1604" y="2138"/>
                  <a:pt x="1604" y="2034"/>
                </a:cubicBezTo>
                <a:cubicBezTo>
                  <a:pt x="1604" y="1931"/>
                  <a:pt x="1643" y="1827"/>
                  <a:pt x="1643" y="1795"/>
                </a:cubicBezTo>
                <a:cubicBezTo>
                  <a:pt x="1643" y="1763"/>
                  <a:pt x="1627" y="1723"/>
                  <a:pt x="1580" y="1723"/>
                </a:cubicBezTo>
                <a:cubicBezTo>
                  <a:pt x="1460" y="1723"/>
                  <a:pt x="1388" y="1883"/>
                  <a:pt x="1388" y="2066"/>
                </a:cubicBezTo>
                <a:cubicBezTo>
                  <a:pt x="1396" y="2322"/>
                  <a:pt x="1564" y="2481"/>
                  <a:pt x="1787" y="2497"/>
                </a:cubicBezTo>
                <a:cubicBezTo>
                  <a:pt x="1819" y="2649"/>
                  <a:pt x="1955" y="2792"/>
                  <a:pt x="2122" y="2792"/>
                </a:cubicBezTo>
                <a:cubicBezTo>
                  <a:pt x="2226" y="2792"/>
                  <a:pt x="2353" y="2760"/>
                  <a:pt x="2441" y="2681"/>
                </a:cubicBezTo>
                <a:cubicBezTo>
                  <a:pt x="2433" y="2737"/>
                  <a:pt x="2425" y="2784"/>
                  <a:pt x="2417" y="2832"/>
                </a:cubicBezTo>
                <a:cubicBezTo>
                  <a:pt x="2066" y="3016"/>
                  <a:pt x="1811" y="3143"/>
                  <a:pt x="1580" y="3351"/>
                </a:cubicBezTo>
                <a:cubicBezTo>
                  <a:pt x="1396" y="3518"/>
                  <a:pt x="1292" y="3742"/>
                  <a:pt x="1292" y="3917"/>
                </a:cubicBezTo>
                <a:cubicBezTo>
                  <a:pt x="1292" y="4157"/>
                  <a:pt x="1444" y="4380"/>
                  <a:pt x="1755" y="4380"/>
                </a:cubicBezTo>
                <a:cubicBezTo>
                  <a:pt x="2122" y="4380"/>
                  <a:pt x="2401" y="4085"/>
                  <a:pt x="2537" y="3678"/>
                </a:cubicBezTo>
                <a:cubicBezTo>
                  <a:pt x="2601" y="3486"/>
                  <a:pt x="2626" y="3208"/>
                  <a:pt x="2642" y="2952"/>
                </a:cubicBezTo>
                <a:cubicBezTo>
                  <a:pt x="3009" y="2745"/>
                  <a:pt x="3183" y="2625"/>
                  <a:pt x="3374" y="2489"/>
                </a:cubicBezTo>
                <a:cubicBezTo>
                  <a:pt x="3398" y="2529"/>
                  <a:pt x="3423" y="2561"/>
                  <a:pt x="3454" y="2585"/>
                </a:cubicBezTo>
                <a:cubicBezTo>
                  <a:pt x="3287" y="2673"/>
                  <a:pt x="2888" y="2920"/>
                  <a:pt x="2888" y="3502"/>
                </a:cubicBezTo>
                <a:cubicBezTo>
                  <a:pt x="2888" y="3917"/>
                  <a:pt x="3167" y="4380"/>
                  <a:pt x="3718" y="4380"/>
                </a:cubicBezTo>
                <a:cubicBezTo>
                  <a:pt x="4172" y="4380"/>
                  <a:pt x="4484" y="4005"/>
                  <a:pt x="4484" y="3646"/>
                </a:cubicBezTo>
                <a:cubicBezTo>
                  <a:pt x="4484" y="3319"/>
                  <a:pt x="4300" y="3016"/>
                  <a:pt x="3949" y="3016"/>
                </a:cubicBezTo>
                <a:close/>
                <a:moveTo>
                  <a:pt x="5321" y="3701"/>
                </a:moveTo>
                <a:cubicBezTo>
                  <a:pt x="5319" y="3703"/>
                  <a:pt x="5315" y="3707"/>
                  <a:pt x="5306" y="3704"/>
                </a:cubicBezTo>
                <a:cubicBezTo>
                  <a:pt x="5299" y="3702"/>
                  <a:pt x="5297" y="3698"/>
                  <a:pt x="5297" y="3694"/>
                </a:cubicBezTo>
                <a:cubicBezTo>
                  <a:pt x="5298" y="3689"/>
                  <a:pt x="5394" y="3405"/>
                  <a:pt x="5393" y="3080"/>
                </a:cubicBezTo>
                <a:cubicBezTo>
                  <a:pt x="5392" y="2728"/>
                  <a:pt x="5249" y="2513"/>
                  <a:pt x="5066" y="2513"/>
                </a:cubicBezTo>
                <a:cubicBezTo>
                  <a:pt x="4954" y="2513"/>
                  <a:pt x="4874" y="2593"/>
                  <a:pt x="4874" y="2712"/>
                </a:cubicBezTo>
                <a:cubicBezTo>
                  <a:pt x="4874" y="2928"/>
                  <a:pt x="5138" y="2944"/>
                  <a:pt x="5138" y="3415"/>
                </a:cubicBezTo>
                <a:cubicBezTo>
                  <a:pt x="5138" y="3606"/>
                  <a:pt x="5098" y="3789"/>
                  <a:pt x="5034" y="3989"/>
                </a:cubicBezTo>
                <a:cubicBezTo>
                  <a:pt x="4739" y="4986"/>
                  <a:pt x="3797" y="5449"/>
                  <a:pt x="2880" y="5449"/>
                </a:cubicBezTo>
                <a:cubicBezTo>
                  <a:pt x="2457" y="5449"/>
                  <a:pt x="2157" y="5362"/>
                  <a:pt x="2067" y="5322"/>
                </a:cubicBezTo>
                <a:cubicBezTo>
                  <a:pt x="2063" y="5320"/>
                  <a:pt x="2061" y="5313"/>
                  <a:pt x="2063" y="5306"/>
                </a:cubicBezTo>
                <a:cubicBezTo>
                  <a:pt x="2065" y="5300"/>
                  <a:pt x="2072" y="5296"/>
                  <a:pt x="2075" y="5298"/>
                </a:cubicBezTo>
                <a:cubicBezTo>
                  <a:pt x="2111" y="5312"/>
                  <a:pt x="2369" y="5393"/>
                  <a:pt x="2689" y="5393"/>
                </a:cubicBezTo>
                <a:cubicBezTo>
                  <a:pt x="3040" y="5393"/>
                  <a:pt x="3247" y="5250"/>
                  <a:pt x="3247" y="5074"/>
                </a:cubicBezTo>
                <a:cubicBezTo>
                  <a:pt x="3247" y="4962"/>
                  <a:pt x="3159" y="4875"/>
                  <a:pt x="3047" y="4875"/>
                </a:cubicBezTo>
                <a:cubicBezTo>
                  <a:pt x="2832" y="4875"/>
                  <a:pt x="2816" y="5146"/>
                  <a:pt x="2353" y="5146"/>
                </a:cubicBezTo>
                <a:cubicBezTo>
                  <a:pt x="2154" y="5146"/>
                  <a:pt x="1979" y="5106"/>
                  <a:pt x="1771" y="5042"/>
                </a:cubicBezTo>
                <a:cubicBezTo>
                  <a:pt x="782" y="4739"/>
                  <a:pt x="310" y="3805"/>
                  <a:pt x="311" y="2880"/>
                </a:cubicBezTo>
                <a:cubicBezTo>
                  <a:pt x="311" y="2429"/>
                  <a:pt x="438" y="2070"/>
                  <a:pt x="440" y="2067"/>
                </a:cubicBezTo>
                <a:cubicBezTo>
                  <a:pt x="441" y="2065"/>
                  <a:pt x="447" y="2062"/>
                  <a:pt x="454" y="2065"/>
                </a:cubicBezTo>
                <a:cubicBezTo>
                  <a:pt x="461" y="2067"/>
                  <a:pt x="463" y="2073"/>
                  <a:pt x="462" y="2075"/>
                </a:cubicBezTo>
                <a:cubicBezTo>
                  <a:pt x="451" y="2112"/>
                  <a:pt x="367" y="2370"/>
                  <a:pt x="367" y="2688"/>
                </a:cubicBezTo>
                <a:cubicBezTo>
                  <a:pt x="367" y="3040"/>
                  <a:pt x="511" y="3247"/>
                  <a:pt x="694" y="3247"/>
                </a:cubicBezTo>
                <a:cubicBezTo>
                  <a:pt x="798" y="3247"/>
                  <a:pt x="885" y="3167"/>
                  <a:pt x="885" y="3056"/>
                </a:cubicBezTo>
                <a:cubicBezTo>
                  <a:pt x="885" y="2840"/>
                  <a:pt x="622" y="2816"/>
                  <a:pt x="622" y="2354"/>
                </a:cubicBezTo>
                <a:cubicBezTo>
                  <a:pt x="622" y="2154"/>
                  <a:pt x="662" y="1978"/>
                  <a:pt x="726" y="1771"/>
                </a:cubicBezTo>
                <a:cubicBezTo>
                  <a:pt x="1029" y="782"/>
                  <a:pt x="1963" y="318"/>
                  <a:pt x="2880" y="311"/>
                </a:cubicBezTo>
                <a:cubicBezTo>
                  <a:pt x="3306" y="308"/>
                  <a:pt x="3680" y="435"/>
                  <a:pt x="3694" y="447"/>
                </a:cubicBezTo>
                <a:cubicBezTo>
                  <a:pt x="3696" y="449"/>
                  <a:pt x="3699" y="455"/>
                  <a:pt x="3696" y="461"/>
                </a:cubicBezTo>
                <a:cubicBezTo>
                  <a:pt x="3693" y="468"/>
                  <a:pt x="3688" y="469"/>
                  <a:pt x="3686" y="469"/>
                </a:cubicBezTo>
                <a:cubicBezTo>
                  <a:pt x="3681" y="468"/>
                  <a:pt x="3439" y="367"/>
                  <a:pt x="3071" y="367"/>
                </a:cubicBezTo>
                <a:cubicBezTo>
                  <a:pt x="2728" y="367"/>
                  <a:pt x="2513" y="510"/>
                  <a:pt x="2513" y="694"/>
                </a:cubicBezTo>
                <a:cubicBezTo>
                  <a:pt x="2513" y="798"/>
                  <a:pt x="2593" y="885"/>
                  <a:pt x="2712" y="885"/>
                </a:cubicBezTo>
                <a:cubicBezTo>
                  <a:pt x="2928" y="885"/>
                  <a:pt x="2944" y="622"/>
                  <a:pt x="3406" y="622"/>
                </a:cubicBezTo>
                <a:cubicBezTo>
                  <a:pt x="3606" y="622"/>
                  <a:pt x="3781" y="662"/>
                  <a:pt x="3989" y="726"/>
                </a:cubicBezTo>
                <a:cubicBezTo>
                  <a:pt x="4986" y="1029"/>
                  <a:pt x="5440" y="1971"/>
                  <a:pt x="5449" y="2880"/>
                </a:cubicBezTo>
                <a:cubicBezTo>
                  <a:pt x="5453" y="3346"/>
                  <a:pt x="5322" y="3699"/>
                  <a:pt x="5321" y="3701"/>
                </a:cubicBezTo>
                <a:close/>
                <a:moveTo>
                  <a:pt x="2880" y="136"/>
                </a:moveTo>
                <a:cubicBezTo>
                  <a:pt x="1364" y="136"/>
                  <a:pt x="135" y="1364"/>
                  <a:pt x="135" y="2880"/>
                </a:cubicBezTo>
                <a:cubicBezTo>
                  <a:pt x="135" y="4396"/>
                  <a:pt x="1364" y="5624"/>
                  <a:pt x="2880" y="5624"/>
                </a:cubicBezTo>
                <a:cubicBezTo>
                  <a:pt x="4396" y="5624"/>
                  <a:pt x="5624" y="4396"/>
                  <a:pt x="5624" y="2880"/>
                </a:cubicBezTo>
                <a:cubicBezTo>
                  <a:pt x="5624" y="1372"/>
                  <a:pt x="4396" y="136"/>
                  <a:pt x="2880" y="136"/>
                </a:cubicBezTo>
                <a:close/>
                <a:moveTo>
                  <a:pt x="2880" y="5760"/>
                </a:moveTo>
                <a:cubicBezTo>
                  <a:pt x="1292" y="5760"/>
                  <a:pt x="0" y="4476"/>
                  <a:pt x="0" y="2880"/>
                </a:cubicBezTo>
                <a:cubicBezTo>
                  <a:pt x="0" y="1292"/>
                  <a:pt x="1292" y="0"/>
                  <a:pt x="2880" y="0"/>
                </a:cubicBezTo>
                <a:cubicBezTo>
                  <a:pt x="4467" y="0"/>
                  <a:pt x="5760" y="1292"/>
                  <a:pt x="5760" y="2880"/>
                </a:cubicBezTo>
                <a:cubicBezTo>
                  <a:pt x="5760" y="4476"/>
                  <a:pt x="4467" y="5760"/>
                  <a:pt x="2880" y="576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5020944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5F18BD-23F8-4BB2-81B6-FB4CB7244585}"/>
              </a:ext>
            </a:extLst>
          </p:cNvPr>
          <p:cNvGraphicFramePr>
            <a:graphicFrameLocks noChangeAspect="1"/>
          </p:cNvGraphicFramePr>
          <p:nvPr userDrawn="1">
            <p:custDataLst>
              <p:tags r:id="rId1"/>
            </p:custDataLst>
            <p:extLst>
              <p:ext uri="{D42A27DB-BD31-4B8C-83A1-F6EECF244321}">
                <p14:modId xmlns:p14="http://schemas.microsoft.com/office/powerpoint/2010/main" val="2323193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5" name="Object 4" hidden="1">
                        <a:extLst>
                          <a:ext uri="{FF2B5EF4-FFF2-40B4-BE49-F238E27FC236}">
                            <a16:creationId xmlns:a16="http://schemas.microsoft.com/office/drawing/2014/main" id="{0A5F18BD-23F8-4BB2-81B6-FB4CB72445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912433-74AE-4B9F-A1B3-DAA1122520F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GE Inspira Sans" panose="020B0503060000000003" pitchFamily="34" charset="0"/>
              <a:ea typeface="+mj-ea"/>
              <a:cs typeface="+mj-cs"/>
              <a:sym typeface="GE Inspira Sans" panose="020B0503060000000003" pitchFamily="34" charset="0"/>
            </a:endParaRPr>
          </a:p>
        </p:txBody>
      </p:sp>
      <p:sp>
        <p:nvSpPr>
          <p:cNvPr id="2" name="Title 1"/>
          <p:cNvSpPr>
            <a:spLocks noGrp="1"/>
          </p:cNvSpPr>
          <p:nvPr>
            <p:ph type="title" hasCustomPrompt="1"/>
          </p:nvPr>
        </p:nvSpPr>
        <p:spPr>
          <a:xfrm>
            <a:off x="495300" y="1649413"/>
            <a:ext cx="9261449" cy="664797"/>
          </a:xfrm>
        </p:spPr>
        <p:txBody>
          <a:bodyPr wrap="square" anchor="t" anchorCtr="0">
            <a:spAutoFit/>
          </a:bodyPr>
          <a:lstStyle>
            <a:lvl1pPr>
              <a:lnSpc>
                <a:spcPct val="90000"/>
              </a:lnSpc>
              <a:defRPr sz="4800">
                <a:solidFill>
                  <a:schemeClr val="bg1"/>
                </a:solidFill>
              </a:defRPr>
            </a:lvl1pPr>
          </a:lstStyle>
          <a:p>
            <a:r>
              <a:rPr lang="en-US" dirty="0"/>
              <a:t>Section Title</a:t>
            </a:r>
          </a:p>
        </p:txBody>
      </p:sp>
      <p:sp>
        <p:nvSpPr>
          <p:cNvPr id="3" name="Freeform 5"/>
          <p:cNvSpPr>
            <a:spLocks noChangeAspect="1" noEditPoints="1"/>
          </p:cNvSpPr>
          <p:nvPr userDrawn="1"/>
        </p:nvSpPr>
        <p:spPr bwMode="auto">
          <a:xfrm>
            <a:off x="515012" y="6312756"/>
            <a:ext cx="384048" cy="384048"/>
          </a:xfrm>
          <a:custGeom>
            <a:avLst/>
            <a:gdLst>
              <a:gd name="T0" fmla="*/ 3869 w 5760"/>
              <a:gd name="T1" fmla="*/ 1545 h 5760"/>
              <a:gd name="T2" fmla="*/ 2018 w 5760"/>
              <a:gd name="T3" fmla="*/ 2250 h 5760"/>
              <a:gd name="T4" fmla="*/ 2018 w 5760"/>
              <a:gd name="T5" fmla="*/ 2250 h 5760"/>
              <a:gd name="T6" fmla="*/ 1556 w 5760"/>
              <a:gd name="T7" fmla="*/ 3934 h 5760"/>
              <a:gd name="T8" fmla="*/ 1755 w 5760"/>
              <a:gd name="T9" fmla="*/ 4133 h 5760"/>
              <a:gd name="T10" fmla="*/ 3470 w 5760"/>
              <a:gd name="T11" fmla="*/ 3455 h 5760"/>
              <a:gd name="T12" fmla="*/ 3861 w 5760"/>
              <a:gd name="T13" fmla="*/ 3710 h 5760"/>
              <a:gd name="T14" fmla="*/ 3933 w 5760"/>
              <a:gd name="T15" fmla="*/ 3255 h 5760"/>
              <a:gd name="T16" fmla="*/ 3734 w 5760"/>
              <a:gd name="T17" fmla="*/ 4133 h 5760"/>
              <a:gd name="T18" fmla="*/ 3694 w 5760"/>
              <a:gd name="T19" fmla="*/ 2712 h 5760"/>
              <a:gd name="T20" fmla="*/ 3905 w 5760"/>
              <a:gd name="T21" fmla="*/ 2466 h 5760"/>
              <a:gd name="T22" fmla="*/ 3574 w 5760"/>
              <a:gd name="T23" fmla="*/ 2354 h 5760"/>
              <a:gd name="T24" fmla="*/ 3853 w 5760"/>
              <a:gd name="T25" fmla="*/ 1324 h 5760"/>
              <a:gd name="T26" fmla="*/ 3295 w 5760"/>
              <a:gd name="T27" fmla="*/ 2298 h 5760"/>
              <a:gd name="T28" fmla="*/ 2685 w 5760"/>
              <a:gd name="T29" fmla="*/ 2469 h 5760"/>
              <a:gd name="T30" fmla="*/ 2816 w 5760"/>
              <a:gd name="T31" fmla="*/ 1987 h 5760"/>
              <a:gd name="T32" fmla="*/ 2170 w 5760"/>
              <a:gd name="T33" fmla="*/ 2593 h 5760"/>
              <a:gd name="T34" fmla="*/ 2712 w 5760"/>
              <a:gd name="T35" fmla="*/ 1580 h 5760"/>
              <a:gd name="T36" fmla="*/ 1779 w 5760"/>
              <a:gd name="T37" fmla="*/ 2274 h 5760"/>
              <a:gd name="T38" fmla="*/ 1643 w 5760"/>
              <a:gd name="T39" fmla="*/ 1795 h 5760"/>
              <a:gd name="T40" fmla="*/ 1388 w 5760"/>
              <a:gd name="T41" fmla="*/ 2066 h 5760"/>
              <a:gd name="T42" fmla="*/ 2122 w 5760"/>
              <a:gd name="T43" fmla="*/ 2792 h 5760"/>
              <a:gd name="T44" fmla="*/ 2417 w 5760"/>
              <a:gd name="T45" fmla="*/ 2832 h 5760"/>
              <a:gd name="T46" fmla="*/ 1292 w 5760"/>
              <a:gd name="T47" fmla="*/ 3917 h 5760"/>
              <a:gd name="T48" fmla="*/ 2537 w 5760"/>
              <a:gd name="T49" fmla="*/ 3678 h 5760"/>
              <a:gd name="T50" fmla="*/ 3374 w 5760"/>
              <a:gd name="T51" fmla="*/ 2489 h 5760"/>
              <a:gd name="T52" fmla="*/ 2888 w 5760"/>
              <a:gd name="T53" fmla="*/ 3502 h 5760"/>
              <a:gd name="T54" fmla="*/ 4484 w 5760"/>
              <a:gd name="T55" fmla="*/ 3646 h 5760"/>
              <a:gd name="T56" fmla="*/ 5321 w 5760"/>
              <a:gd name="T57" fmla="*/ 3701 h 5760"/>
              <a:gd name="T58" fmla="*/ 5297 w 5760"/>
              <a:gd name="T59" fmla="*/ 3694 h 5760"/>
              <a:gd name="T60" fmla="*/ 5066 w 5760"/>
              <a:gd name="T61" fmla="*/ 2513 h 5760"/>
              <a:gd name="T62" fmla="*/ 5138 w 5760"/>
              <a:gd name="T63" fmla="*/ 3415 h 5760"/>
              <a:gd name="T64" fmla="*/ 2880 w 5760"/>
              <a:gd name="T65" fmla="*/ 5449 h 5760"/>
              <a:gd name="T66" fmla="*/ 2063 w 5760"/>
              <a:gd name="T67" fmla="*/ 5306 h 5760"/>
              <a:gd name="T68" fmla="*/ 2689 w 5760"/>
              <a:gd name="T69" fmla="*/ 5393 h 5760"/>
              <a:gd name="T70" fmla="*/ 3047 w 5760"/>
              <a:gd name="T71" fmla="*/ 4875 h 5760"/>
              <a:gd name="T72" fmla="*/ 1771 w 5760"/>
              <a:gd name="T73" fmla="*/ 5042 h 5760"/>
              <a:gd name="T74" fmla="*/ 440 w 5760"/>
              <a:gd name="T75" fmla="*/ 2067 h 5760"/>
              <a:gd name="T76" fmla="*/ 462 w 5760"/>
              <a:gd name="T77" fmla="*/ 2075 h 5760"/>
              <a:gd name="T78" fmla="*/ 694 w 5760"/>
              <a:gd name="T79" fmla="*/ 3247 h 5760"/>
              <a:gd name="T80" fmla="*/ 622 w 5760"/>
              <a:gd name="T81" fmla="*/ 2354 h 5760"/>
              <a:gd name="T82" fmla="*/ 2880 w 5760"/>
              <a:gd name="T83" fmla="*/ 311 h 5760"/>
              <a:gd name="T84" fmla="*/ 3696 w 5760"/>
              <a:gd name="T85" fmla="*/ 461 h 5760"/>
              <a:gd name="T86" fmla="*/ 3071 w 5760"/>
              <a:gd name="T87" fmla="*/ 367 h 5760"/>
              <a:gd name="T88" fmla="*/ 2712 w 5760"/>
              <a:gd name="T89" fmla="*/ 885 h 5760"/>
              <a:gd name="T90" fmla="*/ 3989 w 5760"/>
              <a:gd name="T91" fmla="*/ 726 h 5760"/>
              <a:gd name="T92" fmla="*/ 5321 w 5760"/>
              <a:gd name="T93" fmla="*/ 3701 h 5760"/>
              <a:gd name="T94" fmla="*/ 135 w 5760"/>
              <a:gd name="T95" fmla="*/ 2880 h 5760"/>
              <a:gd name="T96" fmla="*/ 5624 w 5760"/>
              <a:gd name="T97" fmla="*/ 2880 h 5760"/>
              <a:gd name="T98" fmla="*/ 2880 w 5760"/>
              <a:gd name="T99" fmla="*/ 5760 h 5760"/>
              <a:gd name="T100" fmla="*/ 2880 w 5760"/>
              <a:gd name="T101" fmla="*/ 0 h 5760"/>
              <a:gd name="T102" fmla="*/ 2880 w 5760"/>
              <a:gd name="T103" fmla="*/ 576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5760">
                <a:moveTo>
                  <a:pt x="3526" y="2130"/>
                </a:moveTo>
                <a:cubicBezTo>
                  <a:pt x="3526" y="1803"/>
                  <a:pt x="3748" y="1485"/>
                  <a:pt x="3869" y="1545"/>
                </a:cubicBezTo>
                <a:cubicBezTo>
                  <a:pt x="4006" y="1614"/>
                  <a:pt x="3766" y="1923"/>
                  <a:pt x="3526" y="2130"/>
                </a:cubicBezTo>
                <a:moveTo>
                  <a:pt x="2018" y="2250"/>
                </a:moveTo>
                <a:cubicBezTo>
                  <a:pt x="2018" y="1987"/>
                  <a:pt x="2278" y="1486"/>
                  <a:pt x="2437" y="1539"/>
                </a:cubicBezTo>
                <a:cubicBezTo>
                  <a:pt x="2625" y="1601"/>
                  <a:pt x="2282" y="2106"/>
                  <a:pt x="2018" y="2250"/>
                </a:cubicBezTo>
                <a:close/>
                <a:moveTo>
                  <a:pt x="1755" y="4133"/>
                </a:moveTo>
                <a:cubicBezTo>
                  <a:pt x="1635" y="4138"/>
                  <a:pt x="1556" y="4062"/>
                  <a:pt x="1556" y="3934"/>
                </a:cubicBezTo>
                <a:cubicBezTo>
                  <a:pt x="1556" y="3591"/>
                  <a:pt x="2031" y="3264"/>
                  <a:pt x="2390" y="3088"/>
                </a:cubicBezTo>
                <a:cubicBezTo>
                  <a:pt x="2327" y="3567"/>
                  <a:pt x="2165" y="4114"/>
                  <a:pt x="1755" y="4133"/>
                </a:cubicBezTo>
                <a:close/>
                <a:moveTo>
                  <a:pt x="3949" y="3016"/>
                </a:moveTo>
                <a:cubicBezTo>
                  <a:pt x="3678" y="3016"/>
                  <a:pt x="3470" y="3215"/>
                  <a:pt x="3470" y="3455"/>
                </a:cubicBezTo>
                <a:cubicBezTo>
                  <a:pt x="3470" y="3654"/>
                  <a:pt x="3590" y="3813"/>
                  <a:pt x="3750" y="3813"/>
                </a:cubicBezTo>
                <a:cubicBezTo>
                  <a:pt x="3806" y="3813"/>
                  <a:pt x="3861" y="3782"/>
                  <a:pt x="3861" y="3710"/>
                </a:cubicBezTo>
                <a:cubicBezTo>
                  <a:pt x="3861" y="3606"/>
                  <a:pt x="3724" y="3581"/>
                  <a:pt x="3734" y="3426"/>
                </a:cubicBezTo>
                <a:cubicBezTo>
                  <a:pt x="3741" y="3323"/>
                  <a:pt x="3837" y="3255"/>
                  <a:pt x="3933" y="3255"/>
                </a:cubicBezTo>
                <a:cubicBezTo>
                  <a:pt x="4124" y="3255"/>
                  <a:pt x="4214" y="3440"/>
                  <a:pt x="4214" y="3632"/>
                </a:cubicBezTo>
                <a:cubicBezTo>
                  <a:pt x="4206" y="3927"/>
                  <a:pt x="3989" y="4133"/>
                  <a:pt x="3734" y="4133"/>
                </a:cubicBezTo>
                <a:cubicBezTo>
                  <a:pt x="3398" y="4133"/>
                  <a:pt x="3183" y="3813"/>
                  <a:pt x="3183" y="3470"/>
                </a:cubicBezTo>
                <a:cubicBezTo>
                  <a:pt x="3183" y="2960"/>
                  <a:pt x="3518" y="2760"/>
                  <a:pt x="3694" y="2712"/>
                </a:cubicBezTo>
                <a:cubicBezTo>
                  <a:pt x="3696" y="2712"/>
                  <a:pt x="4153" y="2794"/>
                  <a:pt x="4138" y="2592"/>
                </a:cubicBezTo>
                <a:cubicBezTo>
                  <a:pt x="4132" y="2504"/>
                  <a:pt x="4000" y="2470"/>
                  <a:pt x="3905" y="2466"/>
                </a:cubicBezTo>
                <a:cubicBezTo>
                  <a:pt x="3799" y="2462"/>
                  <a:pt x="3692" y="2500"/>
                  <a:pt x="3692" y="2500"/>
                </a:cubicBezTo>
                <a:cubicBezTo>
                  <a:pt x="3636" y="2472"/>
                  <a:pt x="3598" y="2417"/>
                  <a:pt x="3574" y="2354"/>
                </a:cubicBezTo>
                <a:cubicBezTo>
                  <a:pt x="3901" y="2106"/>
                  <a:pt x="4133" y="1867"/>
                  <a:pt x="4133" y="1596"/>
                </a:cubicBezTo>
                <a:cubicBezTo>
                  <a:pt x="4133" y="1452"/>
                  <a:pt x="4037" y="1324"/>
                  <a:pt x="3853" y="1324"/>
                </a:cubicBezTo>
                <a:cubicBezTo>
                  <a:pt x="3526" y="1324"/>
                  <a:pt x="3279" y="1739"/>
                  <a:pt x="3279" y="2114"/>
                </a:cubicBezTo>
                <a:cubicBezTo>
                  <a:pt x="3279" y="2178"/>
                  <a:pt x="3279" y="2242"/>
                  <a:pt x="3295" y="2298"/>
                </a:cubicBezTo>
                <a:cubicBezTo>
                  <a:pt x="3087" y="2449"/>
                  <a:pt x="2933" y="2543"/>
                  <a:pt x="2654" y="2711"/>
                </a:cubicBezTo>
                <a:cubicBezTo>
                  <a:pt x="2654" y="2676"/>
                  <a:pt x="2661" y="2586"/>
                  <a:pt x="2685" y="2469"/>
                </a:cubicBezTo>
                <a:cubicBezTo>
                  <a:pt x="2780" y="2365"/>
                  <a:pt x="2912" y="2210"/>
                  <a:pt x="2912" y="2090"/>
                </a:cubicBezTo>
                <a:cubicBezTo>
                  <a:pt x="2912" y="2034"/>
                  <a:pt x="2880" y="1987"/>
                  <a:pt x="2816" y="1987"/>
                </a:cubicBezTo>
                <a:cubicBezTo>
                  <a:pt x="2657" y="1987"/>
                  <a:pt x="2537" y="2226"/>
                  <a:pt x="2505" y="2393"/>
                </a:cubicBezTo>
                <a:cubicBezTo>
                  <a:pt x="2433" y="2481"/>
                  <a:pt x="2290" y="2593"/>
                  <a:pt x="2170" y="2593"/>
                </a:cubicBezTo>
                <a:cubicBezTo>
                  <a:pt x="2074" y="2593"/>
                  <a:pt x="2042" y="2505"/>
                  <a:pt x="2034" y="2473"/>
                </a:cubicBezTo>
                <a:cubicBezTo>
                  <a:pt x="2338" y="2369"/>
                  <a:pt x="2712" y="1955"/>
                  <a:pt x="2712" y="1580"/>
                </a:cubicBezTo>
                <a:cubicBezTo>
                  <a:pt x="2712" y="1500"/>
                  <a:pt x="2681" y="1324"/>
                  <a:pt x="2441" y="1324"/>
                </a:cubicBezTo>
                <a:cubicBezTo>
                  <a:pt x="2082" y="1324"/>
                  <a:pt x="1779" y="1859"/>
                  <a:pt x="1779" y="2274"/>
                </a:cubicBezTo>
                <a:cubicBezTo>
                  <a:pt x="1651" y="2274"/>
                  <a:pt x="1604" y="2138"/>
                  <a:pt x="1604" y="2034"/>
                </a:cubicBezTo>
                <a:cubicBezTo>
                  <a:pt x="1604" y="1931"/>
                  <a:pt x="1643" y="1827"/>
                  <a:pt x="1643" y="1795"/>
                </a:cubicBezTo>
                <a:cubicBezTo>
                  <a:pt x="1643" y="1763"/>
                  <a:pt x="1627" y="1723"/>
                  <a:pt x="1580" y="1723"/>
                </a:cubicBezTo>
                <a:cubicBezTo>
                  <a:pt x="1460" y="1723"/>
                  <a:pt x="1388" y="1883"/>
                  <a:pt x="1388" y="2066"/>
                </a:cubicBezTo>
                <a:cubicBezTo>
                  <a:pt x="1396" y="2322"/>
                  <a:pt x="1564" y="2481"/>
                  <a:pt x="1787" y="2497"/>
                </a:cubicBezTo>
                <a:cubicBezTo>
                  <a:pt x="1819" y="2649"/>
                  <a:pt x="1955" y="2792"/>
                  <a:pt x="2122" y="2792"/>
                </a:cubicBezTo>
                <a:cubicBezTo>
                  <a:pt x="2226" y="2792"/>
                  <a:pt x="2353" y="2760"/>
                  <a:pt x="2441" y="2681"/>
                </a:cubicBezTo>
                <a:cubicBezTo>
                  <a:pt x="2433" y="2737"/>
                  <a:pt x="2425" y="2784"/>
                  <a:pt x="2417" y="2832"/>
                </a:cubicBezTo>
                <a:cubicBezTo>
                  <a:pt x="2066" y="3016"/>
                  <a:pt x="1811" y="3143"/>
                  <a:pt x="1580" y="3351"/>
                </a:cubicBezTo>
                <a:cubicBezTo>
                  <a:pt x="1396" y="3518"/>
                  <a:pt x="1292" y="3742"/>
                  <a:pt x="1292" y="3917"/>
                </a:cubicBezTo>
                <a:cubicBezTo>
                  <a:pt x="1292" y="4157"/>
                  <a:pt x="1444" y="4380"/>
                  <a:pt x="1755" y="4380"/>
                </a:cubicBezTo>
                <a:cubicBezTo>
                  <a:pt x="2122" y="4380"/>
                  <a:pt x="2401" y="4085"/>
                  <a:pt x="2537" y="3678"/>
                </a:cubicBezTo>
                <a:cubicBezTo>
                  <a:pt x="2601" y="3486"/>
                  <a:pt x="2626" y="3208"/>
                  <a:pt x="2642" y="2952"/>
                </a:cubicBezTo>
                <a:cubicBezTo>
                  <a:pt x="3009" y="2745"/>
                  <a:pt x="3183" y="2625"/>
                  <a:pt x="3374" y="2489"/>
                </a:cubicBezTo>
                <a:cubicBezTo>
                  <a:pt x="3398" y="2529"/>
                  <a:pt x="3423" y="2561"/>
                  <a:pt x="3454" y="2585"/>
                </a:cubicBezTo>
                <a:cubicBezTo>
                  <a:pt x="3287" y="2673"/>
                  <a:pt x="2888" y="2920"/>
                  <a:pt x="2888" y="3502"/>
                </a:cubicBezTo>
                <a:cubicBezTo>
                  <a:pt x="2888" y="3917"/>
                  <a:pt x="3167" y="4380"/>
                  <a:pt x="3718" y="4380"/>
                </a:cubicBezTo>
                <a:cubicBezTo>
                  <a:pt x="4172" y="4380"/>
                  <a:pt x="4484" y="4005"/>
                  <a:pt x="4484" y="3646"/>
                </a:cubicBezTo>
                <a:cubicBezTo>
                  <a:pt x="4484" y="3319"/>
                  <a:pt x="4300" y="3016"/>
                  <a:pt x="3949" y="3016"/>
                </a:cubicBezTo>
                <a:close/>
                <a:moveTo>
                  <a:pt x="5321" y="3701"/>
                </a:moveTo>
                <a:cubicBezTo>
                  <a:pt x="5319" y="3703"/>
                  <a:pt x="5315" y="3707"/>
                  <a:pt x="5306" y="3704"/>
                </a:cubicBezTo>
                <a:cubicBezTo>
                  <a:pt x="5299" y="3702"/>
                  <a:pt x="5297" y="3698"/>
                  <a:pt x="5297" y="3694"/>
                </a:cubicBezTo>
                <a:cubicBezTo>
                  <a:pt x="5298" y="3689"/>
                  <a:pt x="5394" y="3405"/>
                  <a:pt x="5393" y="3080"/>
                </a:cubicBezTo>
                <a:cubicBezTo>
                  <a:pt x="5392" y="2728"/>
                  <a:pt x="5249" y="2513"/>
                  <a:pt x="5066" y="2513"/>
                </a:cubicBezTo>
                <a:cubicBezTo>
                  <a:pt x="4954" y="2513"/>
                  <a:pt x="4874" y="2593"/>
                  <a:pt x="4874" y="2712"/>
                </a:cubicBezTo>
                <a:cubicBezTo>
                  <a:pt x="4874" y="2928"/>
                  <a:pt x="5138" y="2944"/>
                  <a:pt x="5138" y="3415"/>
                </a:cubicBezTo>
                <a:cubicBezTo>
                  <a:pt x="5138" y="3606"/>
                  <a:pt x="5098" y="3789"/>
                  <a:pt x="5034" y="3989"/>
                </a:cubicBezTo>
                <a:cubicBezTo>
                  <a:pt x="4739" y="4986"/>
                  <a:pt x="3797" y="5449"/>
                  <a:pt x="2880" y="5449"/>
                </a:cubicBezTo>
                <a:cubicBezTo>
                  <a:pt x="2457" y="5449"/>
                  <a:pt x="2157" y="5362"/>
                  <a:pt x="2067" y="5322"/>
                </a:cubicBezTo>
                <a:cubicBezTo>
                  <a:pt x="2063" y="5320"/>
                  <a:pt x="2061" y="5313"/>
                  <a:pt x="2063" y="5306"/>
                </a:cubicBezTo>
                <a:cubicBezTo>
                  <a:pt x="2065" y="5300"/>
                  <a:pt x="2072" y="5296"/>
                  <a:pt x="2075" y="5298"/>
                </a:cubicBezTo>
                <a:cubicBezTo>
                  <a:pt x="2111" y="5312"/>
                  <a:pt x="2369" y="5393"/>
                  <a:pt x="2689" y="5393"/>
                </a:cubicBezTo>
                <a:cubicBezTo>
                  <a:pt x="3040" y="5393"/>
                  <a:pt x="3247" y="5250"/>
                  <a:pt x="3247" y="5074"/>
                </a:cubicBezTo>
                <a:cubicBezTo>
                  <a:pt x="3247" y="4962"/>
                  <a:pt x="3159" y="4875"/>
                  <a:pt x="3047" y="4875"/>
                </a:cubicBezTo>
                <a:cubicBezTo>
                  <a:pt x="2832" y="4875"/>
                  <a:pt x="2816" y="5146"/>
                  <a:pt x="2353" y="5146"/>
                </a:cubicBezTo>
                <a:cubicBezTo>
                  <a:pt x="2154" y="5146"/>
                  <a:pt x="1979" y="5106"/>
                  <a:pt x="1771" y="5042"/>
                </a:cubicBezTo>
                <a:cubicBezTo>
                  <a:pt x="782" y="4739"/>
                  <a:pt x="310" y="3805"/>
                  <a:pt x="311" y="2880"/>
                </a:cubicBezTo>
                <a:cubicBezTo>
                  <a:pt x="311" y="2429"/>
                  <a:pt x="438" y="2070"/>
                  <a:pt x="440" y="2067"/>
                </a:cubicBezTo>
                <a:cubicBezTo>
                  <a:pt x="441" y="2065"/>
                  <a:pt x="447" y="2062"/>
                  <a:pt x="454" y="2065"/>
                </a:cubicBezTo>
                <a:cubicBezTo>
                  <a:pt x="461" y="2067"/>
                  <a:pt x="463" y="2073"/>
                  <a:pt x="462" y="2075"/>
                </a:cubicBezTo>
                <a:cubicBezTo>
                  <a:pt x="451" y="2112"/>
                  <a:pt x="367" y="2370"/>
                  <a:pt x="367" y="2688"/>
                </a:cubicBezTo>
                <a:cubicBezTo>
                  <a:pt x="367" y="3040"/>
                  <a:pt x="511" y="3247"/>
                  <a:pt x="694" y="3247"/>
                </a:cubicBezTo>
                <a:cubicBezTo>
                  <a:pt x="798" y="3247"/>
                  <a:pt x="885" y="3167"/>
                  <a:pt x="885" y="3056"/>
                </a:cubicBezTo>
                <a:cubicBezTo>
                  <a:pt x="885" y="2840"/>
                  <a:pt x="622" y="2816"/>
                  <a:pt x="622" y="2354"/>
                </a:cubicBezTo>
                <a:cubicBezTo>
                  <a:pt x="622" y="2154"/>
                  <a:pt x="662" y="1978"/>
                  <a:pt x="726" y="1771"/>
                </a:cubicBezTo>
                <a:cubicBezTo>
                  <a:pt x="1029" y="782"/>
                  <a:pt x="1963" y="318"/>
                  <a:pt x="2880" y="311"/>
                </a:cubicBezTo>
                <a:cubicBezTo>
                  <a:pt x="3306" y="308"/>
                  <a:pt x="3680" y="435"/>
                  <a:pt x="3694" y="447"/>
                </a:cubicBezTo>
                <a:cubicBezTo>
                  <a:pt x="3696" y="449"/>
                  <a:pt x="3699" y="455"/>
                  <a:pt x="3696" y="461"/>
                </a:cubicBezTo>
                <a:cubicBezTo>
                  <a:pt x="3693" y="468"/>
                  <a:pt x="3688" y="469"/>
                  <a:pt x="3686" y="469"/>
                </a:cubicBezTo>
                <a:cubicBezTo>
                  <a:pt x="3681" y="468"/>
                  <a:pt x="3439" y="367"/>
                  <a:pt x="3071" y="367"/>
                </a:cubicBezTo>
                <a:cubicBezTo>
                  <a:pt x="2728" y="367"/>
                  <a:pt x="2513" y="510"/>
                  <a:pt x="2513" y="694"/>
                </a:cubicBezTo>
                <a:cubicBezTo>
                  <a:pt x="2513" y="798"/>
                  <a:pt x="2593" y="885"/>
                  <a:pt x="2712" y="885"/>
                </a:cubicBezTo>
                <a:cubicBezTo>
                  <a:pt x="2928" y="885"/>
                  <a:pt x="2944" y="622"/>
                  <a:pt x="3406" y="622"/>
                </a:cubicBezTo>
                <a:cubicBezTo>
                  <a:pt x="3606" y="622"/>
                  <a:pt x="3781" y="662"/>
                  <a:pt x="3989" y="726"/>
                </a:cubicBezTo>
                <a:cubicBezTo>
                  <a:pt x="4986" y="1029"/>
                  <a:pt x="5440" y="1971"/>
                  <a:pt x="5449" y="2880"/>
                </a:cubicBezTo>
                <a:cubicBezTo>
                  <a:pt x="5453" y="3346"/>
                  <a:pt x="5322" y="3699"/>
                  <a:pt x="5321" y="3701"/>
                </a:cubicBezTo>
                <a:close/>
                <a:moveTo>
                  <a:pt x="2880" y="136"/>
                </a:moveTo>
                <a:cubicBezTo>
                  <a:pt x="1364" y="136"/>
                  <a:pt x="135" y="1364"/>
                  <a:pt x="135" y="2880"/>
                </a:cubicBezTo>
                <a:cubicBezTo>
                  <a:pt x="135" y="4396"/>
                  <a:pt x="1364" y="5624"/>
                  <a:pt x="2880" y="5624"/>
                </a:cubicBezTo>
                <a:cubicBezTo>
                  <a:pt x="4396" y="5624"/>
                  <a:pt x="5624" y="4396"/>
                  <a:pt x="5624" y="2880"/>
                </a:cubicBezTo>
                <a:cubicBezTo>
                  <a:pt x="5624" y="1372"/>
                  <a:pt x="4396" y="136"/>
                  <a:pt x="2880" y="136"/>
                </a:cubicBezTo>
                <a:close/>
                <a:moveTo>
                  <a:pt x="2880" y="5760"/>
                </a:moveTo>
                <a:cubicBezTo>
                  <a:pt x="1292" y="5760"/>
                  <a:pt x="0" y="4476"/>
                  <a:pt x="0" y="2880"/>
                </a:cubicBezTo>
                <a:cubicBezTo>
                  <a:pt x="0" y="1292"/>
                  <a:pt x="1292" y="0"/>
                  <a:pt x="2880" y="0"/>
                </a:cubicBezTo>
                <a:cubicBezTo>
                  <a:pt x="4467" y="0"/>
                  <a:pt x="5760" y="1292"/>
                  <a:pt x="5760" y="2880"/>
                </a:cubicBezTo>
                <a:cubicBezTo>
                  <a:pt x="5760" y="4476"/>
                  <a:pt x="4467" y="5760"/>
                  <a:pt x="2880" y="576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6876484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 No Ru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597E01-5B03-4D02-A9D5-286B2467775A}"/>
              </a:ext>
            </a:extLst>
          </p:cNvPr>
          <p:cNvGraphicFramePr>
            <a:graphicFrameLocks noChangeAspect="1"/>
          </p:cNvGraphicFramePr>
          <p:nvPr userDrawn="1">
            <p:custDataLst>
              <p:tags r:id="rId1"/>
            </p:custDataLst>
            <p:extLst>
              <p:ext uri="{D42A27DB-BD31-4B8C-83A1-F6EECF244321}">
                <p14:modId xmlns:p14="http://schemas.microsoft.com/office/powerpoint/2010/main" val="1094739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Object 3" hidden="1">
                        <a:extLst>
                          <a:ext uri="{FF2B5EF4-FFF2-40B4-BE49-F238E27FC236}">
                            <a16:creationId xmlns:a16="http://schemas.microsoft.com/office/drawing/2014/main" id="{9F597E01-5B03-4D02-A9D5-286B246777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2E9691-0F56-4FB5-BCE2-C8027E0CB44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19" name="Content Placeholder 6"/>
          <p:cNvSpPr>
            <a:spLocks noGrp="1"/>
          </p:cNvSpPr>
          <p:nvPr>
            <p:ph sz="quarter" idx="13" hasCustomPrompt="1"/>
          </p:nvPr>
        </p:nvSpPr>
        <p:spPr>
          <a:xfrm>
            <a:off x="495300" y="1602754"/>
            <a:ext cx="11201400" cy="4324756"/>
          </a:xfrm>
        </p:spPr>
        <p:txBody>
          <a:bodyPr/>
          <a:lstStyle>
            <a:lvl1pPr>
              <a:defRPr>
                <a:solidFill>
                  <a:schemeClr val="accent3"/>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sp>
        <p:nvSpPr>
          <p:cNvPr id="11" name="Slide Number Placeholder 5">
            <a:extLst>
              <a:ext uri="{FF2B5EF4-FFF2-40B4-BE49-F238E27FC236}">
                <a16:creationId xmlns:a16="http://schemas.microsoft.com/office/drawing/2014/main" id="{E3AE9C88-EB15-4FD0-9599-AF74045B014D}"/>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3331080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EFA812B-9900-44C9-BFB3-0E3F74DEFCCE}"/>
              </a:ext>
            </a:extLst>
          </p:cNvPr>
          <p:cNvGraphicFramePr>
            <a:graphicFrameLocks noChangeAspect="1"/>
          </p:cNvGraphicFramePr>
          <p:nvPr userDrawn="1">
            <p:custDataLst>
              <p:tags r:id="rId1"/>
            </p:custDataLst>
            <p:extLst>
              <p:ext uri="{D42A27DB-BD31-4B8C-83A1-F6EECF244321}">
                <p14:modId xmlns:p14="http://schemas.microsoft.com/office/powerpoint/2010/main" val="1924836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3" name="Object 2" hidden="1">
                        <a:extLst>
                          <a:ext uri="{FF2B5EF4-FFF2-40B4-BE49-F238E27FC236}">
                            <a16:creationId xmlns:a16="http://schemas.microsoft.com/office/drawing/2014/main" id="{4EFA812B-9900-44C9-BFB3-0E3F74DEFC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EF47A25-5FF9-4241-8B0D-EE6CF91C041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4" name="Title 3"/>
          <p:cNvSpPr>
            <a:spLocks noGrp="1"/>
          </p:cNvSpPr>
          <p:nvPr>
            <p:ph type="title"/>
          </p:nvPr>
        </p:nvSpPr>
        <p:spPr>
          <a:xfrm>
            <a:off x="495300" y="276925"/>
            <a:ext cx="11201400" cy="914400"/>
          </a:xfrm>
        </p:spPr>
        <p:txBody>
          <a:bodyPr/>
          <a:lstStyle/>
          <a:p>
            <a:r>
              <a:rPr lang="en-US" dirty="0"/>
              <a:t>Click to edit Master title style</a:t>
            </a:r>
          </a:p>
        </p:txBody>
      </p:sp>
      <p:sp>
        <p:nvSpPr>
          <p:cNvPr id="24" name="Content Placeholder 9"/>
          <p:cNvSpPr>
            <a:spLocks noGrp="1"/>
          </p:cNvSpPr>
          <p:nvPr>
            <p:ph sz="quarter" idx="13" hasCustomPrompt="1"/>
          </p:nvPr>
        </p:nvSpPr>
        <p:spPr>
          <a:xfrm>
            <a:off x="495300" y="2393244"/>
            <a:ext cx="5220880" cy="367837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11"/>
          <p:cNvSpPr>
            <a:spLocks noGrp="1"/>
          </p:cNvSpPr>
          <p:nvPr>
            <p:ph sz="quarter" idx="14" hasCustomPrompt="1"/>
          </p:nvPr>
        </p:nvSpPr>
        <p:spPr>
          <a:xfrm>
            <a:off x="6475820" y="2393244"/>
            <a:ext cx="5220880" cy="3678370"/>
          </a:xfrm>
        </p:spPr>
        <p:txBody>
          <a:bodyPr/>
          <a:lstStyle>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6" name="Straight Connector 25"/>
          <p:cNvCxnSpPr>
            <a:cxnSpLocks/>
          </p:cNvCxnSpPr>
          <p:nvPr userDrawn="1"/>
        </p:nvCxnSpPr>
        <p:spPr>
          <a:xfrm>
            <a:off x="495300" y="1974057"/>
            <a:ext cx="52208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cxnSpLocks/>
          </p:cNvCxnSpPr>
          <p:nvPr userDrawn="1"/>
        </p:nvCxnSpPr>
        <p:spPr>
          <a:xfrm>
            <a:off x="6475820" y="1974057"/>
            <a:ext cx="52208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8" name="Text Placeholder 18"/>
          <p:cNvSpPr>
            <a:spLocks noGrp="1"/>
          </p:cNvSpPr>
          <p:nvPr>
            <p:ph type="body" sz="quarter" idx="15" hasCustomPrompt="1"/>
          </p:nvPr>
        </p:nvSpPr>
        <p:spPr>
          <a:xfrm>
            <a:off x="495300" y="1486038"/>
            <a:ext cx="5220880" cy="365760"/>
          </a:xfrm>
        </p:spPr>
        <p:txBody>
          <a:bodyPr vert="horz" lIns="0" tIns="0" rIns="0" bIns="0" rtlCol="0" anchor="b">
            <a:noAutofit/>
          </a:bodyPr>
          <a:lstStyle>
            <a:lvl1pPr algn="l">
              <a:defRPr lang="en-US" sz="1600" b="1" dirty="0"/>
            </a:lvl1pPr>
          </a:lstStyle>
          <a:p>
            <a:pPr lvl="0">
              <a:lnSpc>
                <a:spcPct val="90000"/>
              </a:lnSpc>
              <a:spcBef>
                <a:spcPts val="0"/>
              </a:spcBef>
            </a:pPr>
            <a:r>
              <a:rPr lang="en-US" dirty="0"/>
              <a:t>Edit Master text styles</a:t>
            </a:r>
          </a:p>
        </p:txBody>
      </p:sp>
      <p:sp>
        <p:nvSpPr>
          <p:cNvPr id="29" name="Text Placeholder 18"/>
          <p:cNvSpPr>
            <a:spLocks noGrp="1"/>
          </p:cNvSpPr>
          <p:nvPr>
            <p:ph type="body" sz="quarter" idx="16" hasCustomPrompt="1"/>
          </p:nvPr>
        </p:nvSpPr>
        <p:spPr>
          <a:xfrm>
            <a:off x="6475820" y="1486038"/>
            <a:ext cx="5220880" cy="365760"/>
          </a:xfrm>
        </p:spPr>
        <p:txBody>
          <a:bodyPr vert="horz" lIns="0" tIns="0" rIns="0" bIns="0" rtlCol="0" anchor="b">
            <a:noAutofit/>
          </a:bodyPr>
          <a:lstStyle>
            <a:lvl1pPr>
              <a:defRPr lang="en-US" sz="1600" b="1" dirty="0"/>
            </a:lvl1pPr>
          </a:lstStyle>
          <a:p>
            <a:pPr lvl="0">
              <a:lnSpc>
                <a:spcPct val="90000"/>
              </a:lnSpc>
              <a:spcBef>
                <a:spcPts val="0"/>
              </a:spcBef>
            </a:pPr>
            <a:r>
              <a:rPr lang="en-US" dirty="0"/>
              <a:t>Edit Master text styles</a:t>
            </a:r>
          </a:p>
        </p:txBody>
      </p:sp>
      <p:sp>
        <p:nvSpPr>
          <p:cNvPr id="15" name="Slide Number Placeholder 5">
            <a:extLst>
              <a:ext uri="{FF2B5EF4-FFF2-40B4-BE49-F238E27FC236}">
                <a16:creationId xmlns:a16="http://schemas.microsoft.com/office/drawing/2014/main" id="{019EB1B1-6DA1-409B-A689-0A8D277DC14F}"/>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119051392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918F91-0F41-4E60-B1ED-527F21446AC4}"/>
              </a:ext>
            </a:extLst>
          </p:cNvPr>
          <p:cNvGraphicFramePr>
            <a:graphicFrameLocks noChangeAspect="1"/>
          </p:cNvGraphicFramePr>
          <p:nvPr userDrawn="1">
            <p:custDataLst>
              <p:tags r:id="rId1"/>
            </p:custDataLst>
            <p:extLst>
              <p:ext uri="{D42A27DB-BD31-4B8C-83A1-F6EECF244321}">
                <p14:modId xmlns:p14="http://schemas.microsoft.com/office/powerpoint/2010/main" val="275204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Object 3" hidden="1">
                        <a:extLst>
                          <a:ext uri="{FF2B5EF4-FFF2-40B4-BE49-F238E27FC236}">
                            <a16:creationId xmlns:a16="http://schemas.microsoft.com/office/drawing/2014/main" id="{C9918F91-0F41-4E60-B1ED-527F21446A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BFA363E-92A7-4C52-94C3-A47146A6FBB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2" name="Title 1"/>
          <p:cNvSpPr>
            <a:spLocks noGrp="1"/>
          </p:cNvSpPr>
          <p:nvPr>
            <p:ph type="title" hasCustomPrompt="1"/>
          </p:nvPr>
        </p:nvSpPr>
        <p:spPr>
          <a:xfrm>
            <a:off x="495300" y="276923"/>
            <a:ext cx="11201400" cy="914400"/>
          </a:xfrm>
        </p:spPr>
        <p:txBody>
          <a:bodyPr/>
          <a:lstStyle>
            <a:lvl1pPr>
              <a:defRPr/>
            </a:lvl1pPr>
          </a:lstStyle>
          <a:p>
            <a:r>
              <a:rPr lang="en-US" dirty="0"/>
              <a:t>Two Content Layout</a:t>
            </a:r>
          </a:p>
        </p:txBody>
      </p:sp>
      <p:sp>
        <p:nvSpPr>
          <p:cNvPr id="10" name="Content Placeholder 9"/>
          <p:cNvSpPr>
            <a:spLocks noGrp="1"/>
          </p:cNvSpPr>
          <p:nvPr>
            <p:ph sz="quarter" idx="13" hasCustomPrompt="1"/>
          </p:nvPr>
        </p:nvSpPr>
        <p:spPr>
          <a:xfrm>
            <a:off x="495300" y="2049116"/>
            <a:ext cx="5220880" cy="40468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4" hasCustomPrompt="1"/>
          </p:nvPr>
        </p:nvSpPr>
        <p:spPr>
          <a:xfrm>
            <a:off x="6475820" y="2049116"/>
            <a:ext cx="5220880" cy="4046883"/>
          </a:xfrm>
        </p:spPr>
        <p:txBody>
          <a:bodyPr/>
          <a:lstStyle>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5" hasCustomPrompt="1"/>
          </p:nvPr>
        </p:nvSpPr>
        <p:spPr>
          <a:xfrm>
            <a:off x="495300" y="1486038"/>
            <a:ext cx="5220880" cy="365760"/>
          </a:xfrm>
        </p:spPr>
        <p:txBody>
          <a:bodyPr vert="horz" lIns="0" tIns="0" rIns="0" bIns="0" rtlCol="0" anchor="b">
            <a:noAutofit/>
          </a:bodyPr>
          <a:lstStyle>
            <a:lvl1pPr algn="l">
              <a:defRPr lang="en-US" sz="1600" b="1" dirty="0">
                <a:solidFill>
                  <a:schemeClr val="accent3"/>
                </a:solidFill>
              </a:defRPr>
            </a:lvl1pPr>
          </a:lstStyle>
          <a:p>
            <a:pPr lvl="0">
              <a:lnSpc>
                <a:spcPct val="90000"/>
              </a:lnSpc>
              <a:spcBef>
                <a:spcPts val="0"/>
              </a:spcBef>
            </a:pPr>
            <a:r>
              <a:rPr lang="en-US" dirty="0"/>
              <a:t>Edit Master text styles</a:t>
            </a:r>
          </a:p>
        </p:txBody>
      </p:sp>
      <p:sp>
        <p:nvSpPr>
          <p:cNvPr id="22" name="Text Placeholder 18"/>
          <p:cNvSpPr>
            <a:spLocks noGrp="1"/>
          </p:cNvSpPr>
          <p:nvPr>
            <p:ph type="body" sz="quarter" idx="16" hasCustomPrompt="1"/>
          </p:nvPr>
        </p:nvSpPr>
        <p:spPr>
          <a:xfrm>
            <a:off x="6475820" y="1486038"/>
            <a:ext cx="5220880" cy="365760"/>
          </a:xfrm>
        </p:spPr>
        <p:txBody>
          <a:bodyPr vert="horz" lIns="0" tIns="0" rIns="0" bIns="0" rtlCol="0" anchor="b">
            <a:noAutofit/>
          </a:bodyPr>
          <a:lstStyle>
            <a:lvl1pPr>
              <a:defRPr lang="en-US" sz="1600" b="1" dirty="0">
                <a:solidFill>
                  <a:schemeClr val="accent3"/>
                </a:solidFill>
              </a:defRPr>
            </a:lvl1pPr>
          </a:lstStyle>
          <a:p>
            <a:pPr lvl="0">
              <a:lnSpc>
                <a:spcPct val="90000"/>
              </a:lnSpc>
              <a:spcBef>
                <a:spcPts val="0"/>
              </a:spcBef>
            </a:pPr>
            <a:r>
              <a:rPr lang="en-US" dirty="0"/>
              <a:t>Edit Master text styles</a:t>
            </a:r>
          </a:p>
        </p:txBody>
      </p:sp>
      <p:sp>
        <p:nvSpPr>
          <p:cNvPr id="16" name="Slide Number Placeholder 5">
            <a:extLst>
              <a:ext uri="{FF2B5EF4-FFF2-40B4-BE49-F238E27FC236}">
                <a16:creationId xmlns:a16="http://schemas.microsoft.com/office/drawing/2014/main" id="{0A42049E-E3A3-42BA-BF9E-978FCE35BCF9}"/>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31309599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F4AF91-2AED-4ACD-9D58-CB3A4425F209}"/>
              </a:ext>
            </a:extLst>
          </p:cNvPr>
          <p:cNvGraphicFramePr>
            <a:graphicFrameLocks noChangeAspect="1"/>
          </p:cNvGraphicFramePr>
          <p:nvPr userDrawn="1">
            <p:custDataLst>
              <p:tags r:id="rId1"/>
            </p:custDataLst>
            <p:extLst>
              <p:ext uri="{D42A27DB-BD31-4B8C-83A1-F6EECF244321}">
                <p14:modId xmlns:p14="http://schemas.microsoft.com/office/powerpoint/2010/main" val="3594161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5" name="Object 4" hidden="1">
                        <a:extLst>
                          <a:ext uri="{FF2B5EF4-FFF2-40B4-BE49-F238E27FC236}">
                            <a16:creationId xmlns:a16="http://schemas.microsoft.com/office/drawing/2014/main" id="{62F4AF91-2AED-4ACD-9D58-CB3A4425F2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2A852F8-0F77-4CC0-A439-5FBA6E223F4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GE Inspira Sans" panose="020B0503060000000003" pitchFamily="34" charset="0"/>
              <a:ea typeface="+mj-ea"/>
              <a:cs typeface="+mj-cs"/>
              <a:sym typeface="GE Inspira Sans" panose="020B0503060000000003" pitchFamily="34" charset="0"/>
            </a:endParaRPr>
          </a:p>
        </p:txBody>
      </p:sp>
      <p:sp>
        <p:nvSpPr>
          <p:cNvPr id="2" name="Title 1"/>
          <p:cNvSpPr>
            <a:spLocks noGrp="1"/>
          </p:cNvSpPr>
          <p:nvPr>
            <p:ph type="title" hasCustomPrompt="1"/>
          </p:nvPr>
        </p:nvSpPr>
        <p:spPr>
          <a:xfrm>
            <a:off x="495300" y="450166"/>
            <a:ext cx="11227308" cy="1645920"/>
          </a:xfrm>
        </p:spPr>
        <p:txBody>
          <a:bodyPr/>
          <a:lstStyle>
            <a:lvl1pPr>
              <a:lnSpc>
                <a:spcPct val="85000"/>
              </a:lnSpc>
              <a:defRPr sz="6000"/>
            </a:lvl1pPr>
          </a:lstStyle>
          <a:p>
            <a:r>
              <a:rPr lang="en-US" dirty="0"/>
              <a:t>Big Title Text</a:t>
            </a:r>
          </a:p>
        </p:txBody>
      </p:sp>
      <p:sp>
        <p:nvSpPr>
          <p:cNvPr id="3" name="Content Placeholder 2"/>
          <p:cNvSpPr>
            <a:spLocks noGrp="1"/>
          </p:cNvSpPr>
          <p:nvPr>
            <p:ph idx="1" hasCustomPrompt="1"/>
          </p:nvPr>
        </p:nvSpPr>
        <p:spPr>
          <a:xfrm>
            <a:off x="495300" y="2327510"/>
            <a:ext cx="11227308" cy="3749040"/>
          </a:xfrm>
        </p:spPr>
        <p:txBody>
          <a:bodyPr/>
          <a:lstStyle>
            <a:lvl1pPr>
              <a:defRPr sz="3000">
                <a:solidFill>
                  <a:schemeClr val="accent3"/>
                </a:solidFill>
              </a:defRPr>
            </a:lvl1pPr>
            <a:lvl2pPr>
              <a:defRPr>
                <a:solidFill>
                  <a:schemeClr val="tx1"/>
                </a:solidFill>
              </a:defRPr>
            </a:lvl2pPr>
            <a:lvl3pPr>
              <a:defRPr>
                <a:solidFill>
                  <a:schemeClr val="tx1"/>
                </a:solidFill>
              </a:defRPr>
            </a:lvl3pPr>
            <a:lvl4pPr>
              <a:defRPr sz="1600">
                <a:solidFill>
                  <a:schemeClr val="tx1"/>
                </a:solidFill>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9" name="Slide Number Placeholder 5">
            <a:extLst>
              <a:ext uri="{FF2B5EF4-FFF2-40B4-BE49-F238E27FC236}">
                <a16:creationId xmlns:a16="http://schemas.microsoft.com/office/drawing/2014/main" id="{391BF4AD-AC2B-4B21-97FF-CCFF1C2C1E7B}"/>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29366579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39846374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3" name="Obje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B634253-4933-451C-A8DB-783A2A1CE5F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8" name="Slide Number Placeholder 7"/>
          <p:cNvSpPr>
            <a:spLocks noGrp="1"/>
          </p:cNvSpPr>
          <p:nvPr>
            <p:ph type="sldNum" sz="quarter" idx="12"/>
          </p:nvPr>
        </p:nvSpPr>
        <p:spPr/>
        <p:txBody>
          <a:bodyPr/>
          <a:lstStyle/>
          <a:p>
            <a:fld id="{00E6A5BD-C011-4A45-AA3A-201790FB7F2B}" type="slidenum">
              <a:rPr lang="en-US" smtClean="0"/>
              <a:pPr/>
              <a:t>‹#›</a:t>
            </a:fld>
            <a:endParaRPr lang="en-US" dirty="0"/>
          </a:p>
        </p:txBody>
      </p:sp>
      <p:sp>
        <p:nvSpPr>
          <p:cNvPr id="9" name="Rectangle 8"/>
          <p:cNvSpPr/>
          <p:nvPr userDrawn="1"/>
        </p:nvSpPr>
        <p:spPr bwMode="white">
          <a:xfrm>
            <a:off x="694267" y="1659467"/>
            <a:ext cx="10786533" cy="1185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title" hasCustomPrompt="1"/>
          </p:nvPr>
        </p:nvSpPr>
        <p:spPr>
          <a:xfrm>
            <a:off x="495300" y="277153"/>
            <a:ext cx="11201400" cy="914400"/>
          </a:xfrm>
        </p:spPr>
        <p:txBody>
          <a:bodyPr/>
          <a:lstStyle>
            <a:lvl1pPr>
              <a:defRPr/>
            </a:lvl1pPr>
          </a:lstStyle>
          <a:p>
            <a:r>
              <a:rPr lang="en-US" dirty="0"/>
              <a:t>Title Only</a:t>
            </a:r>
          </a:p>
        </p:txBody>
      </p:sp>
    </p:spTree>
    <p:extLst>
      <p:ext uri="{BB962C8B-B14F-4D97-AF65-F5344CB8AC3E}">
        <p14:creationId xmlns:p14="http://schemas.microsoft.com/office/powerpoint/2010/main" val="11542521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 No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7696" cy="914400"/>
          </a:xfrm>
        </p:spPr>
        <p:txBody>
          <a:bodyPr/>
          <a:lstStyle>
            <a:lvl1pPr>
              <a:defRPr/>
            </a:lvl1pPr>
          </a:lstStyle>
          <a:p>
            <a:r>
              <a:rPr lang="en-US" dirty="0"/>
              <a:t>Title and Content – No Rule Layout</a:t>
            </a:r>
            <a:endParaRPr lang="en-CA" dirty="0"/>
          </a:p>
        </p:txBody>
      </p:sp>
      <p:sp>
        <p:nvSpPr>
          <p:cNvPr id="4" name="Date Placeholder 3"/>
          <p:cNvSpPr>
            <a:spLocks noGrp="1"/>
          </p:cNvSpPr>
          <p:nvPr>
            <p:ph type="dt" sz="half" idx="10"/>
          </p:nvPr>
        </p:nvSpPr>
        <p:spPr/>
        <p:txBody>
          <a:bodyPr/>
          <a:lstStyle/>
          <a:p>
            <a:fld id="{66CA7FD2-EEE1-4653-A3ED-EC06E26685F5}" type="datetime4">
              <a:rPr lang="en-US" smtClean="0"/>
              <a:t>October 18, 2021</a:t>
            </a:fld>
            <a:endParaRPr lang="en-CA"/>
          </a:p>
        </p:txBody>
      </p:sp>
      <p:sp>
        <p:nvSpPr>
          <p:cNvPr id="5" name="Footer Placeholder 4"/>
          <p:cNvSpPr>
            <a:spLocks noGrp="1"/>
          </p:cNvSpPr>
          <p:nvPr>
            <p:ph type="ftr" sz="quarter" idx="11"/>
          </p:nvPr>
        </p:nvSpPr>
        <p:spPr/>
        <p:txBody>
          <a:bodyPr/>
          <a:lstStyle/>
          <a:p>
            <a:r>
              <a:rPr lang="en-CA"/>
              <a:t>Presentation Title</a:t>
            </a:r>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sp>
        <p:nvSpPr>
          <p:cNvPr id="9" name="Text Placeholder 8"/>
          <p:cNvSpPr>
            <a:spLocks noGrp="1"/>
          </p:cNvSpPr>
          <p:nvPr>
            <p:ph type="body" sz="quarter" idx="13" hasCustomPrompt="1"/>
          </p:nvPr>
        </p:nvSpPr>
        <p:spPr>
          <a:xfrm>
            <a:off x="1627188" y="1133856"/>
            <a:ext cx="9004300"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1627188" y="1847088"/>
            <a:ext cx="9004300"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Tree>
    <p:extLst>
      <p:ext uri="{BB962C8B-B14F-4D97-AF65-F5344CB8AC3E}">
        <p14:creationId xmlns:p14="http://schemas.microsoft.com/office/powerpoint/2010/main" val="75287421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9410A-18EE-413D-B5B1-9E7DB33E8860}"/>
              </a:ext>
            </a:extLst>
          </p:cNvPr>
          <p:cNvGraphicFramePr>
            <a:graphicFrameLocks noChangeAspect="1"/>
          </p:cNvGraphicFramePr>
          <p:nvPr userDrawn="1">
            <p:custDataLst>
              <p:tags r:id="rId1"/>
            </p:custDataLst>
            <p:extLst>
              <p:ext uri="{D42A27DB-BD31-4B8C-83A1-F6EECF244321}">
                <p14:modId xmlns:p14="http://schemas.microsoft.com/office/powerpoint/2010/main" val="2887168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2" name="Object 1" hidden="1">
                        <a:extLst>
                          <a:ext uri="{FF2B5EF4-FFF2-40B4-BE49-F238E27FC236}">
                            <a16:creationId xmlns:a16="http://schemas.microsoft.com/office/drawing/2014/main" id="{4B09410A-18EE-413D-B5B1-9E7DB33E88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laceholder 7"/>
          <p:cNvSpPr>
            <a:spLocks noGrp="1"/>
          </p:cNvSpPr>
          <p:nvPr>
            <p:ph type="sldNum" sz="quarter" idx="12"/>
          </p:nvPr>
        </p:nvSpPr>
        <p:spPr/>
        <p:txBody>
          <a:bodyPr/>
          <a:lstStyle/>
          <a:p>
            <a:fld id="{00E6A5BD-C011-4A45-AA3A-201790FB7F2B}" type="slidenum">
              <a:rPr lang="en-US" smtClean="0"/>
              <a:pPr/>
              <a:t>‹#›</a:t>
            </a:fld>
            <a:endParaRPr lang="en-US" dirty="0"/>
          </a:p>
        </p:txBody>
      </p:sp>
      <p:sp>
        <p:nvSpPr>
          <p:cNvPr id="9" name="Rectangle 8"/>
          <p:cNvSpPr/>
          <p:nvPr userDrawn="1"/>
        </p:nvSpPr>
        <p:spPr bwMode="white">
          <a:xfrm>
            <a:off x="694267" y="1659467"/>
            <a:ext cx="10786533" cy="1185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076062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4687BA-A6C9-4CDF-A2C9-45D6D0D1FB2E}"/>
              </a:ext>
            </a:extLst>
          </p:cNvPr>
          <p:cNvGraphicFramePr>
            <a:graphicFrameLocks noChangeAspect="1"/>
          </p:cNvGraphicFramePr>
          <p:nvPr userDrawn="1">
            <p:custDataLst>
              <p:tags r:id="rId1"/>
            </p:custDataLst>
            <p:extLst>
              <p:ext uri="{D42A27DB-BD31-4B8C-83A1-F6EECF244321}">
                <p14:modId xmlns:p14="http://schemas.microsoft.com/office/powerpoint/2010/main" val="777360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2" name="Object 1" hidden="1">
                        <a:extLst>
                          <a:ext uri="{FF2B5EF4-FFF2-40B4-BE49-F238E27FC236}">
                            <a16:creationId xmlns:a16="http://schemas.microsoft.com/office/drawing/2014/main" id="{DD4687BA-A6C9-4CDF-A2C9-45D6D0D1FB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reeform 5"/>
          <p:cNvSpPr>
            <a:spLocks noChangeAspect="1" noEditPoints="1"/>
          </p:cNvSpPr>
          <p:nvPr userDrawn="1"/>
        </p:nvSpPr>
        <p:spPr bwMode="gray">
          <a:xfrm>
            <a:off x="4757541" y="2110155"/>
            <a:ext cx="2651760" cy="2651760"/>
          </a:xfrm>
          <a:custGeom>
            <a:avLst/>
            <a:gdLst>
              <a:gd name="T0" fmla="*/ 3869 w 5760"/>
              <a:gd name="T1" fmla="*/ 1545 h 5760"/>
              <a:gd name="T2" fmla="*/ 2018 w 5760"/>
              <a:gd name="T3" fmla="*/ 2250 h 5760"/>
              <a:gd name="T4" fmla="*/ 2018 w 5760"/>
              <a:gd name="T5" fmla="*/ 2250 h 5760"/>
              <a:gd name="T6" fmla="*/ 1556 w 5760"/>
              <a:gd name="T7" fmla="*/ 3934 h 5760"/>
              <a:gd name="T8" fmla="*/ 1755 w 5760"/>
              <a:gd name="T9" fmla="*/ 4133 h 5760"/>
              <a:gd name="T10" fmla="*/ 3470 w 5760"/>
              <a:gd name="T11" fmla="*/ 3455 h 5760"/>
              <a:gd name="T12" fmla="*/ 3861 w 5760"/>
              <a:gd name="T13" fmla="*/ 3710 h 5760"/>
              <a:gd name="T14" fmla="*/ 3933 w 5760"/>
              <a:gd name="T15" fmla="*/ 3255 h 5760"/>
              <a:gd name="T16" fmla="*/ 3734 w 5760"/>
              <a:gd name="T17" fmla="*/ 4133 h 5760"/>
              <a:gd name="T18" fmla="*/ 3694 w 5760"/>
              <a:gd name="T19" fmla="*/ 2712 h 5760"/>
              <a:gd name="T20" fmla="*/ 3905 w 5760"/>
              <a:gd name="T21" fmla="*/ 2466 h 5760"/>
              <a:gd name="T22" fmla="*/ 3574 w 5760"/>
              <a:gd name="T23" fmla="*/ 2354 h 5760"/>
              <a:gd name="T24" fmla="*/ 3853 w 5760"/>
              <a:gd name="T25" fmla="*/ 1324 h 5760"/>
              <a:gd name="T26" fmla="*/ 3295 w 5760"/>
              <a:gd name="T27" fmla="*/ 2298 h 5760"/>
              <a:gd name="T28" fmla="*/ 2685 w 5760"/>
              <a:gd name="T29" fmla="*/ 2469 h 5760"/>
              <a:gd name="T30" fmla="*/ 2816 w 5760"/>
              <a:gd name="T31" fmla="*/ 1987 h 5760"/>
              <a:gd name="T32" fmla="*/ 2170 w 5760"/>
              <a:gd name="T33" fmla="*/ 2593 h 5760"/>
              <a:gd name="T34" fmla="*/ 2712 w 5760"/>
              <a:gd name="T35" fmla="*/ 1580 h 5760"/>
              <a:gd name="T36" fmla="*/ 1779 w 5760"/>
              <a:gd name="T37" fmla="*/ 2274 h 5760"/>
              <a:gd name="T38" fmla="*/ 1643 w 5760"/>
              <a:gd name="T39" fmla="*/ 1795 h 5760"/>
              <a:gd name="T40" fmla="*/ 1388 w 5760"/>
              <a:gd name="T41" fmla="*/ 2066 h 5760"/>
              <a:gd name="T42" fmla="*/ 2122 w 5760"/>
              <a:gd name="T43" fmla="*/ 2792 h 5760"/>
              <a:gd name="T44" fmla="*/ 2417 w 5760"/>
              <a:gd name="T45" fmla="*/ 2832 h 5760"/>
              <a:gd name="T46" fmla="*/ 1292 w 5760"/>
              <a:gd name="T47" fmla="*/ 3917 h 5760"/>
              <a:gd name="T48" fmla="*/ 2537 w 5760"/>
              <a:gd name="T49" fmla="*/ 3678 h 5760"/>
              <a:gd name="T50" fmla="*/ 3374 w 5760"/>
              <a:gd name="T51" fmla="*/ 2489 h 5760"/>
              <a:gd name="T52" fmla="*/ 2888 w 5760"/>
              <a:gd name="T53" fmla="*/ 3502 h 5760"/>
              <a:gd name="T54" fmla="*/ 4484 w 5760"/>
              <a:gd name="T55" fmla="*/ 3646 h 5760"/>
              <a:gd name="T56" fmla="*/ 5321 w 5760"/>
              <a:gd name="T57" fmla="*/ 3701 h 5760"/>
              <a:gd name="T58" fmla="*/ 5297 w 5760"/>
              <a:gd name="T59" fmla="*/ 3694 h 5760"/>
              <a:gd name="T60" fmla="*/ 5066 w 5760"/>
              <a:gd name="T61" fmla="*/ 2513 h 5760"/>
              <a:gd name="T62" fmla="*/ 5138 w 5760"/>
              <a:gd name="T63" fmla="*/ 3415 h 5760"/>
              <a:gd name="T64" fmla="*/ 2880 w 5760"/>
              <a:gd name="T65" fmla="*/ 5449 h 5760"/>
              <a:gd name="T66" fmla="*/ 2063 w 5760"/>
              <a:gd name="T67" fmla="*/ 5306 h 5760"/>
              <a:gd name="T68" fmla="*/ 2689 w 5760"/>
              <a:gd name="T69" fmla="*/ 5393 h 5760"/>
              <a:gd name="T70" fmla="*/ 3047 w 5760"/>
              <a:gd name="T71" fmla="*/ 4875 h 5760"/>
              <a:gd name="T72" fmla="*/ 1771 w 5760"/>
              <a:gd name="T73" fmla="*/ 5042 h 5760"/>
              <a:gd name="T74" fmla="*/ 440 w 5760"/>
              <a:gd name="T75" fmla="*/ 2067 h 5760"/>
              <a:gd name="T76" fmla="*/ 462 w 5760"/>
              <a:gd name="T77" fmla="*/ 2075 h 5760"/>
              <a:gd name="T78" fmla="*/ 694 w 5760"/>
              <a:gd name="T79" fmla="*/ 3247 h 5760"/>
              <a:gd name="T80" fmla="*/ 622 w 5760"/>
              <a:gd name="T81" fmla="*/ 2354 h 5760"/>
              <a:gd name="T82" fmla="*/ 2880 w 5760"/>
              <a:gd name="T83" fmla="*/ 311 h 5760"/>
              <a:gd name="T84" fmla="*/ 3696 w 5760"/>
              <a:gd name="T85" fmla="*/ 461 h 5760"/>
              <a:gd name="T86" fmla="*/ 3071 w 5760"/>
              <a:gd name="T87" fmla="*/ 367 h 5760"/>
              <a:gd name="T88" fmla="*/ 2712 w 5760"/>
              <a:gd name="T89" fmla="*/ 885 h 5760"/>
              <a:gd name="T90" fmla="*/ 3989 w 5760"/>
              <a:gd name="T91" fmla="*/ 726 h 5760"/>
              <a:gd name="T92" fmla="*/ 5321 w 5760"/>
              <a:gd name="T93" fmla="*/ 3701 h 5760"/>
              <a:gd name="T94" fmla="*/ 135 w 5760"/>
              <a:gd name="T95" fmla="*/ 2880 h 5760"/>
              <a:gd name="T96" fmla="*/ 5624 w 5760"/>
              <a:gd name="T97" fmla="*/ 2880 h 5760"/>
              <a:gd name="T98" fmla="*/ 2880 w 5760"/>
              <a:gd name="T99" fmla="*/ 5760 h 5760"/>
              <a:gd name="T100" fmla="*/ 2880 w 5760"/>
              <a:gd name="T101" fmla="*/ 0 h 5760"/>
              <a:gd name="T102" fmla="*/ 2880 w 5760"/>
              <a:gd name="T103" fmla="*/ 576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5760">
                <a:moveTo>
                  <a:pt x="3526" y="2130"/>
                </a:moveTo>
                <a:cubicBezTo>
                  <a:pt x="3526" y="1803"/>
                  <a:pt x="3748" y="1485"/>
                  <a:pt x="3869" y="1545"/>
                </a:cubicBezTo>
                <a:cubicBezTo>
                  <a:pt x="4006" y="1614"/>
                  <a:pt x="3766" y="1923"/>
                  <a:pt x="3526" y="2130"/>
                </a:cubicBezTo>
                <a:moveTo>
                  <a:pt x="2018" y="2250"/>
                </a:moveTo>
                <a:cubicBezTo>
                  <a:pt x="2018" y="1987"/>
                  <a:pt x="2278" y="1486"/>
                  <a:pt x="2437" y="1539"/>
                </a:cubicBezTo>
                <a:cubicBezTo>
                  <a:pt x="2625" y="1601"/>
                  <a:pt x="2282" y="2106"/>
                  <a:pt x="2018" y="2250"/>
                </a:cubicBezTo>
                <a:close/>
                <a:moveTo>
                  <a:pt x="1755" y="4133"/>
                </a:moveTo>
                <a:cubicBezTo>
                  <a:pt x="1635" y="4138"/>
                  <a:pt x="1556" y="4062"/>
                  <a:pt x="1556" y="3934"/>
                </a:cubicBezTo>
                <a:cubicBezTo>
                  <a:pt x="1556" y="3591"/>
                  <a:pt x="2031" y="3264"/>
                  <a:pt x="2390" y="3088"/>
                </a:cubicBezTo>
                <a:cubicBezTo>
                  <a:pt x="2327" y="3567"/>
                  <a:pt x="2165" y="4114"/>
                  <a:pt x="1755" y="4133"/>
                </a:cubicBezTo>
                <a:close/>
                <a:moveTo>
                  <a:pt x="3949" y="3016"/>
                </a:moveTo>
                <a:cubicBezTo>
                  <a:pt x="3678" y="3016"/>
                  <a:pt x="3470" y="3215"/>
                  <a:pt x="3470" y="3455"/>
                </a:cubicBezTo>
                <a:cubicBezTo>
                  <a:pt x="3470" y="3654"/>
                  <a:pt x="3590" y="3813"/>
                  <a:pt x="3750" y="3813"/>
                </a:cubicBezTo>
                <a:cubicBezTo>
                  <a:pt x="3806" y="3813"/>
                  <a:pt x="3861" y="3782"/>
                  <a:pt x="3861" y="3710"/>
                </a:cubicBezTo>
                <a:cubicBezTo>
                  <a:pt x="3861" y="3606"/>
                  <a:pt x="3724" y="3581"/>
                  <a:pt x="3734" y="3426"/>
                </a:cubicBezTo>
                <a:cubicBezTo>
                  <a:pt x="3741" y="3323"/>
                  <a:pt x="3837" y="3255"/>
                  <a:pt x="3933" y="3255"/>
                </a:cubicBezTo>
                <a:cubicBezTo>
                  <a:pt x="4124" y="3255"/>
                  <a:pt x="4214" y="3440"/>
                  <a:pt x="4214" y="3632"/>
                </a:cubicBezTo>
                <a:cubicBezTo>
                  <a:pt x="4206" y="3927"/>
                  <a:pt x="3989" y="4133"/>
                  <a:pt x="3734" y="4133"/>
                </a:cubicBezTo>
                <a:cubicBezTo>
                  <a:pt x="3398" y="4133"/>
                  <a:pt x="3183" y="3813"/>
                  <a:pt x="3183" y="3470"/>
                </a:cubicBezTo>
                <a:cubicBezTo>
                  <a:pt x="3183" y="2960"/>
                  <a:pt x="3518" y="2760"/>
                  <a:pt x="3694" y="2712"/>
                </a:cubicBezTo>
                <a:cubicBezTo>
                  <a:pt x="3696" y="2712"/>
                  <a:pt x="4153" y="2794"/>
                  <a:pt x="4138" y="2592"/>
                </a:cubicBezTo>
                <a:cubicBezTo>
                  <a:pt x="4132" y="2504"/>
                  <a:pt x="4000" y="2470"/>
                  <a:pt x="3905" y="2466"/>
                </a:cubicBezTo>
                <a:cubicBezTo>
                  <a:pt x="3799" y="2462"/>
                  <a:pt x="3692" y="2500"/>
                  <a:pt x="3692" y="2500"/>
                </a:cubicBezTo>
                <a:cubicBezTo>
                  <a:pt x="3636" y="2472"/>
                  <a:pt x="3598" y="2417"/>
                  <a:pt x="3574" y="2354"/>
                </a:cubicBezTo>
                <a:cubicBezTo>
                  <a:pt x="3901" y="2106"/>
                  <a:pt x="4133" y="1867"/>
                  <a:pt x="4133" y="1596"/>
                </a:cubicBezTo>
                <a:cubicBezTo>
                  <a:pt x="4133" y="1452"/>
                  <a:pt x="4037" y="1324"/>
                  <a:pt x="3853" y="1324"/>
                </a:cubicBezTo>
                <a:cubicBezTo>
                  <a:pt x="3526" y="1324"/>
                  <a:pt x="3279" y="1739"/>
                  <a:pt x="3279" y="2114"/>
                </a:cubicBezTo>
                <a:cubicBezTo>
                  <a:pt x="3279" y="2178"/>
                  <a:pt x="3279" y="2242"/>
                  <a:pt x="3295" y="2298"/>
                </a:cubicBezTo>
                <a:cubicBezTo>
                  <a:pt x="3087" y="2449"/>
                  <a:pt x="2933" y="2543"/>
                  <a:pt x="2654" y="2711"/>
                </a:cubicBezTo>
                <a:cubicBezTo>
                  <a:pt x="2654" y="2676"/>
                  <a:pt x="2661" y="2586"/>
                  <a:pt x="2685" y="2469"/>
                </a:cubicBezTo>
                <a:cubicBezTo>
                  <a:pt x="2780" y="2365"/>
                  <a:pt x="2912" y="2210"/>
                  <a:pt x="2912" y="2090"/>
                </a:cubicBezTo>
                <a:cubicBezTo>
                  <a:pt x="2912" y="2034"/>
                  <a:pt x="2880" y="1987"/>
                  <a:pt x="2816" y="1987"/>
                </a:cubicBezTo>
                <a:cubicBezTo>
                  <a:pt x="2657" y="1987"/>
                  <a:pt x="2537" y="2226"/>
                  <a:pt x="2505" y="2393"/>
                </a:cubicBezTo>
                <a:cubicBezTo>
                  <a:pt x="2433" y="2481"/>
                  <a:pt x="2290" y="2593"/>
                  <a:pt x="2170" y="2593"/>
                </a:cubicBezTo>
                <a:cubicBezTo>
                  <a:pt x="2074" y="2593"/>
                  <a:pt x="2042" y="2505"/>
                  <a:pt x="2034" y="2473"/>
                </a:cubicBezTo>
                <a:cubicBezTo>
                  <a:pt x="2338" y="2369"/>
                  <a:pt x="2712" y="1955"/>
                  <a:pt x="2712" y="1580"/>
                </a:cubicBezTo>
                <a:cubicBezTo>
                  <a:pt x="2712" y="1500"/>
                  <a:pt x="2681" y="1324"/>
                  <a:pt x="2441" y="1324"/>
                </a:cubicBezTo>
                <a:cubicBezTo>
                  <a:pt x="2082" y="1324"/>
                  <a:pt x="1779" y="1859"/>
                  <a:pt x="1779" y="2274"/>
                </a:cubicBezTo>
                <a:cubicBezTo>
                  <a:pt x="1651" y="2274"/>
                  <a:pt x="1604" y="2138"/>
                  <a:pt x="1604" y="2034"/>
                </a:cubicBezTo>
                <a:cubicBezTo>
                  <a:pt x="1604" y="1931"/>
                  <a:pt x="1643" y="1827"/>
                  <a:pt x="1643" y="1795"/>
                </a:cubicBezTo>
                <a:cubicBezTo>
                  <a:pt x="1643" y="1763"/>
                  <a:pt x="1627" y="1723"/>
                  <a:pt x="1580" y="1723"/>
                </a:cubicBezTo>
                <a:cubicBezTo>
                  <a:pt x="1460" y="1723"/>
                  <a:pt x="1388" y="1883"/>
                  <a:pt x="1388" y="2066"/>
                </a:cubicBezTo>
                <a:cubicBezTo>
                  <a:pt x="1396" y="2322"/>
                  <a:pt x="1564" y="2481"/>
                  <a:pt x="1787" y="2497"/>
                </a:cubicBezTo>
                <a:cubicBezTo>
                  <a:pt x="1819" y="2649"/>
                  <a:pt x="1955" y="2792"/>
                  <a:pt x="2122" y="2792"/>
                </a:cubicBezTo>
                <a:cubicBezTo>
                  <a:pt x="2226" y="2792"/>
                  <a:pt x="2353" y="2760"/>
                  <a:pt x="2441" y="2681"/>
                </a:cubicBezTo>
                <a:cubicBezTo>
                  <a:pt x="2433" y="2737"/>
                  <a:pt x="2425" y="2784"/>
                  <a:pt x="2417" y="2832"/>
                </a:cubicBezTo>
                <a:cubicBezTo>
                  <a:pt x="2066" y="3016"/>
                  <a:pt x="1811" y="3143"/>
                  <a:pt x="1580" y="3351"/>
                </a:cubicBezTo>
                <a:cubicBezTo>
                  <a:pt x="1396" y="3518"/>
                  <a:pt x="1292" y="3742"/>
                  <a:pt x="1292" y="3917"/>
                </a:cubicBezTo>
                <a:cubicBezTo>
                  <a:pt x="1292" y="4157"/>
                  <a:pt x="1444" y="4380"/>
                  <a:pt x="1755" y="4380"/>
                </a:cubicBezTo>
                <a:cubicBezTo>
                  <a:pt x="2122" y="4380"/>
                  <a:pt x="2401" y="4085"/>
                  <a:pt x="2537" y="3678"/>
                </a:cubicBezTo>
                <a:cubicBezTo>
                  <a:pt x="2601" y="3486"/>
                  <a:pt x="2626" y="3208"/>
                  <a:pt x="2642" y="2952"/>
                </a:cubicBezTo>
                <a:cubicBezTo>
                  <a:pt x="3009" y="2745"/>
                  <a:pt x="3183" y="2625"/>
                  <a:pt x="3374" y="2489"/>
                </a:cubicBezTo>
                <a:cubicBezTo>
                  <a:pt x="3398" y="2529"/>
                  <a:pt x="3423" y="2561"/>
                  <a:pt x="3454" y="2585"/>
                </a:cubicBezTo>
                <a:cubicBezTo>
                  <a:pt x="3287" y="2673"/>
                  <a:pt x="2888" y="2920"/>
                  <a:pt x="2888" y="3502"/>
                </a:cubicBezTo>
                <a:cubicBezTo>
                  <a:pt x="2888" y="3917"/>
                  <a:pt x="3167" y="4380"/>
                  <a:pt x="3718" y="4380"/>
                </a:cubicBezTo>
                <a:cubicBezTo>
                  <a:pt x="4172" y="4380"/>
                  <a:pt x="4484" y="4005"/>
                  <a:pt x="4484" y="3646"/>
                </a:cubicBezTo>
                <a:cubicBezTo>
                  <a:pt x="4484" y="3319"/>
                  <a:pt x="4300" y="3016"/>
                  <a:pt x="3949" y="3016"/>
                </a:cubicBezTo>
                <a:close/>
                <a:moveTo>
                  <a:pt x="5321" y="3701"/>
                </a:moveTo>
                <a:cubicBezTo>
                  <a:pt x="5319" y="3703"/>
                  <a:pt x="5315" y="3707"/>
                  <a:pt x="5306" y="3704"/>
                </a:cubicBezTo>
                <a:cubicBezTo>
                  <a:pt x="5299" y="3702"/>
                  <a:pt x="5297" y="3698"/>
                  <a:pt x="5297" y="3694"/>
                </a:cubicBezTo>
                <a:cubicBezTo>
                  <a:pt x="5298" y="3689"/>
                  <a:pt x="5394" y="3405"/>
                  <a:pt x="5393" y="3080"/>
                </a:cubicBezTo>
                <a:cubicBezTo>
                  <a:pt x="5392" y="2728"/>
                  <a:pt x="5249" y="2513"/>
                  <a:pt x="5066" y="2513"/>
                </a:cubicBezTo>
                <a:cubicBezTo>
                  <a:pt x="4954" y="2513"/>
                  <a:pt x="4874" y="2593"/>
                  <a:pt x="4874" y="2712"/>
                </a:cubicBezTo>
                <a:cubicBezTo>
                  <a:pt x="4874" y="2928"/>
                  <a:pt x="5138" y="2944"/>
                  <a:pt x="5138" y="3415"/>
                </a:cubicBezTo>
                <a:cubicBezTo>
                  <a:pt x="5138" y="3606"/>
                  <a:pt x="5098" y="3789"/>
                  <a:pt x="5034" y="3989"/>
                </a:cubicBezTo>
                <a:cubicBezTo>
                  <a:pt x="4739" y="4986"/>
                  <a:pt x="3797" y="5449"/>
                  <a:pt x="2880" y="5449"/>
                </a:cubicBezTo>
                <a:cubicBezTo>
                  <a:pt x="2457" y="5449"/>
                  <a:pt x="2157" y="5362"/>
                  <a:pt x="2067" y="5322"/>
                </a:cubicBezTo>
                <a:cubicBezTo>
                  <a:pt x="2063" y="5320"/>
                  <a:pt x="2061" y="5313"/>
                  <a:pt x="2063" y="5306"/>
                </a:cubicBezTo>
                <a:cubicBezTo>
                  <a:pt x="2065" y="5300"/>
                  <a:pt x="2072" y="5296"/>
                  <a:pt x="2075" y="5298"/>
                </a:cubicBezTo>
                <a:cubicBezTo>
                  <a:pt x="2111" y="5312"/>
                  <a:pt x="2369" y="5393"/>
                  <a:pt x="2689" y="5393"/>
                </a:cubicBezTo>
                <a:cubicBezTo>
                  <a:pt x="3040" y="5393"/>
                  <a:pt x="3247" y="5250"/>
                  <a:pt x="3247" y="5074"/>
                </a:cubicBezTo>
                <a:cubicBezTo>
                  <a:pt x="3247" y="4962"/>
                  <a:pt x="3159" y="4875"/>
                  <a:pt x="3047" y="4875"/>
                </a:cubicBezTo>
                <a:cubicBezTo>
                  <a:pt x="2832" y="4875"/>
                  <a:pt x="2816" y="5146"/>
                  <a:pt x="2353" y="5146"/>
                </a:cubicBezTo>
                <a:cubicBezTo>
                  <a:pt x="2154" y="5146"/>
                  <a:pt x="1979" y="5106"/>
                  <a:pt x="1771" y="5042"/>
                </a:cubicBezTo>
                <a:cubicBezTo>
                  <a:pt x="782" y="4739"/>
                  <a:pt x="310" y="3805"/>
                  <a:pt x="311" y="2880"/>
                </a:cubicBezTo>
                <a:cubicBezTo>
                  <a:pt x="311" y="2429"/>
                  <a:pt x="438" y="2070"/>
                  <a:pt x="440" y="2067"/>
                </a:cubicBezTo>
                <a:cubicBezTo>
                  <a:pt x="441" y="2065"/>
                  <a:pt x="447" y="2062"/>
                  <a:pt x="454" y="2065"/>
                </a:cubicBezTo>
                <a:cubicBezTo>
                  <a:pt x="461" y="2067"/>
                  <a:pt x="463" y="2073"/>
                  <a:pt x="462" y="2075"/>
                </a:cubicBezTo>
                <a:cubicBezTo>
                  <a:pt x="451" y="2112"/>
                  <a:pt x="367" y="2370"/>
                  <a:pt x="367" y="2688"/>
                </a:cubicBezTo>
                <a:cubicBezTo>
                  <a:pt x="367" y="3040"/>
                  <a:pt x="511" y="3247"/>
                  <a:pt x="694" y="3247"/>
                </a:cubicBezTo>
                <a:cubicBezTo>
                  <a:pt x="798" y="3247"/>
                  <a:pt x="885" y="3167"/>
                  <a:pt x="885" y="3056"/>
                </a:cubicBezTo>
                <a:cubicBezTo>
                  <a:pt x="885" y="2840"/>
                  <a:pt x="622" y="2816"/>
                  <a:pt x="622" y="2354"/>
                </a:cubicBezTo>
                <a:cubicBezTo>
                  <a:pt x="622" y="2154"/>
                  <a:pt x="662" y="1978"/>
                  <a:pt x="726" y="1771"/>
                </a:cubicBezTo>
                <a:cubicBezTo>
                  <a:pt x="1029" y="782"/>
                  <a:pt x="1963" y="318"/>
                  <a:pt x="2880" y="311"/>
                </a:cubicBezTo>
                <a:cubicBezTo>
                  <a:pt x="3306" y="308"/>
                  <a:pt x="3680" y="435"/>
                  <a:pt x="3694" y="447"/>
                </a:cubicBezTo>
                <a:cubicBezTo>
                  <a:pt x="3696" y="449"/>
                  <a:pt x="3699" y="455"/>
                  <a:pt x="3696" y="461"/>
                </a:cubicBezTo>
                <a:cubicBezTo>
                  <a:pt x="3693" y="468"/>
                  <a:pt x="3688" y="469"/>
                  <a:pt x="3686" y="469"/>
                </a:cubicBezTo>
                <a:cubicBezTo>
                  <a:pt x="3681" y="468"/>
                  <a:pt x="3439" y="367"/>
                  <a:pt x="3071" y="367"/>
                </a:cubicBezTo>
                <a:cubicBezTo>
                  <a:pt x="2728" y="367"/>
                  <a:pt x="2513" y="510"/>
                  <a:pt x="2513" y="694"/>
                </a:cubicBezTo>
                <a:cubicBezTo>
                  <a:pt x="2513" y="798"/>
                  <a:pt x="2593" y="885"/>
                  <a:pt x="2712" y="885"/>
                </a:cubicBezTo>
                <a:cubicBezTo>
                  <a:pt x="2928" y="885"/>
                  <a:pt x="2944" y="622"/>
                  <a:pt x="3406" y="622"/>
                </a:cubicBezTo>
                <a:cubicBezTo>
                  <a:pt x="3606" y="622"/>
                  <a:pt x="3781" y="662"/>
                  <a:pt x="3989" y="726"/>
                </a:cubicBezTo>
                <a:cubicBezTo>
                  <a:pt x="4986" y="1029"/>
                  <a:pt x="5440" y="1971"/>
                  <a:pt x="5449" y="2880"/>
                </a:cubicBezTo>
                <a:cubicBezTo>
                  <a:pt x="5453" y="3346"/>
                  <a:pt x="5322" y="3699"/>
                  <a:pt x="5321" y="3701"/>
                </a:cubicBezTo>
                <a:close/>
                <a:moveTo>
                  <a:pt x="2880" y="136"/>
                </a:moveTo>
                <a:cubicBezTo>
                  <a:pt x="1364" y="136"/>
                  <a:pt x="135" y="1364"/>
                  <a:pt x="135" y="2880"/>
                </a:cubicBezTo>
                <a:cubicBezTo>
                  <a:pt x="135" y="4396"/>
                  <a:pt x="1364" y="5624"/>
                  <a:pt x="2880" y="5624"/>
                </a:cubicBezTo>
                <a:cubicBezTo>
                  <a:pt x="4396" y="5624"/>
                  <a:pt x="5624" y="4396"/>
                  <a:pt x="5624" y="2880"/>
                </a:cubicBezTo>
                <a:cubicBezTo>
                  <a:pt x="5624" y="1372"/>
                  <a:pt x="4396" y="136"/>
                  <a:pt x="2880" y="136"/>
                </a:cubicBezTo>
                <a:close/>
                <a:moveTo>
                  <a:pt x="2880" y="5760"/>
                </a:moveTo>
                <a:cubicBezTo>
                  <a:pt x="1292" y="5760"/>
                  <a:pt x="0" y="4476"/>
                  <a:pt x="0" y="2880"/>
                </a:cubicBezTo>
                <a:cubicBezTo>
                  <a:pt x="0" y="1292"/>
                  <a:pt x="1292" y="0"/>
                  <a:pt x="2880" y="0"/>
                </a:cubicBezTo>
                <a:cubicBezTo>
                  <a:pt x="4467" y="0"/>
                  <a:pt x="5760" y="1292"/>
                  <a:pt x="5760" y="2880"/>
                </a:cubicBezTo>
                <a:cubicBezTo>
                  <a:pt x="5760" y="4476"/>
                  <a:pt x="4467" y="5760"/>
                  <a:pt x="2880" y="5760"/>
                </a:cubicBezTo>
                <a:close/>
              </a:path>
            </a:pathLst>
          </a:custGeom>
          <a:solidFill>
            <a:srgbClr val="005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10158969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DAEF07-D0B1-4504-AB2C-14FFC29D6FA5}"/>
              </a:ext>
            </a:extLst>
          </p:cNvPr>
          <p:cNvGraphicFramePr>
            <a:graphicFrameLocks noChangeAspect="1"/>
          </p:cNvGraphicFramePr>
          <p:nvPr userDrawn="1">
            <p:custDataLst>
              <p:tags r:id="rId1"/>
            </p:custDataLst>
            <p:extLst>
              <p:ext uri="{D42A27DB-BD31-4B8C-83A1-F6EECF244321}">
                <p14:modId xmlns:p14="http://schemas.microsoft.com/office/powerpoint/2010/main" val="4201560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2" name="Object 1" hidden="1">
                        <a:extLst>
                          <a:ext uri="{FF2B5EF4-FFF2-40B4-BE49-F238E27FC236}">
                            <a16:creationId xmlns:a16="http://schemas.microsoft.com/office/drawing/2014/main" id="{F2DAEF07-D0B1-4504-AB2C-14FFC29D6F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5"/>
          <p:cNvSpPr>
            <a:spLocks noChangeAspect="1" noEditPoints="1"/>
          </p:cNvSpPr>
          <p:nvPr userDrawn="1"/>
        </p:nvSpPr>
        <p:spPr bwMode="black">
          <a:xfrm>
            <a:off x="4757541" y="2110155"/>
            <a:ext cx="2651760" cy="2651760"/>
          </a:xfrm>
          <a:custGeom>
            <a:avLst/>
            <a:gdLst>
              <a:gd name="T0" fmla="*/ 3869 w 5760"/>
              <a:gd name="T1" fmla="*/ 1545 h 5760"/>
              <a:gd name="T2" fmla="*/ 2018 w 5760"/>
              <a:gd name="T3" fmla="*/ 2250 h 5760"/>
              <a:gd name="T4" fmla="*/ 2018 w 5760"/>
              <a:gd name="T5" fmla="*/ 2250 h 5760"/>
              <a:gd name="T6" fmla="*/ 1556 w 5760"/>
              <a:gd name="T7" fmla="*/ 3934 h 5760"/>
              <a:gd name="T8" fmla="*/ 1755 w 5760"/>
              <a:gd name="T9" fmla="*/ 4133 h 5760"/>
              <a:gd name="T10" fmla="*/ 3470 w 5760"/>
              <a:gd name="T11" fmla="*/ 3455 h 5760"/>
              <a:gd name="T12" fmla="*/ 3861 w 5760"/>
              <a:gd name="T13" fmla="*/ 3710 h 5760"/>
              <a:gd name="T14" fmla="*/ 3933 w 5760"/>
              <a:gd name="T15" fmla="*/ 3255 h 5760"/>
              <a:gd name="T16" fmla="*/ 3734 w 5760"/>
              <a:gd name="T17" fmla="*/ 4133 h 5760"/>
              <a:gd name="T18" fmla="*/ 3694 w 5760"/>
              <a:gd name="T19" fmla="*/ 2712 h 5760"/>
              <a:gd name="T20" fmla="*/ 3905 w 5760"/>
              <a:gd name="T21" fmla="*/ 2466 h 5760"/>
              <a:gd name="T22" fmla="*/ 3574 w 5760"/>
              <a:gd name="T23" fmla="*/ 2354 h 5760"/>
              <a:gd name="T24" fmla="*/ 3853 w 5760"/>
              <a:gd name="T25" fmla="*/ 1324 h 5760"/>
              <a:gd name="T26" fmla="*/ 3295 w 5760"/>
              <a:gd name="T27" fmla="*/ 2298 h 5760"/>
              <a:gd name="T28" fmla="*/ 2685 w 5760"/>
              <a:gd name="T29" fmla="*/ 2469 h 5760"/>
              <a:gd name="T30" fmla="*/ 2816 w 5760"/>
              <a:gd name="T31" fmla="*/ 1987 h 5760"/>
              <a:gd name="T32" fmla="*/ 2170 w 5760"/>
              <a:gd name="T33" fmla="*/ 2593 h 5760"/>
              <a:gd name="T34" fmla="*/ 2712 w 5760"/>
              <a:gd name="T35" fmla="*/ 1580 h 5760"/>
              <a:gd name="T36" fmla="*/ 1779 w 5760"/>
              <a:gd name="T37" fmla="*/ 2274 h 5760"/>
              <a:gd name="T38" fmla="*/ 1643 w 5760"/>
              <a:gd name="T39" fmla="*/ 1795 h 5760"/>
              <a:gd name="T40" fmla="*/ 1388 w 5760"/>
              <a:gd name="T41" fmla="*/ 2066 h 5760"/>
              <a:gd name="T42" fmla="*/ 2122 w 5760"/>
              <a:gd name="T43" fmla="*/ 2792 h 5760"/>
              <a:gd name="T44" fmla="*/ 2417 w 5760"/>
              <a:gd name="T45" fmla="*/ 2832 h 5760"/>
              <a:gd name="T46" fmla="*/ 1292 w 5760"/>
              <a:gd name="T47" fmla="*/ 3917 h 5760"/>
              <a:gd name="T48" fmla="*/ 2537 w 5760"/>
              <a:gd name="T49" fmla="*/ 3678 h 5760"/>
              <a:gd name="T50" fmla="*/ 3374 w 5760"/>
              <a:gd name="T51" fmla="*/ 2489 h 5760"/>
              <a:gd name="T52" fmla="*/ 2888 w 5760"/>
              <a:gd name="T53" fmla="*/ 3502 h 5760"/>
              <a:gd name="T54" fmla="*/ 4484 w 5760"/>
              <a:gd name="T55" fmla="*/ 3646 h 5760"/>
              <a:gd name="T56" fmla="*/ 5321 w 5760"/>
              <a:gd name="T57" fmla="*/ 3701 h 5760"/>
              <a:gd name="T58" fmla="*/ 5297 w 5760"/>
              <a:gd name="T59" fmla="*/ 3694 h 5760"/>
              <a:gd name="T60" fmla="*/ 5066 w 5760"/>
              <a:gd name="T61" fmla="*/ 2513 h 5760"/>
              <a:gd name="T62" fmla="*/ 5138 w 5760"/>
              <a:gd name="T63" fmla="*/ 3415 h 5760"/>
              <a:gd name="T64" fmla="*/ 2880 w 5760"/>
              <a:gd name="T65" fmla="*/ 5449 h 5760"/>
              <a:gd name="T66" fmla="*/ 2063 w 5760"/>
              <a:gd name="T67" fmla="*/ 5306 h 5760"/>
              <a:gd name="T68" fmla="*/ 2689 w 5760"/>
              <a:gd name="T69" fmla="*/ 5393 h 5760"/>
              <a:gd name="T70" fmla="*/ 3047 w 5760"/>
              <a:gd name="T71" fmla="*/ 4875 h 5760"/>
              <a:gd name="T72" fmla="*/ 1771 w 5760"/>
              <a:gd name="T73" fmla="*/ 5042 h 5760"/>
              <a:gd name="T74" fmla="*/ 440 w 5760"/>
              <a:gd name="T75" fmla="*/ 2067 h 5760"/>
              <a:gd name="T76" fmla="*/ 462 w 5760"/>
              <a:gd name="T77" fmla="*/ 2075 h 5760"/>
              <a:gd name="T78" fmla="*/ 694 w 5760"/>
              <a:gd name="T79" fmla="*/ 3247 h 5760"/>
              <a:gd name="T80" fmla="*/ 622 w 5760"/>
              <a:gd name="T81" fmla="*/ 2354 h 5760"/>
              <a:gd name="T82" fmla="*/ 2880 w 5760"/>
              <a:gd name="T83" fmla="*/ 311 h 5760"/>
              <a:gd name="T84" fmla="*/ 3696 w 5760"/>
              <a:gd name="T85" fmla="*/ 461 h 5760"/>
              <a:gd name="T86" fmla="*/ 3071 w 5760"/>
              <a:gd name="T87" fmla="*/ 367 h 5760"/>
              <a:gd name="T88" fmla="*/ 2712 w 5760"/>
              <a:gd name="T89" fmla="*/ 885 h 5760"/>
              <a:gd name="T90" fmla="*/ 3989 w 5760"/>
              <a:gd name="T91" fmla="*/ 726 h 5760"/>
              <a:gd name="T92" fmla="*/ 5321 w 5760"/>
              <a:gd name="T93" fmla="*/ 3701 h 5760"/>
              <a:gd name="T94" fmla="*/ 135 w 5760"/>
              <a:gd name="T95" fmla="*/ 2880 h 5760"/>
              <a:gd name="T96" fmla="*/ 5624 w 5760"/>
              <a:gd name="T97" fmla="*/ 2880 h 5760"/>
              <a:gd name="T98" fmla="*/ 2880 w 5760"/>
              <a:gd name="T99" fmla="*/ 5760 h 5760"/>
              <a:gd name="T100" fmla="*/ 2880 w 5760"/>
              <a:gd name="T101" fmla="*/ 0 h 5760"/>
              <a:gd name="T102" fmla="*/ 2880 w 5760"/>
              <a:gd name="T103" fmla="*/ 576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5760">
                <a:moveTo>
                  <a:pt x="3526" y="2130"/>
                </a:moveTo>
                <a:cubicBezTo>
                  <a:pt x="3526" y="1803"/>
                  <a:pt x="3748" y="1485"/>
                  <a:pt x="3869" y="1545"/>
                </a:cubicBezTo>
                <a:cubicBezTo>
                  <a:pt x="4006" y="1614"/>
                  <a:pt x="3766" y="1923"/>
                  <a:pt x="3526" y="2130"/>
                </a:cubicBezTo>
                <a:moveTo>
                  <a:pt x="2018" y="2250"/>
                </a:moveTo>
                <a:cubicBezTo>
                  <a:pt x="2018" y="1987"/>
                  <a:pt x="2278" y="1486"/>
                  <a:pt x="2437" y="1539"/>
                </a:cubicBezTo>
                <a:cubicBezTo>
                  <a:pt x="2625" y="1601"/>
                  <a:pt x="2282" y="2106"/>
                  <a:pt x="2018" y="2250"/>
                </a:cubicBezTo>
                <a:close/>
                <a:moveTo>
                  <a:pt x="1755" y="4133"/>
                </a:moveTo>
                <a:cubicBezTo>
                  <a:pt x="1635" y="4138"/>
                  <a:pt x="1556" y="4062"/>
                  <a:pt x="1556" y="3934"/>
                </a:cubicBezTo>
                <a:cubicBezTo>
                  <a:pt x="1556" y="3591"/>
                  <a:pt x="2031" y="3264"/>
                  <a:pt x="2390" y="3088"/>
                </a:cubicBezTo>
                <a:cubicBezTo>
                  <a:pt x="2327" y="3567"/>
                  <a:pt x="2165" y="4114"/>
                  <a:pt x="1755" y="4133"/>
                </a:cubicBezTo>
                <a:close/>
                <a:moveTo>
                  <a:pt x="3949" y="3016"/>
                </a:moveTo>
                <a:cubicBezTo>
                  <a:pt x="3678" y="3016"/>
                  <a:pt x="3470" y="3215"/>
                  <a:pt x="3470" y="3455"/>
                </a:cubicBezTo>
                <a:cubicBezTo>
                  <a:pt x="3470" y="3654"/>
                  <a:pt x="3590" y="3813"/>
                  <a:pt x="3750" y="3813"/>
                </a:cubicBezTo>
                <a:cubicBezTo>
                  <a:pt x="3806" y="3813"/>
                  <a:pt x="3861" y="3782"/>
                  <a:pt x="3861" y="3710"/>
                </a:cubicBezTo>
                <a:cubicBezTo>
                  <a:pt x="3861" y="3606"/>
                  <a:pt x="3724" y="3581"/>
                  <a:pt x="3734" y="3426"/>
                </a:cubicBezTo>
                <a:cubicBezTo>
                  <a:pt x="3741" y="3323"/>
                  <a:pt x="3837" y="3255"/>
                  <a:pt x="3933" y="3255"/>
                </a:cubicBezTo>
                <a:cubicBezTo>
                  <a:pt x="4124" y="3255"/>
                  <a:pt x="4214" y="3440"/>
                  <a:pt x="4214" y="3632"/>
                </a:cubicBezTo>
                <a:cubicBezTo>
                  <a:pt x="4206" y="3927"/>
                  <a:pt x="3989" y="4133"/>
                  <a:pt x="3734" y="4133"/>
                </a:cubicBezTo>
                <a:cubicBezTo>
                  <a:pt x="3398" y="4133"/>
                  <a:pt x="3183" y="3813"/>
                  <a:pt x="3183" y="3470"/>
                </a:cubicBezTo>
                <a:cubicBezTo>
                  <a:pt x="3183" y="2960"/>
                  <a:pt x="3518" y="2760"/>
                  <a:pt x="3694" y="2712"/>
                </a:cubicBezTo>
                <a:cubicBezTo>
                  <a:pt x="3696" y="2712"/>
                  <a:pt x="4153" y="2794"/>
                  <a:pt x="4138" y="2592"/>
                </a:cubicBezTo>
                <a:cubicBezTo>
                  <a:pt x="4132" y="2504"/>
                  <a:pt x="4000" y="2470"/>
                  <a:pt x="3905" y="2466"/>
                </a:cubicBezTo>
                <a:cubicBezTo>
                  <a:pt x="3799" y="2462"/>
                  <a:pt x="3692" y="2500"/>
                  <a:pt x="3692" y="2500"/>
                </a:cubicBezTo>
                <a:cubicBezTo>
                  <a:pt x="3636" y="2472"/>
                  <a:pt x="3598" y="2417"/>
                  <a:pt x="3574" y="2354"/>
                </a:cubicBezTo>
                <a:cubicBezTo>
                  <a:pt x="3901" y="2106"/>
                  <a:pt x="4133" y="1867"/>
                  <a:pt x="4133" y="1596"/>
                </a:cubicBezTo>
                <a:cubicBezTo>
                  <a:pt x="4133" y="1452"/>
                  <a:pt x="4037" y="1324"/>
                  <a:pt x="3853" y="1324"/>
                </a:cubicBezTo>
                <a:cubicBezTo>
                  <a:pt x="3526" y="1324"/>
                  <a:pt x="3279" y="1739"/>
                  <a:pt x="3279" y="2114"/>
                </a:cubicBezTo>
                <a:cubicBezTo>
                  <a:pt x="3279" y="2178"/>
                  <a:pt x="3279" y="2242"/>
                  <a:pt x="3295" y="2298"/>
                </a:cubicBezTo>
                <a:cubicBezTo>
                  <a:pt x="3087" y="2449"/>
                  <a:pt x="2933" y="2543"/>
                  <a:pt x="2654" y="2711"/>
                </a:cubicBezTo>
                <a:cubicBezTo>
                  <a:pt x="2654" y="2676"/>
                  <a:pt x="2661" y="2586"/>
                  <a:pt x="2685" y="2469"/>
                </a:cubicBezTo>
                <a:cubicBezTo>
                  <a:pt x="2780" y="2365"/>
                  <a:pt x="2912" y="2210"/>
                  <a:pt x="2912" y="2090"/>
                </a:cubicBezTo>
                <a:cubicBezTo>
                  <a:pt x="2912" y="2034"/>
                  <a:pt x="2880" y="1987"/>
                  <a:pt x="2816" y="1987"/>
                </a:cubicBezTo>
                <a:cubicBezTo>
                  <a:pt x="2657" y="1987"/>
                  <a:pt x="2537" y="2226"/>
                  <a:pt x="2505" y="2393"/>
                </a:cubicBezTo>
                <a:cubicBezTo>
                  <a:pt x="2433" y="2481"/>
                  <a:pt x="2290" y="2593"/>
                  <a:pt x="2170" y="2593"/>
                </a:cubicBezTo>
                <a:cubicBezTo>
                  <a:pt x="2074" y="2593"/>
                  <a:pt x="2042" y="2505"/>
                  <a:pt x="2034" y="2473"/>
                </a:cubicBezTo>
                <a:cubicBezTo>
                  <a:pt x="2338" y="2369"/>
                  <a:pt x="2712" y="1955"/>
                  <a:pt x="2712" y="1580"/>
                </a:cubicBezTo>
                <a:cubicBezTo>
                  <a:pt x="2712" y="1500"/>
                  <a:pt x="2681" y="1324"/>
                  <a:pt x="2441" y="1324"/>
                </a:cubicBezTo>
                <a:cubicBezTo>
                  <a:pt x="2082" y="1324"/>
                  <a:pt x="1779" y="1859"/>
                  <a:pt x="1779" y="2274"/>
                </a:cubicBezTo>
                <a:cubicBezTo>
                  <a:pt x="1651" y="2274"/>
                  <a:pt x="1604" y="2138"/>
                  <a:pt x="1604" y="2034"/>
                </a:cubicBezTo>
                <a:cubicBezTo>
                  <a:pt x="1604" y="1931"/>
                  <a:pt x="1643" y="1827"/>
                  <a:pt x="1643" y="1795"/>
                </a:cubicBezTo>
                <a:cubicBezTo>
                  <a:pt x="1643" y="1763"/>
                  <a:pt x="1627" y="1723"/>
                  <a:pt x="1580" y="1723"/>
                </a:cubicBezTo>
                <a:cubicBezTo>
                  <a:pt x="1460" y="1723"/>
                  <a:pt x="1388" y="1883"/>
                  <a:pt x="1388" y="2066"/>
                </a:cubicBezTo>
                <a:cubicBezTo>
                  <a:pt x="1396" y="2322"/>
                  <a:pt x="1564" y="2481"/>
                  <a:pt x="1787" y="2497"/>
                </a:cubicBezTo>
                <a:cubicBezTo>
                  <a:pt x="1819" y="2649"/>
                  <a:pt x="1955" y="2792"/>
                  <a:pt x="2122" y="2792"/>
                </a:cubicBezTo>
                <a:cubicBezTo>
                  <a:pt x="2226" y="2792"/>
                  <a:pt x="2353" y="2760"/>
                  <a:pt x="2441" y="2681"/>
                </a:cubicBezTo>
                <a:cubicBezTo>
                  <a:pt x="2433" y="2737"/>
                  <a:pt x="2425" y="2784"/>
                  <a:pt x="2417" y="2832"/>
                </a:cubicBezTo>
                <a:cubicBezTo>
                  <a:pt x="2066" y="3016"/>
                  <a:pt x="1811" y="3143"/>
                  <a:pt x="1580" y="3351"/>
                </a:cubicBezTo>
                <a:cubicBezTo>
                  <a:pt x="1396" y="3518"/>
                  <a:pt x="1292" y="3742"/>
                  <a:pt x="1292" y="3917"/>
                </a:cubicBezTo>
                <a:cubicBezTo>
                  <a:pt x="1292" y="4157"/>
                  <a:pt x="1444" y="4380"/>
                  <a:pt x="1755" y="4380"/>
                </a:cubicBezTo>
                <a:cubicBezTo>
                  <a:pt x="2122" y="4380"/>
                  <a:pt x="2401" y="4085"/>
                  <a:pt x="2537" y="3678"/>
                </a:cubicBezTo>
                <a:cubicBezTo>
                  <a:pt x="2601" y="3486"/>
                  <a:pt x="2626" y="3208"/>
                  <a:pt x="2642" y="2952"/>
                </a:cubicBezTo>
                <a:cubicBezTo>
                  <a:pt x="3009" y="2745"/>
                  <a:pt x="3183" y="2625"/>
                  <a:pt x="3374" y="2489"/>
                </a:cubicBezTo>
                <a:cubicBezTo>
                  <a:pt x="3398" y="2529"/>
                  <a:pt x="3423" y="2561"/>
                  <a:pt x="3454" y="2585"/>
                </a:cubicBezTo>
                <a:cubicBezTo>
                  <a:pt x="3287" y="2673"/>
                  <a:pt x="2888" y="2920"/>
                  <a:pt x="2888" y="3502"/>
                </a:cubicBezTo>
                <a:cubicBezTo>
                  <a:pt x="2888" y="3917"/>
                  <a:pt x="3167" y="4380"/>
                  <a:pt x="3718" y="4380"/>
                </a:cubicBezTo>
                <a:cubicBezTo>
                  <a:pt x="4172" y="4380"/>
                  <a:pt x="4484" y="4005"/>
                  <a:pt x="4484" y="3646"/>
                </a:cubicBezTo>
                <a:cubicBezTo>
                  <a:pt x="4484" y="3319"/>
                  <a:pt x="4300" y="3016"/>
                  <a:pt x="3949" y="3016"/>
                </a:cubicBezTo>
                <a:close/>
                <a:moveTo>
                  <a:pt x="5321" y="3701"/>
                </a:moveTo>
                <a:cubicBezTo>
                  <a:pt x="5319" y="3703"/>
                  <a:pt x="5315" y="3707"/>
                  <a:pt x="5306" y="3704"/>
                </a:cubicBezTo>
                <a:cubicBezTo>
                  <a:pt x="5299" y="3702"/>
                  <a:pt x="5297" y="3698"/>
                  <a:pt x="5297" y="3694"/>
                </a:cubicBezTo>
                <a:cubicBezTo>
                  <a:pt x="5298" y="3689"/>
                  <a:pt x="5394" y="3405"/>
                  <a:pt x="5393" y="3080"/>
                </a:cubicBezTo>
                <a:cubicBezTo>
                  <a:pt x="5392" y="2728"/>
                  <a:pt x="5249" y="2513"/>
                  <a:pt x="5066" y="2513"/>
                </a:cubicBezTo>
                <a:cubicBezTo>
                  <a:pt x="4954" y="2513"/>
                  <a:pt x="4874" y="2593"/>
                  <a:pt x="4874" y="2712"/>
                </a:cubicBezTo>
                <a:cubicBezTo>
                  <a:pt x="4874" y="2928"/>
                  <a:pt x="5138" y="2944"/>
                  <a:pt x="5138" y="3415"/>
                </a:cubicBezTo>
                <a:cubicBezTo>
                  <a:pt x="5138" y="3606"/>
                  <a:pt x="5098" y="3789"/>
                  <a:pt x="5034" y="3989"/>
                </a:cubicBezTo>
                <a:cubicBezTo>
                  <a:pt x="4739" y="4986"/>
                  <a:pt x="3797" y="5449"/>
                  <a:pt x="2880" y="5449"/>
                </a:cubicBezTo>
                <a:cubicBezTo>
                  <a:pt x="2457" y="5449"/>
                  <a:pt x="2157" y="5362"/>
                  <a:pt x="2067" y="5322"/>
                </a:cubicBezTo>
                <a:cubicBezTo>
                  <a:pt x="2063" y="5320"/>
                  <a:pt x="2061" y="5313"/>
                  <a:pt x="2063" y="5306"/>
                </a:cubicBezTo>
                <a:cubicBezTo>
                  <a:pt x="2065" y="5300"/>
                  <a:pt x="2072" y="5296"/>
                  <a:pt x="2075" y="5298"/>
                </a:cubicBezTo>
                <a:cubicBezTo>
                  <a:pt x="2111" y="5312"/>
                  <a:pt x="2369" y="5393"/>
                  <a:pt x="2689" y="5393"/>
                </a:cubicBezTo>
                <a:cubicBezTo>
                  <a:pt x="3040" y="5393"/>
                  <a:pt x="3247" y="5250"/>
                  <a:pt x="3247" y="5074"/>
                </a:cubicBezTo>
                <a:cubicBezTo>
                  <a:pt x="3247" y="4962"/>
                  <a:pt x="3159" y="4875"/>
                  <a:pt x="3047" y="4875"/>
                </a:cubicBezTo>
                <a:cubicBezTo>
                  <a:pt x="2832" y="4875"/>
                  <a:pt x="2816" y="5146"/>
                  <a:pt x="2353" y="5146"/>
                </a:cubicBezTo>
                <a:cubicBezTo>
                  <a:pt x="2154" y="5146"/>
                  <a:pt x="1979" y="5106"/>
                  <a:pt x="1771" y="5042"/>
                </a:cubicBezTo>
                <a:cubicBezTo>
                  <a:pt x="782" y="4739"/>
                  <a:pt x="310" y="3805"/>
                  <a:pt x="311" y="2880"/>
                </a:cubicBezTo>
                <a:cubicBezTo>
                  <a:pt x="311" y="2429"/>
                  <a:pt x="438" y="2070"/>
                  <a:pt x="440" y="2067"/>
                </a:cubicBezTo>
                <a:cubicBezTo>
                  <a:pt x="441" y="2065"/>
                  <a:pt x="447" y="2062"/>
                  <a:pt x="454" y="2065"/>
                </a:cubicBezTo>
                <a:cubicBezTo>
                  <a:pt x="461" y="2067"/>
                  <a:pt x="463" y="2073"/>
                  <a:pt x="462" y="2075"/>
                </a:cubicBezTo>
                <a:cubicBezTo>
                  <a:pt x="451" y="2112"/>
                  <a:pt x="367" y="2370"/>
                  <a:pt x="367" y="2688"/>
                </a:cubicBezTo>
                <a:cubicBezTo>
                  <a:pt x="367" y="3040"/>
                  <a:pt x="511" y="3247"/>
                  <a:pt x="694" y="3247"/>
                </a:cubicBezTo>
                <a:cubicBezTo>
                  <a:pt x="798" y="3247"/>
                  <a:pt x="885" y="3167"/>
                  <a:pt x="885" y="3056"/>
                </a:cubicBezTo>
                <a:cubicBezTo>
                  <a:pt x="885" y="2840"/>
                  <a:pt x="622" y="2816"/>
                  <a:pt x="622" y="2354"/>
                </a:cubicBezTo>
                <a:cubicBezTo>
                  <a:pt x="622" y="2154"/>
                  <a:pt x="662" y="1978"/>
                  <a:pt x="726" y="1771"/>
                </a:cubicBezTo>
                <a:cubicBezTo>
                  <a:pt x="1029" y="782"/>
                  <a:pt x="1963" y="318"/>
                  <a:pt x="2880" y="311"/>
                </a:cubicBezTo>
                <a:cubicBezTo>
                  <a:pt x="3306" y="308"/>
                  <a:pt x="3680" y="435"/>
                  <a:pt x="3694" y="447"/>
                </a:cubicBezTo>
                <a:cubicBezTo>
                  <a:pt x="3696" y="449"/>
                  <a:pt x="3699" y="455"/>
                  <a:pt x="3696" y="461"/>
                </a:cubicBezTo>
                <a:cubicBezTo>
                  <a:pt x="3693" y="468"/>
                  <a:pt x="3688" y="469"/>
                  <a:pt x="3686" y="469"/>
                </a:cubicBezTo>
                <a:cubicBezTo>
                  <a:pt x="3681" y="468"/>
                  <a:pt x="3439" y="367"/>
                  <a:pt x="3071" y="367"/>
                </a:cubicBezTo>
                <a:cubicBezTo>
                  <a:pt x="2728" y="367"/>
                  <a:pt x="2513" y="510"/>
                  <a:pt x="2513" y="694"/>
                </a:cubicBezTo>
                <a:cubicBezTo>
                  <a:pt x="2513" y="798"/>
                  <a:pt x="2593" y="885"/>
                  <a:pt x="2712" y="885"/>
                </a:cubicBezTo>
                <a:cubicBezTo>
                  <a:pt x="2928" y="885"/>
                  <a:pt x="2944" y="622"/>
                  <a:pt x="3406" y="622"/>
                </a:cubicBezTo>
                <a:cubicBezTo>
                  <a:pt x="3606" y="622"/>
                  <a:pt x="3781" y="662"/>
                  <a:pt x="3989" y="726"/>
                </a:cubicBezTo>
                <a:cubicBezTo>
                  <a:pt x="4986" y="1029"/>
                  <a:pt x="5440" y="1971"/>
                  <a:pt x="5449" y="2880"/>
                </a:cubicBezTo>
                <a:cubicBezTo>
                  <a:pt x="5453" y="3346"/>
                  <a:pt x="5322" y="3699"/>
                  <a:pt x="5321" y="3701"/>
                </a:cubicBezTo>
                <a:close/>
                <a:moveTo>
                  <a:pt x="2880" y="136"/>
                </a:moveTo>
                <a:cubicBezTo>
                  <a:pt x="1364" y="136"/>
                  <a:pt x="135" y="1364"/>
                  <a:pt x="135" y="2880"/>
                </a:cubicBezTo>
                <a:cubicBezTo>
                  <a:pt x="135" y="4396"/>
                  <a:pt x="1364" y="5624"/>
                  <a:pt x="2880" y="5624"/>
                </a:cubicBezTo>
                <a:cubicBezTo>
                  <a:pt x="4396" y="5624"/>
                  <a:pt x="5624" y="4396"/>
                  <a:pt x="5624" y="2880"/>
                </a:cubicBezTo>
                <a:cubicBezTo>
                  <a:pt x="5624" y="1372"/>
                  <a:pt x="4396" y="136"/>
                  <a:pt x="2880" y="136"/>
                </a:cubicBezTo>
                <a:close/>
                <a:moveTo>
                  <a:pt x="2880" y="5760"/>
                </a:moveTo>
                <a:cubicBezTo>
                  <a:pt x="1292" y="5760"/>
                  <a:pt x="0" y="4476"/>
                  <a:pt x="0" y="2880"/>
                </a:cubicBezTo>
                <a:cubicBezTo>
                  <a:pt x="0" y="1292"/>
                  <a:pt x="1292" y="0"/>
                  <a:pt x="2880" y="0"/>
                </a:cubicBezTo>
                <a:cubicBezTo>
                  <a:pt x="4467" y="0"/>
                  <a:pt x="5760" y="1292"/>
                  <a:pt x="5760" y="2880"/>
                </a:cubicBezTo>
                <a:cubicBezTo>
                  <a:pt x="5760" y="4476"/>
                  <a:pt x="4467" y="5760"/>
                  <a:pt x="2880" y="576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5889972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wo Statement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837C0D9-3B97-41CF-BECD-9C636C4B6097}"/>
              </a:ext>
            </a:extLst>
          </p:cNvPr>
          <p:cNvGraphicFramePr>
            <a:graphicFrameLocks noChangeAspect="1"/>
          </p:cNvGraphicFramePr>
          <p:nvPr userDrawn="1">
            <p:custDataLst>
              <p:tags r:id="rId1"/>
            </p:custDataLst>
            <p:extLst>
              <p:ext uri="{D42A27DB-BD31-4B8C-83A1-F6EECF244321}">
                <p14:modId xmlns:p14="http://schemas.microsoft.com/office/powerpoint/2010/main" val="3738771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8" name="Object 7" hidden="1">
                        <a:extLst>
                          <a:ext uri="{FF2B5EF4-FFF2-40B4-BE49-F238E27FC236}">
                            <a16:creationId xmlns:a16="http://schemas.microsoft.com/office/drawing/2014/main" id="{A837C0D9-3B97-41CF-BECD-9C636C4B60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B28919B-02C7-4F9A-B55D-BF119CE3F4C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 Inspira Sans" panose="020B0503060000000003" pitchFamily="34" charset="0"/>
              <a:ea typeface="+mj-ea"/>
              <a:cs typeface="+mj-cs"/>
              <a:sym typeface="GE Inspira Sans" panose="020B0503060000000003" pitchFamily="34" charset="0"/>
            </a:endParaRPr>
          </a:p>
        </p:txBody>
      </p:sp>
      <p:sp>
        <p:nvSpPr>
          <p:cNvPr id="9" name="Slide Number Placeholder 5">
            <a:extLst>
              <a:ext uri="{FF2B5EF4-FFF2-40B4-BE49-F238E27FC236}">
                <a16:creationId xmlns:a16="http://schemas.microsoft.com/office/drawing/2014/main" id="{7790EE85-D077-4A90-BC50-3B1D9FE3CFBB}"/>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36723663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C3D4CE-B59D-4FCA-A76B-A421F8BD153D}"/>
              </a:ext>
            </a:extLst>
          </p:cNvPr>
          <p:cNvGraphicFramePr>
            <a:graphicFrameLocks noChangeAspect="1"/>
          </p:cNvGraphicFramePr>
          <p:nvPr userDrawn="1">
            <p:custDataLst>
              <p:tags r:id="rId1"/>
            </p:custDataLst>
            <p:extLst>
              <p:ext uri="{D42A27DB-BD31-4B8C-83A1-F6EECF244321}">
                <p14:modId xmlns:p14="http://schemas.microsoft.com/office/powerpoint/2010/main" val="1447102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Object 3" hidden="1">
                        <a:extLst>
                          <a:ext uri="{FF2B5EF4-FFF2-40B4-BE49-F238E27FC236}">
                            <a16:creationId xmlns:a16="http://schemas.microsoft.com/office/drawing/2014/main" id="{52C3D4CE-B59D-4FCA-A76B-A421F8BD15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B1B8AD7-39FD-40B6-8E5F-A0018F9C698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Slide Number Placeholder 5">
            <a:extLst>
              <a:ext uri="{FF2B5EF4-FFF2-40B4-BE49-F238E27FC236}">
                <a16:creationId xmlns:a16="http://schemas.microsoft.com/office/drawing/2014/main" id="{E608A553-77D8-4C0F-B52D-0AA791BD3E5E}"/>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2601513411"/>
      </p:ext>
    </p:extLst>
  </p:cSld>
  <p:clrMapOvr>
    <a:masterClrMapping/>
  </p:clrMapOvr>
  <p:extLst>
    <p:ext uri="{DCECCB84-F9BA-43D5-87BE-67443E8EF086}">
      <p15:sldGuideLst xmlns:p15="http://schemas.microsoft.com/office/powerpoint/2012/main">
        <p15:guide id="1" orient="horz" pos="232">
          <p15:clr>
            <a:srgbClr val="FBAE40"/>
          </p15:clr>
        </p15:guide>
        <p15:guide id="2"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3_Title and Content - No Rul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2C437D5-EBA9-43A5-84DE-1A1D0FD08EC0}"/>
              </a:ext>
            </a:extLst>
          </p:cNvPr>
          <p:cNvGraphicFramePr>
            <a:graphicFrameLocks noChangeAspect="1"/>
          </p:cNvGraphicFramePr>
          <p:nvPr userDrawn="1">
            <p:custDataLst>
              <p:tags r:id="rId1"/>
            </p:custDataLst>
            <p:extLst>
              <p:ext uri="{D42A27DB-BD31-4B8C-83A1-F6EECF244321}">
                <p14:modId xmlns:p14="http://schemas.microsoft.com/office/powerpoint/2010/main" val="6954782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3" name="Objet 2" hidden="1">
                        <a:extLst>
                          <a:ext uri="{FF2B5EF4-FFF2-40B4-BE49-F238E27FC236}">
                            <a16:creationId xmlns:a16="http://schemas.microsoft.com/office/drawing/2014/main" id="{22C437D5-EBA9-43A5-84DE-1A1D0FD08EC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E6996CB-B494-4016-BFA8-E51F23B4CCA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10" name="Slide Number Placeholder 5">
            <a:extLst>
              <a:ext uri="{FF2B5EF4-FFF2-40B4-BE49-F238E27FC236}">
                <a16:creationId xmlns:a16="http://schemas.microsoft.com/office/drawing/2014/main" id="{BA835383-F2FB-4DD0-A199-BA12284BD297}"/>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384450841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5016CE-575C-4610-AAC5-D0790506DB72}"/>
              </a:ext>
            </a:extLst>
          </p:cNvPr>
          <p:cNvGraphicFramePr>
            <a:graphicFrameLocks noChangeAspect="1"/>
          </p:cNvGraphicFramePr>
          <p:nvPr userDrawn="1">
            <p:custDataLst>
              <p:tags r:id="rId1"/>
            </p:custDataLst>
            <p:extLst>
              <p:ext uri="{D42A27DB-BD31-4B8C-83A1-F6EECF244321}">
                <p14:modId xmlns:p14="http://schemas.microsoft.com/office/powerpoint/2010/main" val="565886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3" name="Object 2" hidden="1">
                        <a:extLst>
                          <a:ext uri="{FF2B5EF4-FFF2-40B4-BE49-F238E27FC236}">
                            <a16:creationId xmlns:a16="http://schemas.microsoft.com/office/drawing/2014/main" id="{7C5016CE-575C-4610-AAC5-D0790506DB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05DD0FE-49C6-432C-8A38-5E77D75F775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11" name="Title Placeholder 1"/>
          <p:cNvSpPr>
            <a:spLocks noGrp="1"/>
          </p:cNvSpPr>
          <p:nvPr>
            <p:ph type="title"/>
          </p:nvPr>
        </p:nvSpPr>
        <p:spPr>
          <a:xfrm>
            <a:off x="495300" y="276301"/>
            <a:ext cx="11201400" cy="914400"/>
          </a:xfrm>
          <a:prstGeom prst="rect">
            <a:avLst/>
          </a:prstGeom>
        </p:spPr>
        <p:txBody>
          <a:bodyPr vert="horz" lIns="0" tIns="0" rIns="0" bIns="0" rtlCol="0" anchor="t" anchorCtr="0">
            <a:noAutofit/>
          </a:bodyPr>
          <a:lstStyle>
            <a:lvl1pPr>
              <a:defRPr/>
            </a:lvl1pPr>
          </a:lstStyle>
          <a:p>
            <a:r>
              <a:rPr lang="en-US" dirty="0"/>
              <a:t>Click to edit Master title style</a:t>
            </a:r>
          </a:p>
        </p:txBody>
      </p:sp>
      <p:sp>
        <p:nvSpPr>
          <p:cNvPr id="7" name="Content Placeholder 6"/>
          <p:cNvSpPr>
            <a:spLocks noGrp="1"/>
          </p:cNvSpPr>
          <p:nvPr>
            <p:ph sz="quarter" idx="13" hasCustomPrompt="1"/>
          </p:nvPr>
        </p:nvSpPr>
        <p:spPr>
          <a:xfrm>
            <a:off x="506058" y="1104588"/>
            <a:ext cx="11201400" cy="4290059"/>
          </a:xfrm>
        </p:spPr>
        <p:txBody>
          <a:bodyPr/>
          <a:lstStyle>
            <a:lvl4pPr marL="682625" indent="-173038">
              <a:defRPr/>
            </a:lvl4pPr>
            <a:lvl5pPr marL="914400" indent="-173038">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a:extLst>
              <a:ext uri="{FF2B5EF4-FFF2-40B4-BE49-F238E27FC236}">
                <a16:creationId xmlns:a16="http://schemas.microsoft.com/office/drawing/2014/main" id="{9AA1FA22-B32B-4F6B-82C1-0F9EE6364B64}"/>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23954652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DBCF7DD-627A-43E9-BAC6-7E75EEF44540}"/>
              </a:ext>
            </a:extLst>
          </p:cNvPr>
          <p:cNvGraphicFramePr>
            <a:graphicFrameLocks noChangeAspect="1"/>
          </p:cNvGraphicFramePr>
          <p:nvPr userDrawn="1">
            <p:custDataLst>
              <p:tags r:id="rId1"/>
            </p:custDataLst>
            <p:extLst>
              <p:ext uri="{D42A27DB-BD31-4B8C-83A1-F6EECF244321}">
                <p14:modId xmlns:p14="http://schemas.microsoft.com/office/powerpoint/2010/main" val="3957772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Object 3" hidden="1">
                        <a:extLst>
                          <a:ext uri="{FF2B5EF4-FFF2-40B4-BE49-F238E27FC236}">
                            <a16:creationId xmlns:a16="http://schemas.microsoft.com/office/drawing/2014/main" id="{DDBCF7DD-627A-43E9-BAC6-7E75EEF445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906B637-2CB7-430B-A757-C960B067C2E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2" name="Title 1"/>
          <p:cNvSpPr>
            <a:spLocks noGrp="1"/>
          </p:cNvSpPr>
          <p:nvPr>
            <p:ph type="title" hasCustomPrompt="1"/>
          </p:nvPr>
        </p:nvSpPr>
        <p:spPr>
          <a:xfrm>
            <a:off x="495300" y="278207"/>
            <a:ext cx="11201400" cy="914400"/>
          </a:xfrm>
          <a:prstGeom prst="rect">
            <a:avLst/>
          </a:prstGeom>
        </p:spPr>
        <p:txBody>
          <a:bodyPr/>
          <a:lstStyle>
            <a:lvl1pPr>
              <a:defRPr/>
            </a:lvl1pPr>
          </a:lstStyle>
          <a:p>
            <a:r>
              <a:rPr lang="en-US" dirty="0"/>
              <a:t>Two Content Layout</a:t>
            </a:r>
          </a:p>
        </p:txBody>
      </p:sp>
      <p:sp>
        <p:nvSpPr>
          <p:cNvPr id="10" name="Content Placeholder 9"/>
          <p:cNvSpPr>
            <a:spLocks noGrp="1"/>
          </p:cNvSpPr>
          <p:nvPr>
            <p:ph sz="quarter" idx="13" hasCustomPrompt="1"/>
          </p:nvPr>
        </p:nvSpPr>
        <p:spPr>
          <a:xfrm>
            <a:off x="495300" y="1683357"/>
            <a:ext cx="5220880" cy="4046883"/>
          </a:xfrm>
        </p:spPr>
        <p:txBody>
          <a:bodyPr/>
          <a:lstStyle>
            <a:lvl1pPr>
              <a:defRPr sz="1800"/>
            </a:lvl1pPr>
            <a:lvl2pPr>
              <a:defRPr sz="1800"/>
            </a:lvl2pPr>
            <a:lvl3pPr>
              <a:defRPr sz="1800"/>
            </a:lvl3pPr>
            <a:lvl4pPr>
              <a:defRPr sz="1800"/>
            </a:lvl4pPr>
            <a:lvl5pPr>
              <a:defRPr sz="1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4" hasCustomPrompt="1"/>
          </p:nvPr>
        </p:nvSpPr>
        <p:spPr>
          <a:xfrm>
            <a:off x="6475820" y="1683357"/>
            <a:ext cx="5220880" cy="4046883"/>
          </a:xfrm>
        </p:spPr>
        <p:txBody>
          <a:bodyPr/>
          <a:lstStyle>
            <a:lvl1pPr>
              <a:defRPr sz="1800"/>
            </a:lvl1pPr>
            <a:lvl2pPr>
              <a:defRPr sz="1800"/>
            </a:lvl2pPr>
            <a:lvl3pPr>
              <a:defRPr sz="1800"/>
            </a:lvl3pPr>
            <a:lvl4pPr>
              <a:defRPr sz="1800"/>
            </a:lvl4pPr>
            <a:lvl5pPr>
              <a:defRPr sz="1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5" hasCustomPrompt="1"/>
          </p:nvPr>
        </p:nvSpPr>
        <p:spPr>
          <a:xfrm>
            <a:off x="495300" y="1217093"/>
            <a:ext cx="5220880" cy="365760"/>
          </a:xfrm>
        </p:spPr>
        <p:txBody>
          <a:bodyPr vert="horz" lIns="0" tIns="0" rIns="0" bIns="0" rtlCol="0" anchor="b">
            <a:noAutofit/>
          </a:bodyPr>
          <a:lstStyle>
            <a:lvl1pPr algn="l">
              <a:defRPr lang="en-US" sz="2000" b="1" dirty="0">
                <a:solidFill>
                  <a:schemeClr val="accent1"/>
                </a:solidFill>
              </a:defRPr>
            </a:lvl1pPr>
          </a:lstStyle>
          <a:p>
            <a:pPr lvl="0">
              <a:lnSpc>
                <a:spcPct val="90000"/>
              </a:lnSpc>
              <a:spcBef>
                <a:spcPts val="0"/>
              </a:spcBef>
            </a:pPr>
            <a:r>
              <a:rPr lang="en-US" dirty="0"/>
              <a:t>Edit Master text styles</a:t>
            </a:r>
          </a:p>
        </p:txBody>
      </p:sp>
      <p:sp>
        <p:nvSpPr>
          <p:cNvPr id="22" name="Text Placeholder 18"/>
          <p:cNvSpPr>
            <a:spLocks noGrp="1"/>
          </p:cNvSpPr>
          <p:nvPr>
            <p:ph type="body" sz="quarter" idx="16" hasCustomPrompt="1"/>
          </p:nvPr>
        </p:nvSpPr>
        <p:spPr>
          <a:xfrm>
            <a:off x="6475820" y="1217093"/>
            <a:ext cx="5220880" cy="365760"/>
          </a:xfrm>
        </p:spPr>
        <p:txBody>
          <a:bodyPr vert="horz" lIns="0" tIns="0" rIns="0" bIns="0" rtlCol="0" anchor="b">
            <a:noAutofit/>
          </a:bodyPr>
          <a:lstStyle>
            <a:lvl1pPr>
              <a:defRPr lang="en-US" sz="2000" b="1" dirty="0">
                <a:solidFill>
                  <a:schemeClr val="accent1"/>
                </a:solidFill>
              </a:defRPr>
            </a:lvl1pPr>
          </a:lstStyle>
          <a:p>
            <a:pPr lvl="0">
              <a:lnSpc>
                <a:spcPct val="90000"/>
              </a:lnSpc>
              <a:spcBef>
                <a:spcPts val="0"/>
              </a:spcBef>
            </a:pPr>
            <a:r>
              <a:rPr lang="en-US" dirty="0"/>
              <a:t>Edit Master text styles</a:t>
            </a:r>
          </a:p>
        </p:txBody>
      </p:sp>
      <p:sp>
        <p:nvSpPr>
          <p:cNvPr id="11" name="Slide Number Placeholder 5">
            <a:extLst>
              <a:ext uri="{FF2B5EF4-FFF2-40B4-BE49-F238E27FC236}">
                <a16:creationId xmlns:a16="http://schemas.microsoft.com/office/drawing/2014/main" id="{765BA4C9-BC1A-4DE5-A893-C84B7989787D}"/>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359842936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B40AC-2254-4AD3-9FF1-FECB7CB74E4A}"/>
              </a:ext>
            </a:extLst>
          </p:cNvPr>
          <p:cNvGraphicFramePr>
            <a:graphicFrameLocks noChangeAspect="1"/>
          </p:cNvGraphicFramePr>
          <p:nvPr userDrawn="1">
            <p:custDataLst>
              <p:tags r:id="rId1"/>
            </p:custDataLst>
            <p:extLst>
              <p:ext uri="{D42A27DB-BD31-4B8C-83A1-F6EECF244321}">
                <p14:modId xmlns:p14="http://schemas.microsoft.com/office/powerpoint/2010/main" val="2490924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Object 3" hidden="1">
                        <a:extLst>
                          <a:ext uri="{FF2B5EF4-FFF2-40B4-BE49-F238E27FC236}">
                            <a16:creationId xmlns:a16="http://schemas.microsoft.com/office/drawing/2014/main" id="{D24B40AC-2254-4AD3-9FF1-FECB7CB74E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FD4A56-5C2D-4C83-B8FC-516C041BDA2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3" name="Text Placeholder 2"/>
          <p:cNvSpPr>
            <a:spLocks noGrp="1"/>
          </p:cNvSpPr>
          <p:nvPr>
            <p:ph type="body" idx="1" hasCustomPrompt="1"/>
          </p:nvPr>
        </p:nvSpPr>
        <p:spPr>
          <a:xfrm>
            <a:off x="495299" y="1218907"/>
            <a:ext cx="3377601" cy="365760"/>
          </a:xfrm>
        </p:spPr>
        <p:txBody>
          <a:bodyPr vert="horz" lIns="0" tIns="0" rIns="0" bIns="0" rtlCol="0" anchor="b">
            <a:noAutofit/>
          </a:bodyPr>
          <a:lstStyle>
            <a:lvl1pPr>
              <a:defRPr lang="en-US" sz="2000" b="1" dirty="0">
                <a:solidFill>
                  <a:schemeClr val="accent1"/>
                </a:solidFill>
              </a:defRPr>
            </a:lvl1pPr>
          </a:lstStyle>
          <a:p>
            <a:pPr lvl="0">
              <a:lnSpc>
                <a:spcPct val="90000"/>
              </a:lnSpc>
              <a:spcBef>
                <a:spcPts val="0"/>
              </a:spcBef>
            </a:pPr>
            <a:r>
              <a:rPr lang="en-US" dirty="0"/>
              <a:t>Subtitle</a:t>
            </a:r>
          </a:p>
        </p:txBody>
      </p:sp>
      <p:sp>
        <p:nvSpPr>
          <p:cNvPr id="5" name="Text Placeholder 4"/>
          <p:cNvSpPr>
            <a:spLocks noGrp="1"/>
          </p:cNvSpPr>
          <p:nvPr>
            <p:ph type="body" sz="quarter" idx="3" hasCustomPrompt="1"/>
          </p:nvPr>
        </p:nvSpPr>
        <p:spPr>
          <a:xfrm>
            <a:off x="4405334" y="1218907"/>
            <a:ext cx="3382004" cy="365760"/>
          </a:xfrm>
        </p:spPr>
        <p:txBody>
          <a:bodyPr vert="horz" lIns="0" tIns="0" rIns="0" bIns="0" rtlCol="0" anchor="b">
            <a:noAutofit/>
          </a:bodyPr>
          <a:lstStyle>
            <a:lvl1pPr>
              <a:defRPr lang="en-US" sz="2000" b="1" dirty="0">
                <a:solidFill>
                  <a:schemeClr val="accent1"/>
                </a:solidFill>
              </a:defRPr>
            </a:lvl1pPr>
          </a:lstStyle>
          <a:p>
            <a:pPr lvl="0">
              <a:lnSpc>
                <a:spcPct val="90000"/>
              </a:lnSpc>
              <a:spcBef>
                <a:spcPts val="0"/>
              </a:spcBef>
            </a:pPr>
            <a:r>
              <a:rPr lang="en-US" dirty="0"/>
              <a:t>Subtitle</a:t>
            </a:r>
          </a:p>
        </p:txBody>
      </p:sp>
      <p:sp>
        <p:nvSpPr>
          <p:cNvPr id="15" name="Content Placeholder 14"/>
          <p:cNvSpPr>
            <a:spLocks noGrp="1"/>
          </p:cNvSpPr>
          <p:nvPr>
            <p:ph sz="quarter" idx="13" hasCustomPrompt="1"/>
          </p:nvPr>
        </p:nvSpPr>
        <p:spPr>
          <a:xfrm>
            <a:off x="495299" y="1683549"/>
            <a:ext cx="3377601" cy="4012346"/>
          </a:xfrm>
        </p:spPr>
        <p:txBody>
          <a:bodyPr/>
          <a:lstStyle>
            <a:lvl1pPr>
              <a:defRPr sz="1800"/>
            </a:lvl1pPr>
            <a:lvl2pPr marL="210312">
              <a:defRPr sz="1800"/>
            </a:lvl2pPr>
            <a:lvl3pPr marL="429768" indent="-173736">
              <a:defRPr sz="1800"/>
            </a:lvl3pPr>
            <a:lvl4pPr marL="603504" indent="-128016">
              <a:defRPr sz="1800"/>
            </a:lvl4pPr>
            <a:lvl5pPr marL="793750" indent="-173038">
              <a:defRPr sz="1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5" hasCustomPrompt="1"/>
          </p:nvPr>
        </p:nvSpPr>
        <p:spPr>
          <a:xfrm>
            <a:off x="8314696" y="1218907"/>
            <a:ext cx="3382004" cy="365760"/>
          </a:xfrm>
        </p:spPr>
        <p:txBody>
          <a:bodyPr vert="horz" lIns="0" tIns="0" rIns="0" bIns="0" rtlCol="0" anchor="b">
            <a:noAutofit/>
          </a:bodyPr>
          <a:lstStyle>
            <a:lvl1pPr>
              <a:defRPr lang="en-US" sz="2000" b="1" dirty="0">
                <a:solidFill>
                  <a:schemeClr val="accent1"/>
                </a:solidFill>
              </a:defRPr>
            </a:lvl1pPr>
          </a:lstStyle>
          <a:p>
            <a:pPr lvl="0">
              <a:lnSpc>
                <a:spcPct val="90000"/>
              </a:lnSpc>
              <a:spcBef>
                <a:spcPts val="0"/>
              </a:spcBef>
            </a:pPr>
            <a:r>
              <a:rPr lang="en-US" dirty="0"/>
              <a:t>Subtitle</a:t>
            </a:r>
          </a:p>
        </p:txBody>
      </p:sp>
      <p:sp>
        <p:nvSpPr>
          <p:cNvPr id="11" name="Title 10"/>
          <p:cNvSpPr>
            <a:spLocks noGrp="1"/>
          </p:cNvSpPr>
          <p:nvPr>
            <p:ph type="title"/>
          </p:nvPr>
        </p:nvSpPr>
        <p:spPr>
          <a:xfrm>
            <a:off x="495300" y="279699"/>
            <a:ext cx="11201400" cy="516367"/>
          </a:xfrm>
          <a:prstGeom prst="rect">
            <a:avLst/>
          </a:prstGeom>
        </p:spPr>
        <p:txBody>
          <a:bodyPr/>
          <a:lstStyle/>
          <a:p>
            <a:r>
              <a:rPr lang="en-US" dirty="0"/>
              <a:t>Click to edit Master title style</a:t>
            </a:r>
          </a:p>
        </p:txBody>
      </p:sp>
      <p:sp>
        <p:nvSpPr>
          <p:cNvPr id="21" name="Content Placeholder 14"/>
          <p:cNvSpPr>
            <a:spLocks noGrp="1"/>
          </p:cNvSpPr>
          <p:nvPr>
            <p:ph sz="quarter" idx="18" hasCustomPrompt="1"/>
          </p:nvPr>
        </p:nvSpPr>
        <p:spPr>
          <a:xfrm>
            <a:off x="4405334" y="1683549"/>
            <a:ext cx="3377601" cy="4012346"/>
          </a:xfrm>
        </p:spPr>
        <p:txBody>
          <a:bodyPr/>
          <a:lstStyle>
            <a:lvl1pPr>
              <a:defRPr sz="1800"/>
            </a:lvl1pPr>
            <a:lvl2pPr marL="210312">
              <a:defRPr sz="1800"/>
            </a:lvl2pPr>
            <a:lvl3pPr marL="429768" indent="-173736">
              <a:defRPr sz="1800"/>
            </a:lvl3pPr>
            <a:lvl4pPr marL="603504" indent="-128016">
              <a:defRPr sz="1800"/>
            </a:lvl4pPr>
            <a:lvl5pPr marL="793750" indent="-173038">
              <a:defRPr sz="1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14"/>
          <p:cNvSpPr>
            <a:spLocks noGrp="1"/>
          </p:cNvSpPr>
          <p:nvPr>
            <p:ph sz="quarter" idx="19" hasCustomPrompt="1"/>
          </p:nvPr>
        </p:nvSpPr>
        <p:spPr>
          <a:xfrm>
            <a:off x="8314696" y="1683549"/>
            <a:ext cx="3377601" cy="4012346"/>
          </a:xfrm>
        </p:spPr>
        <p:txBody>
          <a:bodyPr/>
          <a:lstStyle>
            <a:lvl1pPr>
              <a:defRPr sz="1800"/>
            </a:lvl1pPr>
            <a:lvl2pPr marL="210312">
              <a:defRPr sz="1800"/>
            </a:lvl2pPr>
            <a:lvl3pPr marL="429768" indent="-173736">
              <a:defRPr sz="1800"/>
            </a:lvl3pPr>
            <a:lvl4pPr marL="603504" indent="-128016">
              <a:defRPr sz="1800"/>
            </a:lvl4pPr>
            <a:lvl5pPr marL="793750" indent="-173038">
              <a:defRPr sz="1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a:extLst>
              <a:ext uri="{FF2B5EF4-FFF2-40B4-BE49-F238E27FC236}">
                <a16:creationId xmlns:a16="http://schemas.microsoft.com/office/drawing/2014/main" id="{BB5A0E8D-0199-4D21-965A-EDD48699644C}"/>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10368995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19A902-6324-410E-BE0E-E6AE6E1F0260}"/>
              </a:ext>
            </a:extLst>
          </p:cNvPr>
          <p:cNvGraphicFramePr>
            <a:graphicFrameLocks noChangeAspect="1"/>
          </p:cNvGraphicFramePr>
          <p:nvPr userDrawn="1">
            <p:custDataLst>
              <p:tags r:id="rId1"/>
            </p:custDataLst>
            <p:extLst>
              <p:ext uri="{D42A27DB-BD31-4B8C-83A1-F6EECF244321}">
                <p14:modId xmlns:p14="http://schemas.microsoft.com/office/powerpoint/2010/main" val="2126983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6" name="Object 5" hidden="1">
                        <a:extLst>
                          <a:ext uri="{FF2B5EF4-FFF2-40B4-BE49-F238E27FC236}">
                            <a16:creationId xmlns:a16="http://schemas.microsoft.com/office/drawing/2014/main" id="{2019A902-6324-410E-BE0E-E6AE6E1F02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46BBF4-F9FD-4736-A408-D7218F6B5C1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3" name="Text Placeholder 2"/>
          <p:cNvSpPr>
            <a:spLocks noGrp="1"/>
          </p:cNvSpPr>
          <p:nvPr>
            <p:ph type="body" idx="1" hasCustomPrompt="1"/>
          </p:nvPr>
        </p:nvSpPr>
        <p:spPr>
          <a:xfrm>
            <a:off x="495300" y="1294430"/>
            <a:ext cx="2518906" cy="292388"/>
          </a:xfrm>
        </p:spPr>
        <p:txBody>
          <a:bodyPr vert="horz" wrap="square" lIns="0" tIns="0" rIns="0" bIns="0" rtlCol="0" anchor="b" anchorCtr="0">
            <a:spAutoFit/>
          </a:bodyPr>
          <a:lstStyle>
            <a:lvl1pPr>
              <a:defRPr lang="en-US" sz="2000" b="1" dirty="0" smtClean="0">
                <a:solidFill>
                  <a:schemeClr val="accent1"/>
                </a:solidFill>
              </a:defRPr>
            </a:lvl1pPr>
          </a:lstStyle>
          <a:p>
            <a:pPr lvl="0"/>
            <a:r>
              <a:rPr lang="en-US" dirty="0"/>
              <a:t>Subtitle</a:t>
            </a:r>
          </a:p>
        </p:txBody>
      </p:sp>
      <p:sp>
        <p:nvSpPr>
          <p:cNvPr id="5" name="Text Placeholder 4"/>
          <p:cNvSpPr>
            <a:spLocks noGrp="1"/>
          </p:cNvSpPr>
          <p:nvPr>
            <p:ph type="body" sz="quarter" idx="3" hasCustomPrompt="1"/>
          </p:nvPr>
        </p:nvSpPr>
        <p:spPr>
          <a:xfrm>
            <a:off x="3396995" y="1294430"/>
            <a:ext cx="2496313" cy="292388"/>
          </a:xfrm>
        </p:spPr>
        <p:txBody>
          <a:bodyPr vert="horz" wrap="square" lIns="0" tIns="0" rIns="0" bIns="0" rtlCol="0" anchor="b" anchorCtr="0">
            <a:spAutoFit/>
          </a:bodyPr>
          <a:lstStyle>
            <a:lvl1pPr>
              <a:defRPr lang="en-US" sz="2000" b="1" dirty="0" smtClean="0">
                <a:solidFill>
                  <a:schemeClr val="accent1"/>
                </a:solidFill>
              </a:defRPr>
            </a:lvl1pPr>
          </a:lstStyle>
          <a:p>
            <a:pPr lvl="0"/>
            <a:r>
              <a:rPr lang="en-US" dirty="0"/>
              <a:t>Subtitle</a:t>
            </a:r>
          </a:p>
        </p:txBody>
      </p:sp>
      <p:sp>
        <p:nvSpPr>
          <p:cNvPr id="15" name="Content Placeholder 14"/>
          <p:cNvSpPr>
            <a:spLocks noGrp="1"/>
          </p:cNvSpPr>
          <p:nvPr>
            <p:ph sz="quarter" idx="13" hasCustomPrompt="1"/>
          </p:nvPr>
        </p:nvSpPr>
        <p:spPr>
          <a:xfrm>
            <a:off x="495300" y="1796696"/>
            <a:ext cx="2496312" cy="3959013"/>
          </a:xfrm>
        </p:spPr>
        <p:txBody>
          <a:bodyPr vert="horz" lIns="0" tIns="0" rIns="0" bIns="0" rtlCol="0">
            <a:noAutofit/>
          </a:bodyPr>
          <a:lstStyle>
            <a:lvl1pPr>
              <a:defRPr lang="en-US" sz="1800" dirty="0" smtClean="0"/>
            </a:lvl1pPr>
            <a:lvl2pPr>
              <a:defRPr lang="en-US" sz="1800" dirty="0" smtClean="0"/>
            </a:lvl2pPr>
            <a:lvl3pPr marL="429768" indent="-173736">
              <a:defRPr lang="en-US" sz="1800" dirty="0" smtClean="0"/>
            </a:lvl3pPr>
            <a:lvl4pPr marL="603504" indent="-128016">
              <a:defRPr lang="en-US" sz="1800" dirty="0" smtClean="0"/>
            </a:lvl4pPr>
            <a:lvl5pPr marL="795528" indent="-128016">
              <a:defRPr lang="en-CA" sz="1800"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5" hasCustomPrompt="1"/>
          </p:nvPr>
        </p:nvSpPr>
        <p:spPr>
          <a:xfrm>
            <a:off x="6298692" y="1294430"/>
            <a:ext cx="2496312" cy="292388"/>
          </a:xfrm>
        </p:spPr>
        <p:txBody>
          <a:bodyPr vert="horz" wrap="square" lIns="0" tIns="0" rIns="0" bIns="0" rtlCol="0" anchor="b" anchorCtr="0">
            <a:spAutoFit/>
          </a:bodyPr>
          <a:lstStyle>
            <a:lvl1pPr>
              <a:defRPr lang="en-US" sz="2000" b="1" dirty="0" smtClean="0">
                <a:solidFill>
                  <a:schemeClr val="accent1"/>
                </a:solidFill>
              </a:defRPr>
            </a:lvl1pPr>
          </a:lstStyle>
          <a:p>
            <a:pPr lvl="0"/>
            <a:r>
              <a:rPr lang="en-US" dirty="0"/>
              <a:t>Subtitle</a:t>
            </a:r>
          </a:p>
        </p:txBody>
      </p:sp>
      <p:sp>
        <p:nvSpPr>
          <p:cNvPr id="14" name="Text Placeholder 13"/>
          <p:cNvSpPr>
            <a:spLocks noGrp="1"/>
          </p:cNvSpPr>
          <p:nvPr>
            <p:ph type="body" sz="quarter" idx="17" hasCustomPrompt="1"/>
          </p:nvPr>
        </p:nvSpPr>
        <p:spPr>
          <a:xfrm>
            <a:off x="9200388" y="1294430"/>
            <a:ext cx="2496312" cy="292388"/>
          </a:xfrm>
        </p:spPr>
        <p:txBody>
          <a:bodyPr vert="horz" wrap="square" lIns="0" tIns="0" rIns="0" bIns="0" rtlCol="0" anchor="b" anchorCtr="0">
            <a:spAutoFit/>
          </a:bodyPr>
          <a:lstStyle>
            <a:lvl1pPr>
              <a:defRPr lang="en-US" sz="2000" b="1" dirty="0" smtClean="0">
                <a:solidFill>
                  <a:schemeClr val="accent1"/>
                </a:solidFill>
              </a:defRPr>
            </a:lvl1pPr>
          </a:lstStyle>
          <a:p>
            <a:pPr lvl="0"/>
            <a:r>
              <a:rPr lang="en-US" dirty="0"/>
              <a:t>Subtitle</a:t>
            </a:r>
          </a:p>
        </p:txBody>
      </p:sp>
      <p:sp>
        <p:nvSpPr>
          <p:cNvPr id="4" name="Title 3"/>
          <p:cNvSpPr>
            <a:spLocks noGrp="1"/>
          </p:cNvSpPr>
          <p:nvPr>
            <p:ph type="title"/>
          </p:nvPr>
        </p:nvSpPr>
        <p:spPr>
          <a:xfrm>
            <a:off x="495300" y="279699"/>
            <a:ext cx="11201400" cy="634701"/>
          </a:xfrm>
          <a:prstGeom prst="rect">
            <a:avLst/>
          </a:prstGeom>
        </p:spPr>
        <p:txBody>
          <a:bodyPr/>
          <a:lstStyle/>
          <a:p>
            <a:r>
              <a:rPr lang="en-US" dirty="0"/>
              <a:t>Click to edit Master title style</a:t>
            </a:r>
          </a:p>
        </p:txBody>
      </p:sp>
      <p:sp>
        <p:nvSpPr>
          <p:cNvPr id="25" name="Content Placeholder 14"/>
          <p:cNvSpPr>
            <a:spLocks noGrp="1"/>
          </p:cNvSpPr>
          <p:nvPr>
            <p:ph sz="quarter" idx="20" hasCustomPrompt="1"/>
          </p:nvPr>
        </p:nvSpPr>
        <p:spPr>
          <a:xfrm>
            <a:off x="3396995" y="1796696"/>
            <a:ext cx="2496312" cy="3959013"/>
          </a:xfrm>
        </p:spPr>
        <p:txBody>
          <a:bodyPr vert="horz" lIns="0" tIns="0" rIns="0" bIns="0" rtlCol="0">
            <a:noAutofit/>
          </a:bodyPr>
          <a:lstStyle>
            <a:lvl1pPr>
              <a:defRPr lang="en-US" sz="1800" dirty="0" smtClean="0"/>
            </a:lvl1pPr>
            <a:lvl2pPr>
              <a:defRPr lang="en-US" sz="1800" dirty="0" smtClean="0"/>
            </a:lvl2pPr>
            <a:lvl3pPr marL="429768" indent="-173736">
              <a:defRPr lang="en-US" sz="1800" dirty="0" smtClean="0"/>
            </a:lvl3pPr>
            <a:lvl4pPr marL="603504" indent="-128016">
              <a:defRPr lang="en-US" sz="1800" dirty="0" smtClean="0"/>
            </a:lvl4pPr>
            <a:lvl5pPr marL="795528" indent="-128016">
              <a:defRPr lang="en-CA" sz="1800"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14"/>
          <p:cNvSpPr>
            <a:spLocks noGrp="1"/>
          </p:cNvSpPr>
          <p:nvPr>
            <p:ph sz="quarter" idx="21" hasCustomPrompt="1"/>
          </p:nvPr>
        </p:nvSpPr>
        <p:spPr>
          <a:xfrm>
            <a:off x="6298692" y="1796696"/>
            <a:ext cx="2496312" cy="3959013"/>
          </a:xfrm>
        </p:spPr>
        <p:txBody>
          <a:bodyPr vert="horz" lIns="0" tIns="0" rIns="0" bIns="0" rtlCol="0">
            <a:noAutofit/>
          </a:bodyPr>
          <a:lstStyle>
            <a:lvl1pPr>
              <a:defRPr lang="en-US" sz="1800" dirty="0" smtClean="0"/>
            </a:lvl1pPr>
            <a:lvl2pPr>
              <a:defRPr lang="en-US" sz="1800" dirty="0" smtClean="0"/>
            </a:lvl2pPr>
            <a:lvl3pPr marL="429768" indent="-173736">
              <a:defRPr lang="en-US" sz="1800" dirty="0" smtClean="0"/>
            </a:lvl3pPr>
            <a:lvl4pPr marL="603504" indent="-128016">
              <a:defRPr lang="en-US" sz="1800" dirty="0" smtClean="0"/>
            </a:lvl4pPr>
            <a:lvl5pPr marL="795528" indent="-128016">
              <a:defRPr lang="en-CA" sz="1800"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Content Placeholder 14"/>
          <p:cNvSpPr>
            <a:spLocks noGrp="1"/>
          </p:cNvSpPr>
          <p:nvPr>
            <p:ph sz="quarter" idx="22" hasCustomPrompt="1"/>
          </p:nvPr>
        </p:nvSpPr>
        <p:spPr>
          <a:xfrm>
            <a:off x="9200388" y="1796696"/>
            <a:ext cx="2496312" cy="3959013"/>
          </a:xfrm>
        </p:spPr>
        <p:txBody>
          <a:bodyPr vert="horz" lIns="0" tIns="0" rIns="0" bIns="0" rtlCol="0">
            <a:noAutofit/>
          </a:bodyPr>
          <a:lstStyle>
            <a:lvl1pPr>
              <a:defRPr lang="en-US" sz="1800" dirty="0" smtClean="0"/>
            </a:lvl1pPr>
            <a:lvl2pPr>
              <a:defRPr lang="en-US" sz="1800" dirty="0" smtClean="0"/>
            </a:lvl2pPr>
            <a:lvl3pPr marL="429768" indent="-173736">
              <a:defRPr lang="en-US" sz="1800" dirty="0" smtClean="0"/>
            </a:lvl3pPr>
            <a:lvl4pPr marL="603504" indent="-128016">
              <a:defRPr lang="en-US" sz="1800" dirty="0" smtClean="0"/>
            </a:lvl4pPr>
            <a:lvl5pPr marL="795528" indent="-128016">
              <a:defRPr lang="en-CA" sz="1800"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Slide Number Placeholder 5">
            <a:extLst>
              <a:ext uri="{FF2B5EF4-FFF2-40B4-BE49-F238E27FC236}">
                <a16:creationId xmlns:a16="http://schemas.microsoft.com/office/drawing/2014/main" id="{0C7F2ACA-FF65-4A24-9683-52F687C63A42}"/>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9680678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7696" cy="914400"/>
          </a:xfrm>
        </p:spPr>
        <p:txBody>
          <a:bodyPr/>
          <a:lstStyle>
            <a:lvl1pPr>
              <a:defRPr/>
            </a:lvl1pPr>
          </a:lstStyle>
          <a:p>
            <a:r>
              <a:rPr lang="en-US" dirty="0"/>
              <a:t>Title and Content Layout</a:t>
            </a:r>
            <a:endParaRPr lang="en-CA" dirty="0"/>
          </a:p>
        </p:txBody>
      </p:sp>
      <p:sp>
        <p:nvSpPr>
          <p:cNvPr id="4" name="Date Placeholder 3"/>
          <p:cNvSpPr>
            <a:spLocks noGrp="1"/>
          </p:cNvSpPr>
          <p:nvPr>
            <p:ph type="dt" sz="half" idx="10"/>
          </p:nvPr>
        </p:nvSpPr>
        <p:spPr/>
        <p:txBody>
          <a:bodyPr/>
          <a:lstStyle/>
          <a:p>
            <a:fld id="{66CA7FD2-EEE1-4653-A3ED-EC06E26685F5}" type="datetime4">
              <a:rPr lang="en-US" smtClean="0"/>
              <a:t>October 18, 2021</a:t>
            </a:fld>
            <a:endParaRPr lang="en-CA"/>
          </a:p>
        </p:txBody>
      </p:sp>
      <p:sp>
        <p:nvSpPr>
          <p:cNvPr id="5" name="Footer Placeholder 4"/>
          <p:cNvSpPr>
            <a:spLocks noGrp="1"/>
          </p:cNvSpPr>
          <p:nvPr>
            <p:ph type="ftr" sz="quarter" idx="11"/>
          </p:nvPr>
        </p:nvSpPr>
        <p:spPr/>
        <p:txBody>
          <a:bodyPr/>
          <a:lstStyle/>
          <a:p>
            <a:r>
              <a:rPr lang="en-CA"/>
              <a:t>Presentation Title</a:t>
            </a:r>
          </a:p>
        </p:txBody>
      </p:sp>
      <p:sp>
        <p:nvSpPr>
          <p:cNvPr id="6" name="Slide Number Placeholder 5"/>
          <p:cNvSpPr>
            <a:spLocks noGrp="1"/>
          </p:cNvSpPr>
          <p:nvPr>
            <p:ph type="sldNum" sz="quarter" idx="12"/>
          </p:nvPr>
        </p:nvSpPr>
        <p:spPr/>
        <p:txBody>
          <a:bodyPr/>
          <a:lstStyle/>
          <a:p>
            <a:fld id="{00E6A5BD-C011-4A45-AA3A-201790FB7F2B}" type="slidenum">
              <a:rPr lang="en-CA" smtClean="0"/>
              <a:t>‹#›</a:t>
            </a:fld>
            <a:endParaRPr lang="en-CA"/>
          </a:p>
        </p:txBody>
      </p:sp>
      <p:cxnSp>
        <p:nvCxnSpPr>
          <p:cNvPr id="8" name="Straight Connector 7"/>
          <p:cNvCxnSpPr/>
          <p:nvPr/>
        </p:nvCxnSpPr>
        <p:spPr>
          <a:xfrm>
            <a:off x="2751138" y="1647255"/>
            <a:ext cx="899636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hasCustomPrompt="1"/>
          </p:nvPr>
        </p:nvSpPr>
        <p:spPr>
          <a:xfrm>
            <a:off x="1627188" y="1133856"/>
            <a:ext cx="9004300"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1627188" y="1847088"/>
            <a:ext cx="9004300"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627188" y="1647255"/>
            <a:ext cx="1012031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66309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AFC9CC-2032-475D-91E2-4856E3A2413E}"/>
              </a:ext>
            </a:extLst>
          </p:cNvPr>
          <p:cNvGraphicFramePr>
            <a:graphicFrameLocks noChangeAspect="1"/>
          </p:cNvGraphicFramePr>
          <p:nvPr userDrawn="1">
            <p:custDataLst>
              <p:tags r:id="rId1"/>
            </p:custDataLst>
            <p:extLst>
              <p:ext uri="{D42A27DB-BD31-4B8C-83A1-F6EECF244321}">
                <p14:modId xmlns:p14="http://schemas.microsoft.com/office/powerpoint/2010/main" val="402070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3" name="Object 2" hidden="1">
                        <a:extLst>
                          <a:ext uri="{FF2B5EF4-FFF2-40B4-BE49-F238E27FC236}">
                            <a16:creationId xmlns:a16="http://schemas.microsoft.com/office/drawing/2014/main" id="{57AFC9CC-2032-475D-91E2-4856E3A241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EE6D920-8E27-44AE-8FC4-AD04BAD0052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4" name="Title 3"/>
          <p:cNvSpPr>
            <a:spLocks noGrp="1"/>
          </p:cNvSpPr>
          <p:nvPr>
            <p:ph type="title" hasCustomPrompt="1"/>
          </p:nvPr>
        </p:nvSpPr>
        <p:spPr>
          <a:xfrm>
            <a:off x="495300" y="283922"/>
            <a:ext cx="11201400" cy="673508"/>
          </a:xfrm>
          <a:prstGeom prst="rect">
            <a:avLst/>
          </a:prstGeom>
        </p:spPr>
        <p:txBody>
          <a:bodyPr/>
          <a:lstStyle>
            <a:lvl1pPr>
              <a:defRPr/>
            </a:lvl1pPr>
          </a:lstStyle>
          <a:p>
            <a:r>
              <a:rPr lang="en-US" dirty="0"/>
              <a:t>Title Only Layout</a:t>
            </a:r>
          </a:p>
        </p:txBody>
      </p:sp>
      <p:sp>
        <p:nvSpPr>
          <p:cNvPr id="6" name="Slide Number Placeholder 5">
            <a:extLst>
              <a:ext uri="{FF2B5EF4-FFF2-40B4-BE49-F238E27FC236}">
                <a16:creationId xmlns:a16="http://schemas.microsoft.com/office/drawing/2014/main" id="{706FFDDD-5D0F-4241-A4FA-774C4BA7D7C8}"/>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153671945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torytelling 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D01FD85-5FC3-45E1-8C54-36736713F820}"/>
              </a:ext>
            </a:extLst>
          </p:cNvPr>
          <p:cNvGraphicFramePr>
            <a:graphicFrameLocks noChangeAspect="1"/>
          </p:cNvGraphicFramePr>
          <p:nvPr userDrawn="1">
            <p:custDataLst>
              <p:tags r:id="rId1"/>
            </p:custDataLst>
            <p:extLst>
              <p:ext uri="{D42A27DB-BD31-4B8C-83A1-F6EECF244321}">
                <p14:modId xmlns:p14="http://schemas.microsoft.com/office/powerpoint/2010/main" val="1027961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5" name="Object 4" hidden="1">
                        <a:extLst>
                          <a:ext uri="{FF2B5EF4-FFF2-40B4-BE49-F238E27FC236}">
                            <a16:creationId xmlns:a16="http://schemas.microsoft.com/office/drawing/2014/main" id="{5D01FD85-5FC3-45E1-8C54-36736713F8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6754A5-B9FC-4AE1-BFD1-5213F4F3DD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2" name="Title 1"/>
          <p:cNvSpPr>
            <a:spLocks noGrp="1"/>
          </p:cNvSpPr>
          <p:nvPr>
            <p:ph type="title"/>
          </p:nvPr>
        </p:nvSpPr>
        <p:spPr>
          <a:xfrm>
            <a:off x="495300" y="283917"/>
            <a:ext cx="11201400" cy="501386"/>
          </a:xfrm>
          <a:prstGeom prst="rect">
            <a:avLst/>
          </a:prstGeom>
        </p:spPr>
        <p:txBody>
          <a:bodyPr/>
          <a:lstStyle>
            <a:lvl1pPr>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00E6A5BD-C011-4A45-AA3A-201790FB7F2B}" type="slidenum">
              <a:rPr lang="en-US" smtClean="0"/>
              <a:pPr/>
              <a:t>‹#›</a:t>
            </a:fld>
            <a:endParaRPr lang="en-US" dirty="0"/>
          </a:p>
        </p:txBody>
      </p:sp>
      <p:sp>
        <p:nvSpPr>
          <p:cNvPr id="6" name="Content Placeholder 2"/>
          <p:cNvSpPr>
            <a:spLocks noGrp="1"/>
          </p:cNvSpPr>
          <p:nvPr>
            <p:ph idx="1" hasCustomPrompt="1"/>
          </p:nvPr>
        </p:nvSpPr>
        <p:spPr>
          <a:xfrm>
            <a:off x="495300" y="1377250"/>
            <a:ext cx="11201400" cy="4319584"/>
          </a:xfrm>
        </p:spPr>
        <p:txBody>
          <a:bodyPr/>
          <a:lstStyle>
            <a:lvl1pPr>
              <a:defRPr sz="2800">
                <a:solidFill>
                  <a:schemeClr val="accent1"/>
                </a:solidFill>
              </a:defRPr>
            </a:lvl1pPr>
            <a:lvl2pPr marL="237744" indent="-182880">
              <a:defRPr sz="2600"/>
            </a:lvl2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782947639"/>
      </p:ext>
    </p:extLst>
  </p:cSld>
  <p:clrMapOvr>
    <a:masterClrMapping/>
  </p:clrMapOvr>
  <p:extLst>
    <p:ext uri="{DCECCB84-F9BA-43D5-87BE-67443E8EF086}">
      <p15:sldGuideLst xmlns:p15="http://schemas.microsoft.com/office/powerpoint/2012/main">
        <p15:guide id="1" orient="horz" pos="1056">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606856-79DE-445C-8052-F686B0121BBE}"/>
              </a:ext>
            </a:extLst>
          </p:cNvPr>
          <p:cNvGraphicFramePr>
            <a:graphicFrameLocks noChangeAspect="1"/>
          </p:cNvGraphicFramePr>
          <p:nvPr userDrawn="1">
            <p:custDataLst>
              <p:tags r:id="rId1"/>
            </p:custDataLst>
            <p:extLst>
              <p:ext uri="{D42A27DB-BD31-4B8C-83A1-F6EECF244321}">
                <p14:modId xmlns:p14="http://schemas.microsoft.com/office/powerpoint/2010/main" val="963247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3" name="Object 2" hidden="1">
                        <a:extLst>
                          <a:ext uri="{FF2B5EF4-FFF2-40B4-BE49-F238E27FC236}">
                            <a16:creationId xmlns:a16="http://schemas.microsoft.com/office/drawing/2014/main" id="{0C606856-79DE-445C-8052-F686B0121B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EE6968-CBC4-4CE1-B710-1AB37AD3B60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13" name="Table Placeholder 12"/>
          <p:cNvSpPr>
            <a:spLocks noGrp="1"/>
          </p:cNvSpPr>
          <p:nvPr>
            <p:ph type="tbl" sz="quarter" idx="13"/>
          </p:nvPr>
        </p:nvSpPr>
        <p:spPr>
          <a:xfrm>
            <a:off x="495300" y="1439569"/>
            <a:ext cx="11201400" cy="4368882"/>
          </a:xfrm>
        </p:spPr>
        <p:txBody>
          <a:bodyPr/>
          <a:lstStyle/>
          <a:p>
            <a:r>
              <a:rPr lang="en-US" dirty="0"/>
              <a:t>Click icon to add table</a:t>
            </a:r>
          </a:p>
        </p:txBody>
      </p:sp>
      <p:sp>
        <p:nvSpPr>
          <p:cNvPr id="5" name="Slide Number Placeholder 4"/>
          <p:cNvSpPr>
            <a:spLocks noGrp="1"/>
          </p:cNvSpPr>
          <p:nvPr>
            <p:ph type="sldNum" sz="quarter" idx="16"/>
          </p:nvPr>
        </p:nvSpPr>
        <p:spPr/>
        <p:txBody>
          <a:bodyPr/>
          <a:lstStyle/>
          <a:p>
            <a:fld id="{00E6A5BD-C011-4A45-AA3A-201790FB7F2B}" type="slidenum">
              <a:rPr lang="en-US" smtClean="0"/>
              <a:pPr/>
              <a:t>‹#›</a:t>
            </a:fld>
            <a:endParaRPr lang="en-US" dirty="0"/>
          </a:p>
        </p:txBody>
      </p:sp>
      <p:sp>
        <p:nvSpPr>
          <p:cNvPr id="6" name="Title 5"/>
          <p:cNvSpPr>
            <a:spLocks noGrp="1"/>
          </p:cNvSpPr>
          <p:nvPr>
            <p:ph type="title" hasCustomPrompt="1"/>
          </p:nvPr>
        </p:nvSpPr>
        <p:spPr>
          <a:xfrm>
            <a:off x="495300" y="283924"/>
            <a:ext cx="11201400" cy="501386"/>
          </a:xfrm>
          <a:prstGeom prst="rect">
            <a:avLst/>
          </a:prstGeom>
        </p:spPr>
        <p:txBody>
          <a:bodyPr/>
          <a:lstStyle>
            <a:lvl1pPr>
              <a:defRPr/>
            </a:lvl1pPr>
          </a:lstStyle>
          <a:p>
            <a:r>
              <a:rPr lang="en-US" dirty="0"/>
              <a:t>Table Layout</a:t>
            </a:r>
          </a:p>
        </p:txBody>
      </p:sp>
    </p:spTree>
    <p:extLst>
      <p:ext uri="{BB962C8B-B14F-4D97-AF65-F5344CB8AC3E}">
        <p14:creationId xmlns:p14="http://schemas.microsoft.com/office/powerpoint/2010/main" val="10401919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7C53E2-F1BF-4957-B7A0-957060932332}"/>
              </a:ext>
            </a:extLst>
          </p:cNvPr>
          <p:cNvGraphicFramePr>
            <a:graphicFrameLocks noChangeAspect="1"/>
          </p:cNvGraphicFramePr>
          <p:nvPr userDrawn="1">
            <p:custDataLst>
              <p:tags r:id="rId1"/>
            </p:custDataLst>
            <p:extLst>
              <p:ext uri="{D42A27DB-BD31-4B8C-83A1-F6EECF244321}">
                <p14:modId xmlns:p14="http://schemas.microsoft.com/office/powerpoint/2010/main" val="3360804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Object 3" hidden="1">
                        <a:extLst>
                          <a:ext uri="{FF2B5EF4-FFF2-40B4-BE49-F238E27FC236}">
                            <a16:creationId xmlns:a16="http://schemas.microsoft.com/office/drawing/2014/main" id="{B57C53E2-F1BF-4957-B7A0-9570609323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3D2FC8-3171-4BDC-9F47-AC941601E48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2" name="Title 1"/>
          <p:cNvSpPr>
            <a:spLocks noGrp="1"/>
          </p:cNvSpPr>
          <p:nvPr>
            <p:ph type="title"/>
          </p:nvPr>
        </p:nvSpPr>
        <p:spPr>
          <a:xfrm>
            <a:off x="495300" y="284150"/>
            <a:ext cx="11201400" cy="914400"/>
          </a:xfrm>
          <a:prstGeom prst="rect">
            <a:avLst/>
          </a:prstGeom>
        </p:spPr>
        <p:txBody>
          <a:bodyPr/>
          <a:lstStyle/>
          <a:p>
            <a:r>
              <a:rPr lang="en-US" dirty="0"/>
              <a:t>Click to edit Master title style</a:t>
            </a:r>
          </a:p>
        </p:txBody>
      </p:sp>
      <p:sp>
        <p:nvSpPr>
          <p:cNvPr id="7" name="Chart Placeholder 6"/>
          <p:cNvSpPr>
            <a:spLocks noGrp="1"/>
          </p:cNvSpPr>
          <p:nvPr>
            <p:ph type="chart" sz="quarter" idx="13"/>
          </p:nvPr>
        </p:nvSpPr>
        <p:spPr>
          <a:xfrm>
            <a:off x="495299" y="1757632"/>
            <a:ext cx="11360369" cy="4096512"/>
          </a:xfrm>
        </p:spPr>
        <p:txBody>
          <a:bodyPr anchor="ctr"/>
          <a:lstStyle>
            <a:lvl1pPr algn="ctr">
              <a:defRPr/>
            </a:lvl1pPr>
          </a:lstStyle>
          <a:p>
            <a:r>
              <a:rPr lang="en-US" dirty="0"/>
              <a:t>Click icon to add chart</a:t>
            </a:r>
          </a:p>
        </p:txBody>
      </p:sp>
      <p:sp>
        <p:nvSpPr>
          <p:cNvPr id="8" name="Text Placeholder 2"/>
          <p:cNvSpPr>
            <a:spLocks noGrp="1"/>
          </p:cNvSpPr>
          <p:nvPr>
            <p:ph type="body" idx="14" hasCustomPrompt="1"/>
          </p:nvPr>
        </p:nvSpPr>
        <p:spPr>
          <a:xfrm>
            <a:off x="495300" y="1384105"/>
            <a:ext cx="4937760" cy="246221"/>
          </a:xfrm>
        </p:spPr>
        <p:txBody>
          <a:bodyPr vert="horz" wrap="square" lIns="0" tIns="0" rIns="0" bIns="0" rtlCol="0" anchor="b" anchorCtr="0">
            <a:noAutofit/>
          </a:bodyPr>
          <a:lstStyle>
            <a:lvl1pPr>
              <a:defRPr lang="en-US" sz="1600" b="1" dirty="0">
                <a:solidFill>
                  <a:schemeClr val="accent1"/>
                </a:solidFill>
              </a:defRPr>
            </a:lvl1pPr>
          </a:lstStyle>
          <a:p>
            <a:pPr lvl="0"/>
            <a:r>
              <a:rPr lang="en-US" dirty="0"/>
              <a:t>Optional Subtitle</a:t>
            </a:r>
          </a:p>
        </p:txBody>
      </p:sp>
      <p:sp>
        <p:nvSpPr>
          <p:cNvPr id="15" name="Slide Number Placeholder 14"/>
          <p:cNvSpPr>
            <a:spLocks noGrp="1"/>
          </p:cNvSpPr>
          <p:nvPr>
            <p:ph type="sldNum" sz="quarter" idx="17"/>
          </p:nvPr>
        </p:nvSpPr>
        <p:spPr/>
        <p:txBody>
          <a:body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12692040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4_Title and Content - No Ru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6A83A9F-2619-438D-BA57-D90E0CC1F66F}"/>
              </a:ext>
            </a:extLst>
          </p:cNvPr>
          <p:cNvGraphicFramePr>
            <a:graphicFrameLocks noChangeAspect="1"/>
          </p:cNvGraphicFramePr>
          <p:nvPr userDrawn="1">
            <p:custDataLst>
              <p:tags r:id="rId1"/>
            </p:custDataLst>
            <p:extLst>
              <p:ext uri="{D42A27DB-BD31-4B8C-83A1-F6EECF244321}">
                <p14:modId xmlns:p14="http://schemas.microsoft.com/office/powerpoint/2010/main" val="146696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7" name="Object 6" hidden="1">
                        <a:extLst>
                          <a:ext uri="{FF2B5EF4-FFF2-40B4-BE49-F238E27FC236}">
                            <a16:creationId xmlns:a16="http://schemas.microsoft.com/office/drawing/2014/main" id="{46A83A9F-2619-438D-BA57-D90E0CC1F6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A5C023A-BFBD-4BF0-9409-6973574F8E3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Tree>
    <p:extLst>
      <p:ext uri="{BB962C8B-B14F-4D97-AF65-F5344CB8AC3E}">
        <p14:creationId xmlns:p14="http://schemas.microsoft.com/office/powerpoint/2010/main" val="16222030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Title and Content - No Ru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597E01-5B03-4D02-A9D5-286B2467775A}"/>
              </a:ext>
            </a:extLst>
          </p:cNvPr>
          <p:cNvGraphicFramePr>
            <a:graphicFrameLocks noChangeAspect="1"/>
          </p:cNvGraphicFramePr>
          <p:nvPr userDrawn="1">
            <p:custDataLst>
              <p:tags r:id="rId1"/>
            </p:custDataLst>
            <p:extLst>
              <p:ext uri="{D42A27DB-BD31-4B8C-83A1-F6EECF244321}">
                <p14:modId xmlns:p14="http://schemas.microsoft.com/office/powerpoint/2010/main" val="560801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Object 3" hidden="1">
                        <a:extLst>
                          <a:ext uri="{FF2B5EF4-FFF2-40B4-BE49-F238E27FC236}">
                            <a16:creationId xmlns:a16="http://schemas.microsoft.com/office/drawing/2014/main" id="{9F597E01-5B03-4D02-A9D5-286B246777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2E9691-0F56-4FB5-BCE2-C8027E0CB44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19" name="Content Placeholder 6"/>
          <p:cNvSpPr>
            <a:spLocks noGrp="1"/>
          </p:cNvSpPr>
          <p:nvPr>
            <p:ph sz="quarter" idx="13" hasCustomPrompt="1"/>
          </p:nvPr>
        </p:nvSpPr>
        <p:spPr>
          <a:xfrm>
            <a:off x="495300" y="1602754"/>
            <a:ext cx="11201400" cy="4324756"/>
          </a:xfrm>
        </p:spPr>
        <p:txBody>
          <a:bodyPr/>
          <a:lstStyle>
            <a:lvl1pPr>
              <a:defRPr>
                <a:solidFill>
                  <a:schemeClr val="accent3"/>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sp>
        <p:nvSpPr>
          <p:cNvPr id="8" name="Slide Number Placeholder 5"/>
          <p:cNvSpPr>
            <a:spLocks noGrp="1"/>
          </p:cNvSpPr>
          <p:nvPr>
            <p:ph type="sldNum" sz="quarter" idx="4"/>
          </p:nvPr>
        </p:nvSpPr>
        <p:spPr>
          <a:xfrm>
            <a:off x="11371032" y="6432462"/>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33091892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torytelling 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3DFAE5-B1BE-4E41-AF1B-22A6498B96EC}"/>
              </a:ext>
            </a:extLst>
          </p:cNvPr>
          <p:cNvGraphicFramePr>
            <a:graphicFrameLocks noChangeAspect="1"/>
          </p:cNvGraphicFramePr>
          <p:nvPr userDrawn="1">
            <p:custDataLst>
              <p:tags r:id="rId1"/>
            </p:custDataLst>
            <p:extLst>
              <p:ext uri="{D42A27DB-BD31-4B8C-83A1-F6EECF244321}">
                <p14:modId xmlns:p14="http://schemas.microsoft.com/office/powerpoint/2010/main" val="1600684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8" name="Object 7" hidden="1">
                        <a:extLst>
                          <a:ext uri="{FF2B5EF4-FFF2-40B4-BE49-F238E27FC236}">
                            <a16:creationId xmlns:a16="http://schemas.microsoft.com/office/drawing/2014/main" id="{0E3DFAE5-B1BE-4E41-AF1B-22A6498B96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DB7973B-C99B-4AE2-894C-9116FA20762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2" name="Title 1"/>
          <p:cNvSpPr>
            <a:spLocks noGrp="1"/>
          </p:cNvSpPr>
          <p:nvPr>
            <p:ph type="title"/>
          </p:nvPr>
        </p:nvSpPr>
        <p:spPr/>
        <p:txBody>
          <a:bodyPr/>
          <a:lstStyle>
            <a:lvl1pPr>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00E6A5BD-C011-4A45-AA3A-201790FB7F2B}" type="slidenum">
              <a:rPr lang="en-US" smtClean="0"/>
              <a:pPr/>
              <a:t>‹#›</a:t>
            </a:fld>
            <a:endParaRPr lang="en-US" dirty="0"/>
          </a:p>
        </p:txBody>
      </p:sp>
      <p:sp>
        <p:nvSpPr>
          <p:cNvPr id="6" name="Content Placeholder 2"/>
          <p:cNvSpPr>
            <a:spLocks noGrp="1"/>
          </p:cNvSpPr>
          <p:nvPr>
            <p:ph idx="1" hasCustomPrompt="1"/>
          </p:nvPr>
        </p:nvSpPr>
        <p:spPr>
          <a:xfrm>
            <a:off x="495300" y="1603166"/>
            <a:ext cx="11201400" cy="4319584"/>
          </a:xfrm>
        </p:spPr>
        <p:txBody>
          <a:bodyPr/>
          <a:lstStyle>
            <a:lvl1pPr>
              <a:defRPr sz="2800">
                <a:solidFill>
                  <a:schemeClr val="accent3"/>
                </a:solidFill>
              </a:defRPr>
            </a:lvl1pPr>
            <a:lvl2pPr marL="237744" indent="-182880">
              <a:defRPr sz="2600"/>
            </a:lvl2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3620675227"/>
      </p:ext>
    </p:extLst>
  </p:cSld>
  <p:clrMapOvr>
    <a:masterClrMapping/>
  </p:clrMapOvr>
  <p:extLst>
    <p:ext uri="{DCECCB84-F9BA-43D5-87BE-67443E8EF086}">
      <p15:sldGuideLst xmlns:p15="http://schemas.microsoft.com/office/powerpoint/2012/main">
        <p15:guide id="1" orient="horz" pos="105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Content Text Heavy 1-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8C7E54-43D2-4F0E-BC0A-5358759ADC7E}"/>
              </a:ext>
            </a:extLst>
          </p:cNvPr>
          <p:cNvGraphicFramePr>
            <a:graphicFrameLocks noChangeAspect="1"/>
          </p:cNvGraphicFramePr>
          <p:nvPr userDrawn="1">
            <p:custDataLst>
              <p:tags r:id="rId1"/>
            </p:custDataLst>
            <p:extLst>
              <p:ext uri="{D42A27DB-BD31-4B8C-83A1-F6EECF244321}">
                <p14:modId xmlns:p14="http://schemas.microsoft.com/office/powerpoint/2010/main" val="3444200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Object 3" hidden="1">
                        <a:extLst>
                          <a:ext uri="{FF2B5EF4-FFF2-40B4-BE49-F238E27FC236}">
                            <a16:creationId xmlns:a16="http://schemas.microsoft.com/office/drawing/2014/main" id="{858C7E54-43D2-4F0E-BC0A-5358759ADC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73B4197-0836-4FAD-B006-C8F96F06AF4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Tree>
    <p:extLst>
      <p:ext uri="{BB962C8B-B14F-4D97-AF65-F5344CB8AC3E}">
        <p14:creationId xmlns:p14="http://schemas.microsoft.com/office/powerpoint/2010/main" val="2374922592"/>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191319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3354965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7188" y="219456"/>
            <a:ext cx="8992518" cy="914400"/>
          </a:xfrm>
        </p:spPr>
        <p:txBody>
          <a:bodyPr/>
          <a:lstStyle>
            <a:lvl1pPr>
              <a:defRPr/>
            </a:lvl1pPr>
          </a:lstStyle>
          <a:p>
            <a:r>
              <a:rPr lang="en-US" dirty="0"/>
              <a:t>Comparison Layout</a:t>
            </a:r>
            <a:endParaRPr lang="en-CA" dirty="0"/>
          </a:p>
        </p:txBody>
      </p:sp>
      <p:sp>
        <p:nvSpPr>
          <p:cNvPr id="3" name="Text Placeholder 2"/>
          <p:cNvSpPr>
            <a:spLocks noGrp="1"/>
          </p:cNvSpPr>
          <p:nvPr>
            <p:ph type="body" idx="1" hasCustomPrompt="1"/>
          </p:nvPr>
        </p:nvSpPr>
        <p:spPr>
          <a:xfrm>
            <a:off x="1623697" y="1133856"/>
            <a:ext cx="4946966"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5" name="Text Placeholder 4"/>
          <p:cNvSpPr>
            <a:spLocks noGrp="1"/>
          </p:cNvSpPr>
          <p:nvPr>
            <p:ph type="body" sz="quarter" idx="3" hasCustomPrompt="1"/>
          </p:nvPr>
        </p:nvSpPr>
        <p:spPr>
          <a:xfrm>
            <a:off x="6810374" y="1133856"/>
            <a:ext cx="4934487" cy="338328"/>
          </a:xfrm>
        </p:spPr>
        <p:txBody>
          <a:bodyPr anchor="b">
            <a:noAutofit/>
          </a:bodyPr>
          <a:lstStyle>
            <a:lvl1pPr marL="0" indent="0">
              <a:lnSpc>
                <a:spcPct val="90000"/>
              </a:lnSpc>
              <a:spcBef>
                <a:spcPts val="0"/>
              </a:spcBef>
              <a:buNone/>
              <a:defRPr sz="1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a:t>
            </a:r>
          </a:p>
        </p:txBody>
      </p:sp>
      <p:sp>
        <p:nvSpPr>
          <p:cNvPr id="7" name="Date Placeholder 6"/>
          <p:cNvSpPr>
            <a:spLocks noGrp="1"/>
          </p:cNvSpPr>
          <p:nvPr>
            <p:ph type="dt" sz="half" idx="10"/>
          </p:nvPr>
        </p:nvSpPr>
        <p:spPr/>
        <p:txBody>
          <a:bodyPr/>
          <a:lstStyle/>
          <a:p>
            <a:fld id="{BAF25C84-DC05-420E-ABA4-99596C0F9BFB}" type="datetime4">
              <a:rPr lang="en-US" smtClean="0"/>
              <a:t>October 18, 2021</a:t>
            </a:fld>
            <a:endParaRPr lang="en-CA"/>
          </a:p>
        </p:txBody>
      </p:sp>
      <p:sp>
        <p:nvSpPr>
          <p:cNvPr id="8" name="Footer Placeholder 7"/>
          <p:cNvSpPr>
            <a:spLocks noGrp="1"/>
          </p:cNvSpPr>
          <p:nvPr>
            <p:ph type="ftr" sz="quarter" idx="11"/>
          </p:nvPr>
        </p:nvSpPr>
        <p:spPr/>
        <p:txBody>
          <a:bodyPr/>
          <a:lstStyle/>
          <a:p>
            <a:r>
              <a:rPr lang="en-CA"/>
              <a:t>Presentation Title</a:t>
            </a:r>
          </a:p>
        </p:txBody>
      </p:sp>
      <p:sp>
        <p:nvSpPr>
          <p:cNvPr id="9" name="Slide Number Placeholder 8"/>
          <p:cNvSpPr>
            <a:spLocks noGrp="1"/>
          </p:cNvSpPr>
          <p:nvPr>
            <p:ph type="sldNum" sz="quarter" idx="12"/>
          </p:nvPr>
        </p:nvSpPr>
        <p:spPr/>
        <p:txBody>
          <a:bodyPr/>
          <a:lstStyle/>
          <a:p>
            <a:fld id="{00E6A5BD-C011-4A45-AA3A-201790FB7F2B}" type="slidenum">
              <a:rPr lang="en-CA" smtClean="0"/>
              <a:t>‹#›</a:t>
            </a:fld>
            <a:endParaRPr lang="en-CA"/>
          </a:p>
        </p:txBody>
      </p:sp>
      <p:cxnSp>
        <p:nvCxnSpPr>
          <p:cNvPr id="11" name="Straight Connector 10"/>
          <p:cNvCxnSpPr/>
          <p:nvPr/>
        </p:nvCxnSpPr>
        <p:spPr>
          <a:xfrm>
            <a:off x="1626345" y="1649541"/>
            <a:ext cx="4944318"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10375" y="1649541"/>
            <a:ext cx="4934487"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5" name="Content Placeholder 14"/>
          <p:cNvSpPr>
            <a:spLocks noGrp="1"/>
          </p:cNvSpPr>
          <p:nvPr>
            <p:ph sz="quarter" idx="13"/>
          </p:nvPr>
        </p:nvSpPr>
        <p:spPr>
          <a:xfrm>
            <a:off x="1627188" y="1848930"/>
            <a:ext cx="4943475"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9" name="Content Placeholder 18"/>
          <p:cNvSpPr>
            <a:spLocks noGrp="1"/>
          </p:cNvSpPr>
          <p:nvPr>
            <p:ph sz="quarter" idx="14"/>
          </p:nvPr>
        </p:nvSpPr>
        <p:spPr>
          <a:xfrm>
            <a:off x="6810375" y="1848930"/>
            <a:ext cx="4937125"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3" name="Straight Connector 12"/>
          <p:cNvCxnSpPr/>
          <p:nvPr userDrawn="1"/>
        </p:nvCxnSpPr>
        <p:spPr>
          <a:xfrm>
            <a:off x="1626345" y="1649541"/>
            <a:ext cx="4944318"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810375" y="1649541"/>
            <a:ext cx="4934487"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44578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5F18BD-23F8-4BB2-81B6-FB4CB7244585}"/>
              </a:ext>
            </a:extLst>
          </p:cNvPr>
          <p:cNvGraphicFramePr>
            <a:graphicFrameLocks noChangeAspect="1"/>
          </p:cNvGraphicFramePr>
          <p:nvPr userDrawn="1">
            <p:custDataLst>
              <p:tags r:id="rId1"/>
            </p:custDataLst>
            <p:extLst>
              <p:ext uri="{D42A27DB-BD31-4B8C-83A1-F6EECF244321}">
                <p14:modId xmlns:p14="http://schemas.microsoft.com/office/powerpoint/2010/main" val="672967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5" name="Object 4" hidden="1">
                        <a:extLst>
                          <a:ext uri="{FF2B5EF4-FFF2-40B4-BE49-F238E27FC236}">
                            <a16:creationId xmlns:a16="http://schemas.microsoft.com/office/drawing/2014/main" id="{0A5F18BD-23F8-4BB2-81B6-FB4CB72445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912433-74AE-4B9F-A1B3-DAA1122520F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GE Inspira Sans" panose="020B0503060000000003" pitchFamily="34" charset="0"/>
              <a:ea typeface="+mj-ea"/>
              <a:cs typeface="+mj-cs"/>
              <a:sym typeface="GE Inspira Sans" panose="020B0503060000000003" pitchFamily="34" charset="0"/>
            </a:endParaRPr>
          </a:p>
        </p:txBody>
      </p:sp>
      <p:sp>
        <p:nvSpPr>
          <p:cNvPr id="2" name="Title 1"/>
          <p:cNvSpPr>
            <a:spLocks noGrp="1"/>
          </p:cNvSpPr>
          <p:nvPr>
            <p:ph type="title" hasCustomPrompt="1"/>
          </p:nvPr>
        </p:nvSpPr>
        <p:spPr>
          <a:xfrm>
            <a:off x="495300" y="1649413"/>
            <a:ext cx="9261449" cy="664797"/>
          </a:xfrm>
        </p:spPr>
        <p:txBody>
          <a:bodyPr wrap="square" anchor="t" anchorCtr="0">
            <a:spAutoFit/>
          </a:bodyPr>
          <a:lstStyle>
            <a:lvl1pPr>
              <a:lnSpc>
                <a:spcPct val="90000"/>
              </a:lnSpc>
              <a:defRPr sz="4800">
                <a:solidFill>
                  <a:schemeClr val="bg1"/>
                </a:solidFill>
              </a:defRPr>
            </a:lvl1pPr>
          </a:lstStyle>
          <a:p>
            <a:r>
              <a:rPr lang="en-US" dirty="0"/>
              <a:t>Section Title</a:t>
            </a:r>
          </a:p>
        </p:txBody>
      </p:sp>
      <p:sp>
        <p:nvSpPr>
          <p:cNvPr id="3" name="Freeform 5"/>
          <p:cNvSpPr>
            <a:spLocks noChangeAspect="1" noEditPoints="1"/>
          </p:cNvSpPr>
          <p:nvPr userDrawn="1"/>
        </p:nvSpPr>
        <p:spPr bwMode="auto">
          <a:xfrm>
            <a:off x="515012" y="6312756"/>
            <a:ext cx="384048" cy="384048"/>
          </a:xfrm>
          <a:custGeom>
            <a:avLst/>
            <a:gdLst>
              <a:gd name="T0" fmla="*/ 3869 w 5760"/>
              <a:gd name="T1" fmla="*/ 1545 h 5760"/>
              <a:gd name="T2" fmla="*/ 2018 w 5760"/>
              <a:gd name="T3" fmla="*/ 2250 h 5760"/>
              <a:gd name="T4" fmla="*/ 2018 w 5760"/>
              <a:gd name="T5" fmla="*/ 2250 h 5760"/>
              <a:gd name="T6" fmla="*/ 1556 w 5760"/>
              <a:gd name="T7" fmla="*/ 3934 h 5760"/>
              <a:gd name="T8" fmla="*/ 1755 w 5760"/>
              <a:gd name="T9" fmla="*/ 4133 h 5760"/>
              <a:gd name="T10" fmla="*/ 3470 w 5760"/>
              <a:gd name="T11" fmla="*/ 3455 h 5760"/>
              <a:gd name="T12" fmla="*/ 3861 w 5760"/>
              <a:gd name="T13" fmla="*/ 3710 h 5760"/>
              <a:gd name="T14" fmla="*/ 3933 w 5760"/>
              <a:gd name="T15" fmla="*/ 3255 h 5760"/>
              <a:gd name="T16" fmla="*/ 3734 w 5760"/>
              <a:gd name="T17" fmla="*/ 4133 h 5760"/>
              <a:gd name="T18" fmla="*/ 3694 w 5760"/>
              <a:gd name="T19" fmla="*/ 2712 h 5760"/>
              <a:gd name="T20" fmla="*/ 3905 w 5760"/>
              <a:gd name="T21" fmla="*/ 2466 h 5760"/>
              <a:gd name="T22" fmla="*/ 3574 w 5760"/>
              <a:gd name="T23" fmla="*/ 2354 h 5760"/>
              <a:gd name="T24" fmla="*/ 3853 w 5760"/>
              <a:gd name="T25" fmla="*/ 1324 h 5760"/>
              <a:gd name="T26" fmla="*/ 3295 w 5760"/>
              <a:gd name="T27" fmla="*/ 2298 h 5760"/>
              <a:gd name="T28" fmla="*/ 2685 w 5760"/>
              <a:gd name="T29" fmla="*/ 2469 h 5760"/>
              <a:gd name="T30" fmla="*/ 2816 w 5760"/>
              <a:gd name="T31" fmla="*/ 1987 h 5760"/>
              <a:gd name="T32" fmla="*/ 2170 w 5760"/>
              <a:gd name="T33" fmla="*/ 2593 h 5760"/>
              <a:gd name="T34" fmla="*/ 2712 w 5760"/>
              <a:gd name="T35" fmla="*/ 1580 h 5760"/>
              <a:gd name="T36" fmla="*/ 1779 w 5760"/>
              <a:gd name="T37" fmla="*/ 2274 h 5760"/>
              <a:gd name="T38" fmla="*/ 1643 w 5760"/>
              <a:gd name="T39" fmla="*/ 1795 h 5760"/>
              <a:gd name="T40" fmla="*/ 1388 w 5760"/>
              <a:gd name="T41" fmla="*/ 2066 h 5760"/>
              <a:gd name="T42" fmla="*/ 2122 w 5760"/>
              <a:gd name="T43" fmla="*/ 2792 h 5760"/>
              <a:gd name="T44" fmla="*/ 2417 w 5760"/>
              <a:gd name="T45" fmla="*/ 2832 h 5760"/>
              <a:gd name="T46" fmla="*/ 1292 w 5760"/>
              <a:gd name="T47" fmla="*/ 3917 h 5760"/>
              <a:gd name="T48" fmla="*/ 2537 w 5760"/>
              <a:gd name="T49" fmla="*/ 3678 h 5760"/>
              <a:gd name="T50" fmla="*/ 3374 w 5760"/>
              <a:gd name="T51" fmla="*/ 2489 h 5760"/>
              <a:gd name="T52" fmla="*/ 2888 w 5760"/>
              <a:gd name="T53" fmla="*/ 3502 h 5760"/>
              <a:gd name="T54" fmla="*/ 4484 w 5760"/>
              <a:gd name="T55" fmla="*/ 3646 h 5760"/>
              <a:gd name="T56" fmla="*/ 5321 w 5760"/>
              <a:gd name="T57" fmla="*/ 3701 h 5760"/>
              <a:gd name="T58" fmla="*/ 5297 w 5760"/>
              <a:gd name="T59" fmla="*/ 3694 h 5760"/>
              <a:gd name="T60" fmla="*/ 5066 w 5760"/>
              <a:gd name="T61" fmla="*/ 2513 h 5760"/>
              <a:gd name="T62" fmla="*/ 5138 w 5760"/>
              <a:gd name="T63" fmla="*/ 3415 h 5760"/>
              <a:gd name="T64" fmla="*/ 2880 w 5760"/>
              <a:gd name="T65" fmla="*/ 5449 h 5760"/>
              <a:gd name="T66" fmla="*/ 2063 w 5760"/>
              <a:gd name="T67" fmla="*/ 5306 h 5760"/>
              <a:gd name="T68" fmla="*/ 2689 w 5760"/>
              <a:gd name="T69" fmla="*/ 5393 h 5760"/>
              <a:gd name="T70" fmla="*/ 3047 w 5760"/>
              <a:gd name="T71" fmla="*/ 4875 h 5760"/>
              <a:gd name="T72" fmla="*/ 1771 w 5760"/>
              <a:gd name="T73" fmla="*/ 5042 h 5760"/>
              <a:gd name="T74" fmla="*/ 440 w 5760"/>
              <a:gd name="T75" fmla="*/ 2067 h 5760"/>
              <a:gd name="T76" fmla="*/ 462 w 5760"/>
              <a:gd name="T77" fmla="*/ 2075 h 5760"/>
              <a:gd name="T78" fmla="*/ 694 w 5760"/>
              <a:gd name="T79" fmla="*/ 3247 h 5760"/>
              <a:gd name="T80" fmla="*/ 622 w 5760"/>
              <a:gd name="T81" fmla="*/ 2354 h 5760"/>
              <a:gd name="T82" fmla="*/ 2880 w 5760"/>
              <a:gd name="T83" fmla="*/ 311 h 5760"/>
              <a:gd name="T84" fmla="*/ 3696 w 5760"/>
              <a:gd name="T85" fmla="*/ 461 h 5760"/>
              <a:gd name="T86" fmla="*/ 3071 w 5760"/>
              <a:gd name="T87" fmla="*/ 367 h 5760"/>
              <a:gd name="T88" fmla="*/ 2712 w 5760"/>
              <a:gd name="T89" fmla="*/ 885 h 5760"/>
              <a:gd name="T90" fmla="*/ 3989 w 5760"/>
              <a:gd name="T91" fmla="*/ 726 h 5760"/>
              <a:gd name="T92" fmla="*/ 5321 w 5760"/>
              <a:gd name="T93" fmla="*/ 3701 h 5760"/>
              <a:gd name="T94" fmla="*/ 135 w 5760"/>
              <a:gd name="T95" fmla="*/ 2880 h 5760"/>
              <a:gd name="T96" fmla="*/ 5624 w 5760"/>
              <a:gd name="T97" fmla="*/ 2880 h 5760"/>
              <a:gd name="T98" fmla="*/ 2880 w 5760"/>
              <a:gd name="T99" fmla="*/ 5760 h 5760"/>
              <a:gd name="T100" fmla="*/ 2880 w 5760"/>
              <a:gd name="T101" fmla="*/ 0 h 5760"/>
              <a:gd name="T102" fmla="*/ 2880 w 5760"/>
              <a:gd name="T103" fmla="*/ 576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5760">
                <a:moveTo>
                  <a:pt x="3526" y="2130"/>
                </a:moveTo>
                <a:cubicBezTo>
                  <a:pt x="3526" y="1803"/>
                  <a:pt x="3748" y="1485"/>
                  <a:pt x="3869" y="1545"/>
                </a:cubicBezTo>
                <a:cubicBezTo>
                  <a:pt x="4006" y="1614"/>
                  <a:pt x="3766" y="1923"/>
                  <a:pt x="3526" y="2130"/>
                </a:cubicBezTo>
                <a:moveTo>
                  <a:pt x="2018" y="2250"/>
                </a:moveTo>
                <a:cubicBezTo>
                  <a:pt x="2018" y="1987"/>
                  <a:pt x="2278" y="1486"/>
                  <a:pt x="2437" y="1539"/>
                </a:cubicBezTo>
                <a:cubicBezTo>
                  <a:pt x="2625" y="1601"/>
                  <a:pt x="2282" y="2106"/>
                  <a:pt x="2018" y="2250"/>
                </a:cubicBezTo>
                <a:close/>
                <a:moveTo>
                  <a:pt x="1755" y="4133"/>
                </a:moveTo>
                <a:cubicBezTo>
                  <a:pt x="1635" y="4138"/>
                  <a:pt x="1556" y="4062"/>
                  <a:pt x="1556" y="3934"/>
                </a:cubicBezTo>
                <a:cubicBezTo>
                  <a:pt x="1556" y="3591"/>
                  <a:pt x="2031" y="3264"/>
                  <a:pt x="2390" y="3088"/>
                </a:cubicBezTo>
                <a:cubicBezTo>
                  <a:pt x="2327" y="3567"/>
                  <a:pt x="2165" y="4114"/>
                  <a:pt x="1755" y="4133"/>
                </a:cubicBezTo>
                <a:close/>
                <a:moveTo>
                  <a:pt x="3949" y="3016"/>
                </a:moveTo>
                <a:cubicBezTo>
                  <a:pt x="3678" y="3016"/>
                  <a:pt x="3470" y="3215"/>
                  <a:pt x="3470" y="3455"/>
                </a:cubicBezTo>
                <a:cubicBezTo>
                  <a:pt x="3470" y="3654"/>
                  <a:pt x="3590" y="3813"/>
                  <a:pt x="3750" y="3813"/>
                </a:cubicBezTo>
                <a:cubicBezTo>
                  <a:pt x="3806" y="3813"/>
                  <a:pt x="3861" y="3782"/>
                  <a:pt x="3861" y="3710"/>
                </a:cubicBezTo>
                <a:cubicBezTo>
                  <a:pt x="3861" y="3606"/>
                  <a:pt x="3724" y="3581"/>
                  <a:pt x="3734" y="3426"/>
                </a:cubicBezTo>
                <a:cubicBezTo>
                  <a:pt x="3741" y="3323"/>
                  <a:pt x="3837" y="3255"/>
                  <a:pt x="3933" y="3255"/>
                </a:cubicBezTo>
                <a:cubicBezTo>
                  <a:pt x="4124" y="3255"/>
                  <a:pt x="4214" y="3440"/>
                  <a:pt x="4214" y="3632"/>
                </a:cubicBezTo>
                <a:cubicBezTo>
                  <a:pt x="4206" y="3927"/>
                  <a:pt x="3989" y="4133"/>
                  <a:pt x="3734" y="4133"/>
                </a:cubicBezTo>
                <a:cubicBezTo>
                  <a:pt x="3398" y="4133"/>
                  <a:pt x="3183" y="3813"/>
                  <a:pt x="3183" y="3470"/>
                </a:cubicBezTo>
                <a:cubicBezTo>
                  <a:pt x="3183" y="2960"/>
                  <a:pt x="3518" y="2760"/>
                  <a:pt x="3694" y="2712"/>
                </a:cubicBezTo>
                <a:cubicBezTo>
                  <a:pt x="3696" y="2712"/>
                  <a:pt x="4153" y="2794"/>
                  <a:pt x="4138" y="2592"/>
                </a:cubicBezTo>
                <a:cubicBezTo>
                  <a:pt x="4132" y="2504"/>
                  <a:pt x="4000" y="2470"/>
                  <a:pt x="3905" y="2466"/>
                </a:cubicBezTo>
                <a:cubicBezTo>
                  <a:pt x="3799" y="2462"/>
                  <a:pt x="3692" y="2500"/>
                  <a:pt x="3692" y="2500"/>
                </a:cubicBezTo>
                <a:cubicBezTo>
                  <a:pt x="3636" y="2472"/>
                  <a:pt x="3598" y="2417"/>
                  <a:pt x="3574" y="2354"/>
                </a:cubicBezTo>
                <a:cubicBezTo>
                  <a:pt x="3901" y="2106"/>
                  <a:pt x="4133" y="1867"/>
                  <a:pt x="4133" y="1596"/>
                </a:cubicBezTo>
                <a:cubicBezTo>
                  <a:pt x="4133" y="1452"/>
                  <a:pt x="4037" y="1324"/>
                  <a:pt x="3853" y="1324"/>
                </a:cubicBezTo>
                <a:cubicBezTo>
                  <a:pt x="3526" y="1324"/>
                  <a:pt x="3279" y="1739"/>
                  <a:pt x="3279" y="2114"/>
                </a:cubicBezTo>
                <a:cubicBezTo>
                  <a:pt x="3279" y="2178"/>
                  <a:pt x="3279" y="2242"/>
                  <a:pt x="3295" y="2298"/>
                </a:cubicBezTo>
                <a:cubicBezTo>
                  <a:pt x="3087" y="2449"/>
                  <a:pt x="2933" y="2543"/>
                  <a:pt x="2654" y="2711"/>
                </a:cubicBezTo>
                <a:cubicBezTo>
                  <a:pt x="2654" y="2676"/>
                  <a:pt x="2661" y="2586"/>
                  <a:pt x="2685" y="2469"/>
                </a:cubicBezTo>
                <a:cubicBezTo>
                  <a:pt x="2780" y="2365"/>
                  <a:pt x="2912" y="2210"/>
                  <a:pt x="2912" y="2090"/>
                </a:cubicBezTo>
                <a:cubicBezTo>
                  <a:pt x="2912" y="2034"/>
                  <a:pt x="2880" y="1987"/>
                  <a:pt x="2816" y="1987"/>
                </a:cubicBezTo>
                <a:cubicBezTo>
                  <a:pt x="2657" y="1987"/>
                  <a:pt x="2537" y="2226"/>
                  <a:pt x="2505" y="2393"/>
                </a:cubicBezTo>
                <a:cubicBezTo>
                  <a:pt x="2433" y="2481"/>
                  <a:pt x="2290" y="2593"/>
                  <a:pt x="2170" y="2593"/>
                </a:cubicBezTo>
                <a:cubicBezTo>
                  <a:pt x="2074" y="2593"/>
                  <a:pt x="2042" y="2505"/>
                  <a:pt x="2034" y="2473"/>
                </a:cubicBezTo>
                <a:cubicBezTo>
                  <a:pt x="2338" y="2369"/>
                  <a:pt x="2712" y="1955"/>
                  <a:pt x="2712" y="1580"/>
                </a:cubicBezTo>
                <a:cubicBezTo>
                  <a:pt x="2712" y="1500"/>
                  <a:pt x="2681" y="1324"/>
                  <a:pt x="2441" y="1324"/>
                </a:cubicBezTo>
                <a:cubicBezTo>
                  <a:pt x="2082" y="1324"/>
                  <a:pt x="1779" y="1859"/>
                  <a:pt x="1779" y="2274"/>
                </a:cubicBezTo>
                <a:cubicBezTo>
                  <a:pt x="1651" y="2274"/>
                  <a:pt x="1604" y="2138"/>
                  <a:pt x="1604" y="2034"/>
                </a:cubicBezTo>
                <a:cubicBezTo>
                  <a:pt x="1604" y="1931"/>
                  <a:pt x="1643" y="1827"/>
                  <a:pt x="1643" y="1795"/>
                </a:cubicBezTo>
                <a:cubicBezTo>
                  <a:pt x="1643" y="1763"/>
                  <a:pt x="1627" y="1723"/>
                  <a:pt x="1580" y="1723"/>
                </a:cubicBezTo>
                <a:cubicBezTo>
                  <a:pt x="1460" y="1723"/>
                  <a:pt x="1388" y="1883"/>
                  <a:pt x="1388" y="2066"/>
                </a:cubicBezTo>
                <a:cubicBezTo>
                  <a:pt x="1396" y="2322"/>
                  <a:pt x="1564" y="2481"/>
                  <a:pt x="1787" y="2497"/>
                </a:cubicBezTo>
                <a:cubicBezTo>
                  <a:pt x="1819" y="2649"/>
                  <a:pt x="1955" y="2792"/>
                  <a:pt x="2122" y="2792"/>
                </a:cubicBezTo>
                <a:cubicBezTo>
                  <a:pt x="2226" y="2792"/>
                  <a:pt x="2353" y="2760"/>
                  <a:pt x="2441" y="2681"/>
                </a:cubicBezTo>
                <a:cubicBezTo>
                  <a:pt x="2433" y="2737"/>
                  <a:pt x="2425" y="2784"/>
                  <a:pt x="2417" y="2832"/>
                </a:cubicBezTo>
                <a:cubicBezTo>
                  <a:pt x="2066" y="3016"/>
                  <a:pt x="1811" y="3143"/>
                  <a:pt x="1580" y="3351"/>
                </a:cubicBezTo>
                <a:cubicBezTo>
                  <a:pt x="1396" y="3518"/>
                  <a:pt x="1292" y="3742"/>
                  <a:pt x="1292" y="3917"/>
                </a:cubicBezTo>
                <a:cubicBezTo>
                  <a:pt x="1292" y="4157"/>
                  <a:pt x="1444" y="4380"/>
                  <a:pt x="1755" y="4380"/>
                </a:cubicBezTo>
                <a:cubicBezTo>
                  <a:pt x="2122" y="4380"/>
                  <a:pt x="2401" y="4085"/>
                  <a:pt x="2537" y="3678"/>
                </a:cubicBezTo>
                <a:cubicBezTo>
                  <a:pt x="2601" y="3486"/>
                  <a:pt x="2626" y="3208"/>
                  <a:pt x="2642" y="2952"/>
                </a:cubicBezTo>
                <a:cubicBezTo>
                  <a:pt x="3009" y="2745"/>
                  <a:pt x="3183" y="2625"/>
                  <a:pt x="3374" y="2489"/>
                </a:cubicBezTo>
                <a:cubicBezTo>
                  <a:pt x="3398" y="2529"/>
                  <a:pt x="3423" y="2561"/>
                  <a:pt x="3454" y="2585"/>
                </a:cubicBezTo>
                <a:cubicBezTo>
                  <a:pt x="3287" y="2673"/>
                  <a:pt x="2888" y="2920"/>
                  <a:pt x="2888" y="3502"/>
                </a:cubicBezTo>
                <a:cubicBezTo>
                  <a:pt x="2888" y="3917"/>
                  <a:pt x="3167" y="4380"/>
                  <a:pt x="3718" y="4380"/>
                </a:cubicBezTo>
                <a:cubicBezTo>
                  <a:pt x="4172" y="4380"/>
                  <a:pt x="4484" y="4005"/>
                  <a:pt x="4484" y="3646"/>
                </a:cubicBezTo>
                <a:cubicBezTo>
                  <a:pt x="4484" y="3319"/>
                  <a:pt x="4300" y="3016"/>
                  <a:pt x="3949" y="3016"/>
                </a:cubicBezTo>
                <a:close/>
                <a:moveTo>
                  <a:pt x="5321" y="3701"/>
                </a:moveTo>
                <a:cubicBezTo>
                  <a:pt x="5319" y="3703"/>
                  <a:pt x="5315" y="3707"/>
                  <a:pt x="5306" y="3704"/>
                </a:cubicBezTo>
                <a:cubicBezTo>
                  <a:pt x="5299" y="3702"/>
                  <a:pt x="5297" y="3698"/>
                  <a:pt x="5297" y="3694"/>
                </a:cubicBezTo>
                <a:cubicBezTo>
                  <a:pt x="5298" y="3689"/>
                  <a:pt x="5394" y="3405"/>
                  <a:pt x="5393" y="3080"/>
                </a:cubicBezTo>
                <a:cubicBezTo>
                  <a:pt x="5392" y="2728"/>
                  <a:pt x="5249" y="2513"/>
                  <a:pt x="5066" y="2513"/>
                </a:cubicBezTo>
                <a:cubicBezTo>
                  <a:pt x="4954" y="2513"/>
                  <a:pt x="4874" y="2593"/>
                  <a:pt x="4874" y="2712"/>
                </a:cubicBezTo>
                <a:cubicBezTo>
                  <a:pt x="4874" y="2928"/>
                  <a:pt x="5138" y="2944"/>
                  <a:pt x="5138" y="3415"/>
                </a:cubicBezTo>
                <a:cubicBezTo>
                  <a:pt x="5138" y="3606"/>
                  <a:pt x="5098" y="3789"/>
                  <a:pt x="5034" y="3989"/>
                </a:cubicBezTo>
                <a:cubicBezTo>
                  <a:pt x="4739" y="4986"/>
                  <a:pt x="3797" y="5449"/>
                  <a:pt x="2880" y="5449"/>
                </a:cubicBezTo>
                <a:cubicBezTo>
                  <a:pt x="2457" y="5449"/>
                  <a:pt x="2157" y="5362"/>
                  <a:pt x="2067" y="5322"/>
                </a:cubicBezTo>
                <a:cubicBezTo>
                  <a:pt x="2063" y="5320"/>
                  <a:pt x="2061" y="5313"/>
                  <a:pt x="2063" y="5306"/>
                </a:cubicBezTo>
                <a:cubicBezTo>
                  <a:pt x="2065" y="5300"/>
                  <a:pt x="2072" y="5296"/>
                  <a:pt x="2075" y="5298"/>
                </a:cubicBezTo>
                <a:cubicBezTo>
                  <a:pt x="2111" y="5312"/>
                  <a:pt x="2369" y="5393"/>
                  <a:pt x="2689" y="5393"/>
                </a:cubicBezTo>
                <a:cubicBezTo>
                  <a:pt x="3040" y="5393"/>
                  <a:pt x="3247" y="5250"/>
                  <a:pt x="3247" y="5074"/>
                </a:cubicBezTo>
                <a:cubicBezTo>
                  <a:pt x="3247" y="4962"/>
                  <a:pt x="3159" y="4875"/>
                  <a:pt x="3047" y="4875"/>
                </a:cubicBezTo>
                <a:cubicBezTo>
                  <a:pt x="2832" y="4875"/>
                  <a:pt x="2816" y="5146"/>
                  <a:pt x="2353" y="5146"/>
                </a:cubicBezTo>
                <a:cubicBezTo>
                  <a:pt x="2154" y="5146"/>
                  <a:pt x="1979" y="5106"/>
                  <a:pt x="1771" y="5042"/>
                </a:cubicBezTo>
                <a:cubicBezTo>
                  <a:pt x="782" y="4739"/>
                  <a:pt x="310" y="3805"/>
                  <a:pt x="311" y="2880"/>
                </a:cubicBezTo>
                <a:cubicBezTo>
                  <a:pt x="311" y="2429"/>
                  <a:pt x="438" y="2070"/>
                  <a:pt x="440" y="2067"/>
                </a:cubicBezTo>
                <a:cubicBezTo>
                  <a:pt x="441" y="2065"/>
                  <a:pt x="447" y="2062"/>
                  <a:pt x="454" y="2065"/>
                </a:cubicBezTo>
                <a:cubicBezTo>
                  <a:pt x="461" y="2067"/>
                  <a:pt x="463" y="2073"/>
                  <a:pt x="462" y="2075"/>
                </a:cubicBezTo>
                <a:cubicBezTo>
                  <a:pt x="451" y="2112"/>
                  <a:pt x="367" y="2370"/>
                  <a:pt x="367" y="2688"/>
                </a:cubicBezTo>
                <a:cubicBezTo>
                  <a:pt x="367" y="3040"/>
                  <a:pt x="511" y="3247"/>
                  <a:pt x="694" y="3247"/>
                </a:cubicBezTo>
                <a:cubicBezTo>
                  <a:pt x="798" y="3247"/>
                  <a:pt x="885" y="3167"/>
                  <a:pt x="885" y="3056"/>
                </a:cubicBezTo>
                <a:cubicBezTo>
                  <a:pt x="885" y="2840"/>
                  <a:pt x="622" y="2816"/>
                  <a:pt x="622" y="2354"/>
                </a:cubicBezTo>
                <a:cubicBezTo>
                  <a:pt x="622" y="2154"/>
                  <a:pt x="662" y="1978"/>
                  <a:pt x="726" y="1771"/>
                </a:cubicBezTo>
                <a:cubicBezTo>
                  <a:pt x="1029" y="782"/>
                  <a:pt x="1963" y="318"/>
                  <a:pt x="2880" y="311"/>
                </a:cubicBezTo>
                <a:cubicBezTo>
                  <a:pt x="3306" y="308"/>
                  <a:pt x="3680" y="435"/>
                  <a:pt x="3694" y="447"/>
                </a:cubicBezTo>
                <a:cubicBezTo>
                  <a:pt x="3696" y="449"/>
                  <a:pt x="3699" y="455"/>
                  <a:pt x="3696" y="461"/>
                </a:cubicBezTo>
                <a:cubicBezTo>
                  <a:pt x="3693" y="468"/>
                  <a:pt x="3688" y="469"/>
                  <a:pt x="3686" y="469"/>
                </a:cubicBezTo>
                <a:cubicBezTo>
                  <a:pt x="3681" y="468"/>
                  <a:pt x="3439" y="367"/>
                  <a:pt x="3071" y="367"/>
                </a:cubicBezTo>
                <a:cubicBezTo>
                  <a:pt x="2728" y="367"/>
                  <a:pt x="2513" y="510"/>
                  <a:pt x="2513" y="694"/>
                </a:cubicBezTo>
                <a:cubicBezTo>
                  <a:pt x="2513" y="798"/>
                  <a:pt x="2593" y="885"/>
                  <a:pt x="2712" y="885"/>
                </a:cubicBezTo>
                <a:cubicBezTo>
                  <a:pt x="2928" y="885"/>
                  <a:pt x="2944" y="622"/>
                  <a:pt x="3406" y="622"/>
                </a:cubicBezTo>
                <a:cubicBezTo>
                  <a:pt x="3606" y="622"/>
                  <a:pt x="3781" y="662"/>
                  <a:pt x="3989" y="726"/>
                </a:cubicBezTo>
                <a:cubicBezTo>
                  <a:pt x="4986" y="1029"/>
                  <a:pt x="5440" y="1971"/>
                  <a:pt x="5449" y="2880"/>
                </a:cubicBezTo>
                <a:cubicBezTo>
                  <a:pt x="5453" y="3346"/>
                  <a:pt x="5322" y="3699"/>
                  <a:pt x="5321" y="3701"/>
                </a:cubicBezTo>
                <a:close/>
                <a:moveTo>
                  <a:pt x="2880" y="136"/>
                </a:moveTo>
                <a:cubicBezTo>
                  <a:pt x="1364" y="136"/>
                  <a:pt x="135" y="1364"/>
                  <a:pt x="135" y="2880"/>
                </a:cubicBezTo>
                <a:cubicBezTo>
                  <a:pt x="135" y="4396"/>
                  <a:pt x="1364" y="5624"/>
                  <a:pt x="2880" y="5624"/>
                </a:cubicBezTo>
                <a:cubicBezTo>
                  <a:pt x="4396" y="5624"/>
                  <a:pt x="5624" y="4396"/>
                  <a:pt x="5624" y="2880"/>
                </a:cubicBezTo>
                <a:cubicBezTo>
                  <a:pt x="5624" y="1372"/>
                  <a:pt x="4396" y="136"/>
                  <a:pt x="2880" y="136"/>
                </a:cubicBezTo>
                <a:close/>
                <a:moveTo>
                  <a:pt x="2880" y="5760"/>
                </a:moveTo>
                <a:cubicBezTo>
                  <a:pt x="1292" y="5760"/>
                  <a:pt x="0" y="4476"/>
                  <a:pt x="0" y="2880"/>
                </a:cubicBezTo>
                <a:cubicBezTo>
                  <a:pt x="0" y="1292"/>
                  <a:pt x="1292" y="0"/>
                  <a:pt x="2880" y="0"/>
                </a:cubicBezTo>
                <a:cubicBezTo>
                  <a:pt x="4467" y="0"/>
                  <a:pt x="5760" y="1292"/>
                  <a:pt x="5760" y="2880"/>
                </a:cubicBezTo>
                <a:cubicBezTo>
                  <a:pt x="5760" y="4476"/>
                  <a:pt x="4467" y="5760"/>
                  <a:pt x="2880" y="576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6319122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 No Ru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597E01-5B03-4D02-A9D5-286B2467775A}"/>
              </a:ext>
            </a:extLst>
          </p:cNvPr>
          <p:cNvGraphicFramePr>
            <a:graphicFrameLocks noChangeAspect="1"/>
          </p:cNvGraphicFramePr>
          <p:nvPr userDrawn="1">
            <p:custDataLst>
              <p:tags r:id="rId1"/>
            </p:custDataLst>
            <p:extLst>
              <p:ext uri="{D42A27DB-BD31-4B8C-83A1-F6EECF244321}">
                <p14:modId xmlns:p14="http://schemas.microsoft.com/office/powerpoint/2010/main" val="2462623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Object 3" hidden="1">
                        <a:extLst>
                          <a:ext uri="{FF2B5EF4-FFF2-40B4-BE49-F238E27FC236}">
                            <a16:creationId xmlns:a16="http://schemas.microsoft.com/office/drawing/2014/main" id="{9F597E01-5B03-4D02-A9D5-286B246777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2E9691-0F56-4FB5-BCE2-C8027E0CB44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19" name="Content Placeholder 6"/>
          <p:cNvSpPr>
            <a:spLocks noGrp="1"/>
          </p:cNvSpPr>
          <p:nvPr>
            <p:ph sz="quarter" idx="13" hasCustomPrompt="1"/>
          </p:nvPr>
        </p:nvSpPr>
        <p:spPr>
          <a:xfrm>
            <a:off x="495300" y="1602754"/>
            <a:ext cx="11201400" cy="4324756"/>
          </a:xfrm>
        </p:spPr>
        <p:txBody>
          <a:bodyPr/>
          <a:lstStyle>
            <a:lvl1pPr>
              <a:defRPr>
                <a:solidFill>
                  <a:schemeClr val="accent3"/>
                </a:solidFill>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sp>
        <p:nvSpPr>
          <p:cNvPr id="11" name="Slide Number Placeholder 5">
            <a:extLst>
              <a:ext uri="{FF2B5EF4-FFF2-40B4-BE49-F238E27FC236}">
                <a16:creationId xmlns:a16="http://schemas.microsoft.com/office/drawing/2014/main" id="{E3AE9C88-EB15-4FD0-9599-AF74045B014D}"/>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14658769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EFA812B-9900-44C9-BFB3-0E3F74DEFCCE}"/>
              </a:ext>
            </a:extLst>
          </p:cNvPr>
          <p:cNvGraphicFramePr>
            <a:graphicFrameLocks noChangeAspect="1"/>
          </p:cNvGraphicFramePr>
          <p:nvPr userDrawn="1">
            <p:custDataLst>
              <p:tags r:id="rId1"/>
            </p:custDataLst>
            <p:extLst>
              <p:ext uri="{D42A27DB-BD31-4B8C-83A1-F6EECF244321}">
                <p14:modId xmlns:p14="http://schemas.microsoft.com/office/powerpoint/2010/main" val="1304741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3" name="Object 2" hidden="1">
                        <a:extLst>
                          <a:ext uri="{FF2B5EF4-FFF2-40B4-BE49-F238E27FC236}">
                            <a16:creationId xmlns:a16="http://schemas.microsoft.com/office/drawing/2014/main" id="{4EFA812B-9900-44C9-BFB3-0E3F74DEFC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EF47A25-5FF9-4241-8B0D-EE6CF91C041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4" name="Title 3"/>
          <p:cNvSpPr>
            <a:spLocks noGrp="1"/>
          </p:cNvSpPr>
          <p:nvPr>
            <p:ph type="title"/>
          </p:nvPr>
        </p:nvSpPr>
        <p:spPr>
          <a:xfrm>
            <a:off x="495300" y="276925"/>
            <a:ext cx="11201400" cy="914400"/>
          </a:xfrm>
        </p:spPr>
        <p:txBody>
          <a:bodyPr/>
          <a:lstStyle/>
          <a:p>
            <a:r>
              <a:rPr lang="en-US" dirty="0"/>
              <a:t>Click to edit Master title style</a:t>
            </a:r>
          </a:p>
        </p:txBody>
      </p:sp>
      <p:sp>
        <p:nvSpPr>
          <p:cNvPr id="24" name="Content Placeholder 9"/>
          <p:cNvSpPr>
            <a:spLocks noGrp="1"/>
          </p:cNvSpPr>
          <p:nvPr>
            <p:ph sz="quarter" idx="13" hasCustomPrompt="1"/>
          </p:nvPr>
        </p:nvSpPr>
        <p:spPr>
          <a:xfrm>
            <a:off x="495300" y="2393244"/>
            <a:ext cx="5220880" cy="367837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11"/>
          <p:cNvSpPr>
            <a:spLocks noGrp="1"/>
          </p:cNvSpPr>
          <p:nvPr>
            <p:ph sz="quarter" idx="14" hasCustomPrompt="1"/>
          </p:nvPr>
        </p:nvSpPr>
        <p:spPr>
          <a:xfrm>
            <a:off x="6475820" y="2393244"/>
            <a:ext cx="5220880" cy="3678370"/>
          </a:xfrm>
        </p:spPr>
        <p:txBody>
          <a:bodyPr/>
          <a:lstStyle>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6" name="Straight Connector 25"/>
          <p:cNvCxnSpPr>
            <a:cxnSpLocks/>
          </p:cNvCxnSpPr>
          <p:nvPr userDrawn="1"/>
        </p:nvCxnSpPr>
        <p:spPr>
          <a:xfrm>
            <a:off x="495300" y="1974057"/>
            <a:ext cx="52208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cxnSpLocks/>
          </p:cNvCxnSpPr>
          <p:nvPr userDrawn="1"/>
        </p:nvCxnSpPr>
        <p:spPr>
          <a:xfrm>
            <a:off x="6475820" y="1974057"/>
            <a:ext cx="52208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8" name="Text Placeholder 18"/>
          <p:cNvSpPr>
            <a:spLocks noGrp="1"/>
          </p:cNvSpPr>
          <p:nvPr>
            <p:ph type="body" sz="quarter" idx="15" hasCustomPrompt="1"/>
          </p:nvPr>
        </p:nvSpPr>
        <p:spPr>
          <a:xfrm>
            <a:off x="495300" y="1486038"/>
            <a:ext cx="5220880" cy="365760"/>
          </a:xfrm>
        </p:spPr>
        <p:txBody>
          <a:bodyPr vert="horz" lIns="0" tIns="0" rIns="0" bIns="0" rtlCol="0" anchor="b">
            <a:noAutofit/>
          </a:bodyPr>
          <a:lstStyle>
            <a:lvl1pPr algn="l">
              <a:defRPr lang="en-US" sz="1600" b="1" dirty="0"/>
            </a:lvl1pPr>
          </a:lstStyle>
          <a:p>
            <a:pPr lvl="0">
              <a:lnSpc>
                <a:spcPct val="90000"/>
              </a:lnSpc>
              <a:spcBef>
                <a:spcPts val="0"/>
              </a:spcBef>
            </a:pPr>
            <a:r>
              <a:rPr lang="en-US" dirty="0"/>
              <a:t>Edit Master text styles</a:t>
            </a:r>
          </a:p>
        </p:txBody>
      </p:sp>
      <p:sp>
        <p:nvSpPr>
          <p:cNvPr id="29" name="Text Placeholder 18"/>
          <p:cNvSpPr>
            <a:spLocks noGrp="1"/>
          </p:cNvSpPr>
          <p:nvPr>
            <p:ph type="body" sz="quarter" idx="16" hasCustomPrompt="1"/>
          </p:nvPr>
        </p:nvSpPr>
        <p:spPr>
          <a:xfrm>
            <a:off x="6475820" y="1486038"/>
            <a:ext cx="5220880" cy="365760"/>
          </a:xfrm>
        </p:spPr>
        <p:txBody>
          <a:bodyPr vert="horz" lIns="0" tIns="0" rIns="0" bIns="0" rtlCol="0" anchor="b">
            <a:noAutofit/>
          </a:bodyPr>
          <a:lstStyle>
            <a:lvl1pPr>
              <a:defRPr lang="en-US" sz="1600" b="1" dirty="0"/>
            </a:lvl1pPr>
          </a:lstStyle>
          <a:p>
            <a:pPr lvl="0">
              <a:lnSpc>
                <a:spcPct val="90000"/>
              </a:lnSpc>
              <a:spcBef>
                <a:spcPts val="0"/>
              </a:spcBef>
            </a:pPr>
            <a:r>
              <a:rPr lang="en-US" dirty="0"/>
              <a:t>Edit Master text styles</a:t>
            </a:r>
          </a:p>
        </p:txBody>
      </p:sp>
      <p:sp>
        <p:nvSpPr>
          <p:cNvPr id="15" name="Slide Number Placeholder 5">
            <a:extLst>
              <a:ext uri="{FF2B5EF4-FFF2-40B4-BE49-F238E27FC236}">
                <a16:creationId xmlns:a16="http://schemas.microsoft.com/office/drawing/2014/main" id="{019EB1B1-6DA1-409B-A689-0A8D277DC14F}"/>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158192750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918F91-0F41-4E60-B1ED-527F21446AC4}"/>
              </a:ext>
            </a:extLst>
          </p:cNvPr>
          <p:cNvGraphicFramePr>
            <a:graphicFrameLocks noChangeAspect="1"/>
          </p:cNvGraphicFramePr>
          <p:nvPr userDrawn="1">
            <p:custDataLst>
              <p:tags r:id="rId1"/>
            </p:custDataLst>
            <p:extLst>
              <p:ext uri="{D42A27DB-BD31-4B8C-83A1-F6EECF244321}">
                <p14:modId xmlns:p14="http://schemas.microsoft.com/office/powerpoint/2010/main" val="263119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Object 3" hidden="1">
                        <a:extLst>
                          <a:ext uri="{FF2B5EF4-FFF2-40B4-BE49-F238E27FC236}">
                            <a16:creationId xmlns:a16="http://schemas.microsoft.com/office/drawing/2014/main" id="{C9918F91-0F41-4E60-B1ED-527F21446A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BFA363E-92A7-4C52-94C3-A47146A6FBB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2" name="Title 1"/>
          <p:cNvSpPr>
            <a:spLocks noGrp="1"/>
          </p:cNvSpPr>
          <p:nvPr>
            <p:ph type="title" hasCustomPrompt="1"/>
          </p:nvPr>
        </p:nvSpPr>
        <p:spPr>
          <a:xfrm>
            <a:off x="495300" y="276923"/>
            <a:ext cx="11201400" cy="914400"/>
          </a:xfrm>
        </p:spPr>
        <p:txBody>
          <a:bodyPr/>
          <a:lstStyle>
            <a:lvl1pPr>
              <a:defRPr/>
            </a:lvl1pPr>
          </a:lstStyle>
          <a:p>
            <a:r>
              <a:rPr lang="en-US" dirty="0"/>
              <a:t>Two Content Layout</a:t>
            </a:r>
          </a:p>
        </p:txBody>
      </p:sp>
      <p:sp>
        <p:nvSpPr>
          <p:cNvPr id="10" name="Content Placeholder 9"/>
          <p:cNvSpPr>
            <a:spLocks noGrp="1"/>
          </p:cNvSpPr>
          <p:nvPr>
            <p:ph sz="quarter" idx="13" hasCustomPrompt="1"/>
          </p:nvPr>
        </p:nvSpPr>
        <p:spPr>
          <a:xfrm>
            <a:off x="495300" y="2049116"/>
            <a:ext cx="5220880" cy="404688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4" hasCustomPrompt="1"/>
          </p:nvPr>
        </p:nvSpPr>
        <p:spPr>
          <a:xfrm>
            <a:off x="6475820" y="2049116"/>
            <a:ext cx="5220880" cy="4046883"/>
          </a:xfrm>
        </p:spPr>
        <p:txBody>
          <a:bodyPr/>
          <a:lstStyle>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5" hasCustomPrompt="1"/>
          </p:nvPr>
        </p:nvSpPr>
        <p:spPr>
          <a:xfrm>
            <a:off x="495300" y="1486038"/>
            <a:ext cx="5220880" cy="365760"/>
          </a:xfrm>
        </p:spPr>
        <p:txBody>
          <a:bodyPr vert="horz" lIns="0" tIns="0" rIns="0" bIns="0" rtlCol="0" anchor="b">
            <a:noAutofit/>
          </a:bodyPr>
          <a:lstStyle>
            <a:lvl1pPr algn="l">
              <a:defRPr lang="en-US" sz="1600" b="1" dirty="0">
                <a:solidFill>
                  <a:schemeClr val="accent3"/>
                </a:solidFill>
              </a:defRPr>
            </a:lvl1pPr>
          </a:lstStyle>
          <a:p>
            <a:pPr lvl="0">
              <a:lnSpc>
                <a:spcPct val="90000"/>
              </a:lnSpc>
              <a:spcBef>
                <a:spcPts val="0"/>
              </a:spcBef>
            </a:pPr>
            <a:r>
              <a:rPr lang="en-US" dirty="0"/>
              <a:t>Edit Master text styles</a:t>
            </a:r>
          </a:p>
        </p:txBody>
      </p:sp>
      <p:sp>
        <p:nvSpPr>
          <p:cNvPr id="22" name="Text Placeholder 18"/>
          <p:cNvSpPr>
            <a:spLocks noGrp="1"/>
          </p:cNvSpPr>
          <p:nvPr>
            <p:ph type="body" sz="quarter" idx="16" hasCustomPrompt="1"/>
          </p:nvPr>
        </p:nvSpPr>
        <p:spPr>
          <a:xfrm>
            <a:off x="6475820" y="1486038"/>
            <a:ext cx="5220880" cy="365760"/>
          </a:xfrm>
        </p:spPr>
        <p:txBody>
          <a:bodyPr vert="horz" lIns="0" tIns="0" rIns="0" bIns="0" rtlCol="0" anchor="b">
            <a:noAutofit/>
          </a:bodyPr>
          <a:lstStyle>
            <a:lvl1pPr>
              <a:defRPr lang="en-US" sz="1600" b="1" dirty="0">
                <a:solidFill>
                  <a:schemeClr val="accent3"/>
                </a:solidFill>
              </a:defRPr>
            </a:lvl1pPr>
          </a:lstStyle>
          <a:p>
            <a:pPr lvl="0">
              <a:lnSpc>
                <a:spcPct val="90000"/>
              </a:lnSpc>
              <a:spcBef>
                <a:spcPts val="0"/>
              </a:spcBef>
            </a:pPr>
            <a:r>
              <a:rPr lang="en-US" dirty="0"/>
              <a:t>Edit Master text styles</a:t>
            </a:r>
          </a:p>
        </p:txBody>
      </p:sp>
      <p:sp>
        <p:nvSpPr>
          <p:cNvPr id="16" name="Slide Number Placeholder 5">
            <a:extLst>
              <a:ext uri="{FF2B5EF4-FFF2-40B4-BE49-F238E27FC236}">
                <a16:creationId xmlns:a16="http://schemas.microsoft.com/office/drawing/2014/main" id="{0A42049E-E3A3-42BA-BF9E-978FCE35BCF9}"/>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193289556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Big Title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F4AF91-2AED-4ACD-9D58-CB3A4425F209}"/>
              </a:ext>
            </a:extLst>
          </p:cNvPr>
          <p:cNvGraphicFramePr>
            <a:graphicFrameLocks noChangeAspect="1"/>
          </p:cNvGraphicFramePr>
          <p:nvPr userDrawn="1">
            <p:custDataLst>
              <p:tags r:id="rId1"/>
            </p:custDataLst>
            <p:extLst>
              <p:ext uri="{D42A27DB-BD31-4B8C-83A1-F6EECF244321}">
                <p14:modId xmlns:p14="http://schemas.microsoft.com/office/powerpoint/2010/main" val="1853936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5" name="Object 4" hidden="1">
                        <a:extLst>
                          <a:ext uri="{FF2B5EF4-FFF2-40B4-BE49-F238E27FC236}">
                            <a16:creationId xmlns:a16="http://schemas.microsoft.com/office/drawing/2014/main" id="{62F4AF91-2AED-4ACD-9D58-CB3A4425F2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2A852F8-0F77-4CC0-A439-5FBA6E223F4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GE Inspira Sans" panose="020B0503060000000003" pitchFamily="34" charset="0"/>
              <a:ea typeface="+mj-ea"/>
              <a:cs typeface="+mj-cs"/>
              <a:sym typeface="GE Inspira Sans" panose="020B0503060000000003" pitchFamily="34" charset="0"/>
            </a:endParaRPr>
          </a:p>
        </p:txBody>
      </p:sp>
      <p:sp>
        <p:nvSpPr>
          <p:cNvPr id="2" name="Title 1"/>
          <p:cNvSpPr>
            <a:spLocks noGrp="1"/>
          </p:cNvSpPr>
          <p:nvPr>
            <p:ph type="title" hasCustomPrompt="1"/>
          </p:nvPr>
        </p:nvSpPr>
        <p:spPr>
          <a:xfrm>
            <a:off x="495300" y="450166"/>
            <a:ext cx="11227308" cy="1645920"/>
          </a:xfrm>
        </p:spPr>
        <p:txBody>
          <a:bodyPr/>
          <a:lstStyle>
            <a:lvl1pPr>
              <a:lnSpc>
                <a:spcPct val="85000"/>
              </a:lnSpc>
              <a:defRPr sz="6000"/>
            </a:lvl1pPr>
          </a:lstStyle>
          <a:p>
            <a:r>
              <a:rPr lang="en-US" dirty="0"/>
              <a:t>Big Title Text</a:t>
            </a:r>
          </a:p>
        </p:txBody>
      </p:sp>
      <p:sp>
        <p:nvSpPr>
          <p:cNvPr id="3" name="Content Placeholder 2"/>
          <p:cNvSpPr>
            <a:spLocks noGrp="1"/>
          </p:cNvSpPr>
          <p:nvPr>
            <p:ph idx="1" hasCustomPrompt="1"/>
          </p:nvPr>
        </p:nvSpPr>
        <p:spPr>
          <a:xfrm>
            <a:off x="495300" y="2327510"/>
            <a:ext cx="11227308" cy="3749040"/>
          </a:xfrm>
        </p:spPr>
        <p:txBody>
          <a:bodyPr/>
          <a:lstStyle>
            <a:lvl1pPr>
              <a:defRPr sz="3000">
                <a:solidFill>
                  <a:schemeClr val="accent3"/>
                </a:solidFill>
              </a:defRPr>
            </a:lvl1pPr>
            <a:lvl2pPr>
              <a:defRPr>
                <a:solidFill>
                  <a:schemeClr val="tx1"/>
                </a:solidFill>
              </a:defRPr>
            </a:lvl2pPr>
            <a:lvl3pPr>
              <a:defRPr>
                <a:solidFill>
                  <a:schemeClr val="tx1"/>
                </a:solidFill>
              </a:defRPr>
            </a:lvl3pPr>
            <a:lvl4pPr>
              <a:defRPr sz="1600">
                <a:solidFill>
                  <a:schemeClr val="tx1"/>
                </a:solidFill>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9" name="Slide Number Placeholder 5">
            <a:extLst>
              <a:ext uri="{FF2B5EF4-FFF2-40B4-BE49-F238E27FC236}">
                <a16:creationId xmlns:a16="http://schemas.microsoft.com/office/drawing/2014/main" id="{391BF4AD-AC2B-4B21-97FF-CCFF1C2C1E7B}"/>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423170740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3257614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3" name="Obje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B634253-4933-451C-A8DB-783A2A1CE5F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8" name="Slide Number Placeholder 7"/>
          <p:cNvSpPr>
            <a:spLocks noGrp="1"/>
          </p:cNvSpPr>
          <p:nvPr>
            <p:ph type="sldNum" sz="quarter" idx="12"/>
          </p:nvPr>
        </p:nvSpPr>
        <p:spPr/>
        <p:txBody>
          <a:bodyPr/>
          <a:lstStyle/>
          <a:p>
            <a:fld id="{00E6A5BD-C011-4A45-AA3A-201790FB7F2B}" type="slidenum">
              <a:rPr lang="en-US" smtClean="0"/>
              <a:pPr/>
              <a:t>‹#›</a:t>
            </a:fld>
            <a:endParaRPr lang="en-US" dirty="0"/>
          </a:p>
        </p:txBody>
      </p:sp>
      <p:sp>
        <p:nvSpPr>
          <p:cNvPr id="9" name="Rectangle 8"/>
          <p:cNvSpPr/>
          <p:nvPr userDrawn="1"/>
        </p:nvSpPr>
        <p:spPr bwMode="white">
          <a:xfrm>
            <a:off x="694267" y="1659467"/>
            <a:ext cx="10786533" cy="1185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title" hasCustomPrompt="1"/>
          </p:nvPr>
        </p:nvSpPr>
        <p:spPr>
          <a:xfrm>
            <a:off x="495300" y="277153"/>
            <a:ext cx="11201400" cy="914400"/>
          </a:xfrm>
        </p:spPr>
        <p:txBody>
          <a:bodyPr/>
          <a:lstStyle>
            <a:lvl1pPr>
              <a:defRPr/>
            </a:lvl1pPr>
          </a:lstStyle>
          <a:p>
            <a:r>
              <a:rPr lang="en-US" dirty="0"/>
              <a:t>Title Only</a:t>
            </a:r>
          </a:p>
        </p:txBody>
      </p:sp>
    </p:spTree>
    <p:extLst>
      <p:ext uri="{BB962C8B-B14F-4D97-AF65-F5344CB8AC3E}">
        <p14:creationId xmlns:p14="http://schemas.microsoft.com/office/powerpoint/2010/main" val="38935840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9410A-18EE-413D-B5B1-9E7DB33E8860}"/>
              </a:ext>
            </a:extLst>
          </p:cNvPr>
          <p:cNvGraphicFramePr>
            <a:graphicFrameLocks noChangeAspect="1"/>
          </p:cNvGraphicFramePr>
          <p:nvPr userDrawn="1">
            <p:custDataLst>
              <p:tags r:id="rId1"/>
            </p:custDataLst>
            <p:extLst>
              <p:ext uri="{D42A27DB-BD31-4B8C-83A1-F6EECF244321}">
                <p14:modId xmlns:p14="http://schemas.microsoft.com/office/powerpoint/2010/main" val="505563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2" name="Object 1" hidden="1">
                        <a:extLst>
                          <a:ext uri="{FF2B5EF4-FFF2-40B4-BE49-F238E27FC236}">
                            <a16:creationId xmlns:a16="http://schemas.microsoft.com/office/drawing/2014/main" id="{4B09410A-18EE-413D-B5B1-9E7DB33E88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laceholder 7"/>
          <p:cNvSpPr>
            <a:spLocks noGrp="1"/>
          </p:cNvSpPr>
          <p:nvPr>
            <p:ph type="sldNum" sz="quarter" idx="12"/>
          </p:nvPr>
        </p:nvSpPr>
        <p:spPr/>
        <p:txBody>
          <a:bodyPr/>
          <a:lstStyle/>
          <a:p>
            <a:fld id="{00E6A5BD-C011-4A45-AA3A-201790FB7F2B}" type="slidenum">
              <a:rPr lang="en-US" smtClean="0"/>
              <a:pPr/>
              <a:t>‹#›</a:t>
            </a:fld>
            <a:endParaRPr lang="en-US" dirty="0"/>
          </a:p>
        </p:txBody>
      </p:sp>
      <p:sp>
        <p:nvSpPr>
          <p:cNvPr id="9" name="Rectangle 8"/>
          <p:cNvSpPr/>
          <p:nvPr userDrawn="1"/>
        </p:nvSpPr>
        <p:spPr bwMode="white">
          <a:xfrm>
            <a:off x="694267" y="1659467"/>
            <a:ext cx="10786533" cy="1185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3456562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Monogram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4687BA-A6C9-4CDF-A2C9-45D6D0D1FB2E}"/>
              </a:ext>
            </a:extLst>
          </p:cNvPr>
          <p:cNvGraphicFramePr>
            <a:graphicFrameLocks noChangeAspect="1"/>
          </p:cNvGraphicFramePr>
          <p:nvPr userDrawn="1">
            <p:custDataLst>
              <p:tags r:id="rId1"/>
            </p:custDataLst>
            <p:extLst>
              <p:ext uri="{D42A27DB-BD31-4B8C-83A1-F6EECF244321}">
                <p14:modId xmlns:p14="http://schemas.microsoft.com/office/powerpoint/2010/main" val="1590427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2" name="Object 1" hidden="1">
                        <a:extLst>
                          <a:ext uri="{FF2B5EF4-FFF2-40B4-BE49-F238E27FC236}">
                            <a16:creationId xmlns:a16="http://schemas.microsoft.com/office/drawing/2014/main" id="{DD4687BA-A6C9-4CDF-A2C9-45D6D0D1FB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reeform 5"/>
          <p:cNvSpPr>
            <a:spLocks noChangeAspect="1" noEditPoints="1"/>
          </p:cNvSpPr>
          <p:nvPr userDrawn="1"/>
        </p:nvSpPr>
        <p:spPr bwMode="gray">
          <a:xfrm>
            <a:off x="4757541" y="2110155"/>
            <a:ext cx="2651760" cy="2651760"/>
          </a:xfrm>
          <a:custGeom>
            <a:avLst/>
            <a:gdLst>
              <a:gd name="T0" fmla="*/ 3869 w 5760"/>
              <a:gd name="T1" fmla="*/ 1545 h 5760"/>
              <a:gd name="T2" fmla="*/ 2018 w 5760"/>
              <a:gd name="T3" fmla="*/ 2250 h 5760"/>
              <a:gd name="T4" fmla="*/ 2018 w 5760"/>
              <a:gd name="T5" fmla="*/ 2250 h 5760"/>
              <a:gd name="T6" fmla="*/ 1556 w 5760"/>
              <a:gd name="T7" fmla="*/ 3934 h 5760"/>
              <a:gd name="T8" fmla="*/ 1755 w 5760"/>
              <a:gd name="T9" fmla="*/ 4133 h 5760"/>
              <a:gd name="T10" fmla="*/ 3470 w 5760"/>
              <a:gd name="T11" fmla="*/ 3455 h 5760"/>
              <a:gd name="T12" fmla="*/ 3861 w 5760"/>
              <a:gd name="T13" fmla="*/ 3710 h 5760"/>
              <a:gd name="T14" fmla="*/ 3933 w 5760"/>
              <a:gd name="T15" fmla="*/ 3255 h 5760"/>
              <a:gd name="T16" fmla="*/ 3734 w 5760"/>
              <a:gd name="T17" fmla="*/ 4133 h 5760"/>
              <a:gd name="T18" fmla="*/ 3694 w 5760"/>
              <a:gd name="T19" fmla="*/ 2712 h 5760"/>
              <a:gd name="T20" fmla="*/ 3905 w 5760"/>
              <a:gd name="T21" fmla="*/ 2466 h 5760"/>
              <a:gd name="T22" fmla="*/ 3574 w 5760"/>
              <a:gd name="T23" fmla="*/ 2354 h 5760"/>
              <a:gd name="T24" fmla="*/ 3853 w 5760"/>
              <a:gd name="T25" fmla="*/ 1324 h 5760"/>
              <a:gd name="T26" fmla="*/ 3295 w 5760"/>
              <a:gd name="T27" fmla="*/ 2298 h 5760"/>
              <a:gd name="T28" fmla="*/ 2685 w 5760"/>
              <a:gd name="T29" fmla="*/ 2469 h 5760"/>
              <a:gd name="T30" fmla="*/ 2816 w 5760"/>
              <a:gd name="T31" fmla="*/ 1987 h 5760"/>
              <a:gd name="T32" fmla="*/ 2170 w 5760"/>
              <a:gd name="T33" fmla="*/ 2593 h 5760"/>
              <a:gd name="T34" fmla="*/ 2712 w 5760"/>
              <a:gd name="T35" fmla="*/ 1580 h 5760"/>
              <a:gd name="T36" fmla="*/ 1779 w 5760"/>
              <a:gd name="T37" fmla="*/ 2274 h 5760"/>
              <a:gd name="T38" fmla="*/ 1643 w 5760"/>
              <a:gd name="T39" fmla="*/ 1795 h 5760"/>
              <a:gd name="T40" fmla="*/ 1388 w 5760"/>
              <a:gd name="T41" fmla="*/ 2066 h 5760"/>
              <a:gd name="T42" fmla="*/ 2122 w 5760"/>
              <a:gd name="T43" fmla="*/ 2792 h 5760"/>
              <a:gd name="T44" fmla="*/ 2417 w 5760"/>
              <a:gd name="T45" fmla="*/ 2832 h 5760"/>
              <a:gd name="T46" fmla="*/ 1292 w 5760"/>
              <a:gd name="T47" fmla="*/ 3917 h 5760"/>
              <a:gd name="T48" fmla="*/ 2537 w 5760"/>
              <a:gd name="T49" fmla="*/ 3678 h 5760"/>
              <a:gd name="T50" fmla="*/ 3374 w 5760"/>
              <a:gd name="T51" fmla="*/ 2489 h 5760"/>
              <a:gd name="T52" fmla="*/ 2888 w 5760"/>
              <a:gd name="T53" fmla="*/ 3502 h 5760"/>
              <a:gd name="T54" fmla="*/ 4484 w 5760"/>
              <a:gd name="T55" fmla="*/ 3646 h 5760"/>
              <a:gd name="T56" fmla="*/ 5321 w 5760"/>
              <a:gd name="T57" fmla="*/ 3701 h 5760"/>
              <a:gd name="T58" fmla="*/ 5297 w 5760"/>
              <a:gd name="T59" fmla="*/ 3694 h 5760"/>
              <a:gd name="T60" fmla="*/ 5066 w 5760"/>
              <a:gd name="T61" fmla="*/ 2513 h 5760"/>
              <a:gd name="T62" fmla="*/ 5138 w 5760"/>
              <a:gd name="T63" fmla="*/ 3415 h 5760"/>
              <a:gd name="T64" fmla="*/ 2880 w 5760"/>
              <a:gd name="T65" fmla="*/ 5449 h 5760"/>
              <a:gd name="T66" fmla="*/ 2063 w 5760"/>
              <a:gd name="T67" fmla="*/ 5306 h 5760"/>
              <a:gd name="T68" fmla="*/ 2689 w 5760"/>
              <a:gd name="T69" fmla="*/ 5393 h 5760"/>
              <a:gd name="T70" fmla="*/ 3047 w 5760"/>
              <a:gd name="T71" fmla="*/ 4875 h 5760"/>
              <a:gd name="T72" fmla="*/ 1771 w 5760"/>
              <a:gd name="T73" fmla="*/ 5042 h 5760"/>
              <a:gd name="T74" fmla="*/ 440 w 5760"/>
              <a:gd name="T75" fmla="*/ 2067 h 5760"/>
              <a:gd name="T76" fmla="*/ 462 w 5760"/>
              <a:gd name="T77" fmla="*/ 2075 h 5760"/>
              <a:gd name="T78" fmla="*/ 694 w 5760"/>
              <a:gd name="T79" fmla="*/ 3247 h 5760"/>
              <a:gd name="T80" fmla="*/ 622 w 5760"/>
              <a:gd name="T81" fmla="*/ 2354 h 5760"/>
              <a:gd name="T82" fmla="*/ 2880 w 5760"/>
              <a:gd name="T83" fmla="*/ 311 h 5760"/>
              <a:gd name="T84" fmla="*/ 3696 w 5760"/>
              <a:gd name="T85" fmla="*/ 461 h 5760"/>
              <a:gd name="T86" fmla="*/ 3071 w 5760"/>
              <a:gd name="T87" fmla="*/ 367 h 5760"/>
              <a:gd name="T88" fmla="*/ 2712 w 5760"/>
              <a:gd name="T89" fmla="*/ 885 h 5760"/>
              <a:gd name="T90" fmla="*/ 3989 w 5760"/>
              <a:gd name="T91" fmla="*/ 726 h 5760"/>
              <a:gd name="T92" fmla="*/ 5321 w 5760"/>
              <a:gd name="T93" fmla="*/ 3701 h 5760"/>
              <a:gd name="T94" fmla="*/ 135 w 5760"/>
              <a:gd name="T95" fmla="*/ 2880 h 5760"/>
              <a:gd name="T96" fmla="*/ 5624 w 5760"/>
              <a:gd name="T97" fmla="*/ 2880 h 5760"/>
              <a:gd name="T98" fmla="*/ 2880 w 5760"/>
              <a:gd name="T99" fmla="*/ 5760 h 5760"/>
              <a:gd name="T100" fmla="*/ 2880 w 5760"/>
              <a:gd name="T101" fmla="*/ 0 h 5760"/>
              <a:gd name="T102" fmla="*/ 2880 w 5760"/>
              <a:gd name="T103" fmla="*/ 576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5760">
                <a:moveTo>
                  <a:pt x="3526" y="2130"/>
                </a:moveTo>
                <a:cubicBezTo>
                  <a:pt x="3526" y="1803"/>
                  <a:pt x="3748" y="1485"/>
                  <a:pt x="3869" y="1545"/>
                </a:cubicBezTo>
                <a:cubicBezTo>
                  <a:pt x="4006" y="1614"/>
                  <a:pt x="3766" y="1923"/>
                  <a:pt x="3526" y="2130"/>
                </a:cubicBezTo>
                <a:moveTo>
                  <a:pt x="2018" y="2250"/>
                </a:moveTo>
                <a:cubicBezTo>
                  <a:pt x="2018" y="1987"/>
                  <a:pt x="2278" y="1486"/>
                  <a:pt x="2437" y="1539"/>
                </a:cubicBezTo>
                <a:cubicBezTo>
                  <a:pt x="2625" y="1601"/>
                  <a:pt x="2282" y="2106"/>
                  <a:pt x="2018" y="2250"/>
                </a:cubicBezTo>
                <a:close/>
                <a:moveTo>
                  <a:pt x="1755" y="4133"/>
                </a:moveTo>
                <a:cubicBezTo>
                  <a:pt x="1635" y="4138"/>
                  <a:pt x="1556" y="4062"/>
                  <a:pt x="1556" y="3934"/>
                </a:cubicBezTo>
                <a:cubicBezTo>
                  <a:pt x="1556" y="3591"/>
                  <a:pt x="2031" y="3264"/>
                  <a:pt x="2390" y="3088"/>
                </a:cubicBezTo>
                <a:cubicBezTo>
                  <a:pt x="2327" y="3567"/>
                  <a:pt x="2165" y="4114"/>
                  <a:pt x="1755" y="4133"/>
                </a:cubicBezTo>
                <a:close/>
                <a:moveTo>
                  <a:pt x="3949" y="3016"/>
                </a:moveTo>
                <a:cubicBezTo>
                  <a:pt x="3678" y="3016"/>
                  <a:pt x="3470" y="3215"/>
                  <a:pt x="3470" y="3455"/>
                </a:cubicBezTo>
                <a:cubicBezTo>
                  <a:pt x="3470" y="3654"/>
                  <a:pt x="3590" y="3813"/>
                  <a:pt x="3750" y="3813"/>
                </a:cubicBezTo>
                <a:cubicBezTo>
                  <a:pt x="3806" y="3813"/>
                  <a:pt x="3861" y="3782"/>
                  <a:pt x="3861" y="3710"/>
                </a:cubicBezTo>
                <a:cubicBezTo>
                  <a:pt x="3861" y="3606"/>
                  <a:pt x="3724" y="3581"/>
                  <a:pt x="3734" y="3426"/>
                </a:cubicBezTo>
                <a:cubicBezTo>
                  <a:pt x="3741" y="3323"/>
                  <a:pt x="3837" y="3255"/>
                  <a:pt x="3933" y="3255"/>
                </a:cubicBezTo>
                <a:cubicBezTo>
                  <a:pt x="4124" y="3255"/>
                  <a:pt x="4214" y="3440"/>
                  <a:pt x="4214" y="3632"/>
                </a:cubicBezTo>
                <a:cubicBezTo>
                  <a:pt x="4206" y="3927"/>
                  <a:pt x="3989" y="4133"/>
                  <a:pt x="3734" y="4133"/>
                </a:cubicBezTo>
                <a:cubicBezTo>
                  <a:pt x="3398" y="4133"/>
                  <a:pt x="3183" y="3813"/>
                  <a:pt x="3183" y="3470"/>
                </a:cubicBezTo>
                <a:cubicBezTo>
                  <a:pt x="3183" y="2960"/>
                  <a:pt x="3518" y="2760"/>
                  <a:pt x="3694" y="2712"/>
                </a:cubicBezTo>
                <a:cubicBezTo>
                  <a:pt x="3696" y="2712"/>
                  <a:pt x="4153" y="2794"/>
                  <a:pt x="4138" y="2592"/>
                </a:cubicBezTo>
                <a:cubicBezTo>
                  <a:pt x="4132" y="2504"/>
                  <a:pt x="4000" y="2470"/>
                  <a:pt x="3905" y="2466"/>
                </a:cubicBezTo>
                <a:cubicBezTo>
                  <a:pt x="3799" y="2462"/>
                  <a:pt x="3692" y="2500"/>
                  <a:pt x="3692" y="2500"/>
                </a:cubicBezTo>
                <a:cubicBezTo>
                  <a:pt x="3636" y="2472"/>
                  <a:pt x="3598" y="2417"/>
                  <a:pt x="3574" y="2354"/>
                </a:cubicBezTo>
                <a:cubicBezTo>
                  <a:pt x="3901" y="2106"/>
                  <a:pt x="4133" y="1867"/>
                  <a:pt x="4133" y="1596"/>
                </a:cubicBezTo>
                <a:cubicBezTo>
                  <a:pt x="4133" y="1452"/>
                  <a:pt x="4037" y="1324"/>
                  <a:pt x="3853" y="1324"/>
                </a:cubicBezTo>
                <a:cubicBezTo>
                  <a:pt x="3526" y="1324"/>
                  <a:pt x="3279" y="1739"/>
                  <a:pt x="3279" y="2114"/>
                </a:cubicBezTo>
                <a:cubicBezTo>
                  <a:pt x="3279" y="2178"/>
                  <a:pt x="3279" y="2242"/>
                  <a:pt x="3295" y="2298"/>
                </a:cubicBezTo>
                <a:cubicBezTo>
                  <a:pt x="3087" y="2449"/>
                  <a:pt x="2933" y="2543"/>
                  <a:pt x="2654" y="2711"/>
                </a:cubicBezTo>
                <a:cubicBezTo>
                  <a:pt x="2654" y="2676"/>
                  <a:pt x="2661" y="2586"/>
                  <a:pt x="2685" y="2469"/>
                </a:cubicBezTo>
                <a:cubicBezTo>
                  <a:pt x="2780" y="2365"/>
                  <a:pt x="2912" y="2210"/>
                  <a:pt x="2912" y="2090"/>
                </a:cubicBezTo>
                <a:cubicBezTo>
                  <a:pt x="2912" y="2034"/>
                  <a:pt x="2880" y="1987"/>
                  <a:pt x="2816" y="1987"/>
                </a:cubicBezTo>
                <a:cubicBezTo>
                  <a:pt x="2657" y="1987"/>
                  <a:pt x="2537" y="2226"/>
                  <a:pt x="2505" y="2393"/>
                </a:cubicBezTo>
                <a:cubicBezTo>
                  <a:pt x="2433" y="2481"/>
                  <a:pt x="2290" y="2593"/>
                  <a:pt x="2170" y="2593"/>
                </a:cubicBezTo>
                <a:cubicBezTo>
                  <a:pt x="2074" y="2593"/>
                  <a:pt x="2042" y="2505"/>
                  <a:pt x="2034" y="2473"/>
                </a:cubicBezTo>
                <a:cubicBezTo>
                  <a:pt x="2338" y="2369"/>
                  <a:pt x="2712" y="1955"/>
                  <a:pt x="2712" y="1580"/>
                </a:cubicBezTo>
                <a:cubicBezTo>
                  <a:pt x="2712" y="1500"/>
                  <a:pt x="2681" y="1324"/>
                  <a:pt x="2441" y="1324"/>
                </a:cubicBezTo>
                <a:cubicBezTo>
                  <a:pt x="2082" y="1324"/>
                  <a:pt x="1779" y="1859"/>
                  <a:pt x="1779" y="2274"/>
                </a:cubicBezTo>
                <a:cubicBezTo>
                  <a:pt x="1651" y="2274"/>
                  <a:pt x="1604" y="2138"/>
                  <a:pt x="1604" y="2034"/>
                </a:cubicBezTo>
                <a:cubicBezTo>
                  <a:pt x="1604" y="1931"/>
                  <a:pt x="1643" y="1827"/>
                  <a:pt x="1643" y="1795"/>
                </a:cubicBezTo>
                <a:cubicBezTo>
                  <a:pt x="1643" y="1763"/>
                  <a:pt x="1627" y="1723"/>
                  <a:pt x="1580" y="1723"/>
                </a:cubicBezTo>
                <a:cubicBezTo>
                  <a:pt x="1460" y="1723"/>
                  <a:pt x="1388" y="1883"/>
                  <a:pt x="1388" y="2066"/>
                </a:cubicBezTo>
                <a:cubicBezTo>
                  <a:pt x="1396" y="2322"/>
                  <a:pt x="1564" y="2481"/>
                  <a:pt x="1787" y="2497"/>
                </a:cubicBezTo>
                <a:cubicBezTo>
                  <a:pt x="1819" y="2649"/>
                  <a:pt x="1955" y="2792"/>
                  <a:pt x="2122" y="2792"/>
                </a:cubicBezTo>
                <a:cubicBezTo>
                  <a:pt x="2226" y="2792"/>
                  <a:pt x="2353" y="2760"/>
                  <a:pt x="2441" y="2681"/>
                </a:cubicBezTo>
                <a:cubicBezTo>
                  <a:pt x="2433" y="2737"/>
                  <a:pt x="2425" y="2784"/>
                  <a:pt x="2417" y="2832"/>
                </a:cubicBezTo>
                <a:cubicBezTo>
                  <a:pt x="2066" y="3016"/>
                  <a:pt x="1811" y="3143"/>
                  <a:pt x="1580" y="3351"/>
                </a:cubicBezTo>
                <a:cubicBezTo>
                  <a:pt x="1396" y="3518"/>
                  <a:pt x="1292" y="3742"/>
                  <a:pt x="1292" y="3917"/>
                </a:cubicBezTo>
                <a:cubicBezTo>
                  <a:pt x="1292" y="4157"/>
                  <a:pt x="1444" y="4380"/>
                  <a:pt x="1755" y="4380"/>
                </a:cubicBezTo>
                <a:cubicBezTo>
                  <a:pt x="2122" y="4380"/>
                  <a:pt x="2401" y="4085"/>
                  <a:pt x="2537" y="3678"/>
                </a:cubicBezTo>
                <a:cubicBezTo>
                  <a:pt x="2601" y="3486"/>
                  <a:pt x="2626" y="3208"/>
                  <a:pt x="2642" y="2952"/>
                </a:cubicBezTo>
                <a:cubicBezTo>
                  <a:pt x="3009" y="2745"/>
                  <a:pt x="3183" y="2625"/>
                  <a:pt x="3374" y="2489"/>
                </a:cubicBezTo>
                <a:cubicBezTo>
                  <a:pt x="3398" y="2529"/>
                  <a:pt x="3423" y="2561"/>
                  <a:pt x="3454" y="2585"/>
                </a:cubicBezTo>
                <a:cubicBezTo>
                  <a:pt x="3287" y="2673"/>
                  <a:pt x="2888" y="2920"/>
                  <a:pt x="2888" y="3502"/>
                </a:cubicBezTo>
                <a:cubicBezTo>
                  <a:pt x="2888" y="3917"/>
                  <a:pt x="3167" y="4380"/>
                  <a:pt x="3718" y="4380"/>
                </a:cubicBezTo>
                <a:cubicBezTo>
                  <a:pt x="4172" y="4380"/>
                  <a:pt x="4484" y="4005"/>
                  <a:pt x="4484" y="3646"/>
                </a:cubicBezTo>
                <a:cubicBezTo>
                  <a:pt x="4484" y="3319"/>
                  <a:pt x="4300" y="3016"/>
                  <a:pt x="3949" y="3016"/>
                </a:cubicBezTo>
                <a:close/>
                <a:moveTo>
                  <a:pt x="5321" y="3701"/>
                </a:moveTo>
                <a:cubicBezTo>
                  <a:pt x="5319" y="3703"/>
                  <a:pt x="5315" y="3707"/>
                  <a:pt x="5306" y="3704"/>
                </a:cubicBezTo>
                <a:cubicBezTo>
                  <a:pt x="5299" y="3702"/>
                  <a:pt x="5297" y="3698"/>
                  <a:pt x="5297" y="3694"/>
                </a:cubicBezTo>
                <a:cubicBezTo>
                  <a:pt x="5298" y="3689"/>
                  <a:pt x="5394" y="3405"/>
                  <a:pt x="5393" y="3080"/>
                </a:cubicBezTo>
                <a:cubicBezTo>
                  <a:pt x="5392" y="2728"/>
                  <a:pt x="5249" y="2513"/>
                  <a:pt x="5066" y="2513"/>
                </a:cubicBezTo>
                <a:cubicBezTo>
                  <a:pt x="4954" y="2513"/>
                  <a:pt x="4874" y="2593"/>
                  <a:pt x="4874" y="2712"/>
                </a:cubicBezTo>
                <a:cubicBezTo>
                  <a:pt x="4874" y="2928"/>
                  <a:pt x="5138" y="2944"/>
                  <a:pt x="5138" y="3415"/>
                </a:cubicBezTo>
                <a:cubicBezTo>
                  <a:pt x="5138" y="3606"/>
                  <a:pt x="5098" y="3789"/>
                  <a:pt x="5034" y="3989"/>
                </a:cubicBezTo>
                <a:cubicBezTo>
                  <a:pt x="4739" y="4986"/>
                  <a:pt x="3797" y="5449"/>
                  <a:pt x="2880" y="5449"/>
                </a:cubicBezTo>
                <a:cubicBezTo>
                  <a:pt x="2457" y="5449"/>
                  <a:pt x="2157" y="5362"/>
                  <a:pt x="2067" y="5322"/>
                </a:cubicBezTo>
                <a:cubicBezTo>
                  <a:pt x="2063" y="5320"/>
                  <a:pt x="2061" y="5313"/>
                  <a:pt x="2063" y="5306"/>
                </a:cubicBezTo>
                <a:cubicBezTo>
                  <a:pt x="2065" y="5300"/>
                  <a:pt x="2072" y="5296"/>
                  <a:pt x="2075" y="5298"/>
                </a:cubicBezTo>
                <a:cubicBezTo>
                  <a:pt x="2111" y="5312"/>
                  <a:pt x="2369" y="5393"/>
                  <a:pt x="2689" y="5393"/>
                </a:cubicBezTo>
                <a:cubicBezTo>
                  <a:pt x="3040" y="5393"/>
                  <a:pt x="3247" y="5250"/>
                  <a:pt x="3247" y="5074"/>
                </a:cubicBezTo>
                <a:cubicBezTo>
                  <a:pt x="3247" y="4962"/>
                  <a:pt x="3159" y="4875"/>
                  <a:pt x="3047" y="4875"/>
                </a:cubicBezTo>
                <a:cubicBezTo>
                  <a:pt x="2832" y="4875"/>
                  <a:pt x="2816" y="5146"/>
                  <a:pt x="2353" y="5146"/>
                </a:cubicBezTo>
                <a:cubicBezTo>
                  <a:pt x="2154" y="5146"/>
                  <a:pt x="1979" y="5106"/>
                  <a:pt x="1771" y="5042"/>
                </a:cubicBezTo>
                <a:cubicBezTo>
                  <a:pt x="782" y="4739"/>
                  <a:pt x="310" y="3805"/>
                  <a:pt x="311" y="2880"/>
                </a:cubicBezTo>
                <a:cubicBezTo>
                  <a:pt x="311" y="2429"/>
                  <a:pt x="438" y="2070"/>
                  <a:pt x="440" y="2067"/>
                </a:cubicBezTo>
                <a:cubicBezTo>
                  <a:pt x="441" y="2065"/>
                  <a:pt x="447" y="2062"/>
                  <a:pt x="454" y="2065"/>
                </a:cubicBezTo>
                <a:cubicBezTo>
                  <a:pt x="461" y="2067"/>
                  <a:pt x="463" y="2073"/>
                  <a:pt x="462" y="2075"/>
                </a:cubicBezTo>
                <a:cubicBezTo>
                  <a:pt x="451" y="2112"/>
                  <a:pt x="367" y="2370"/>
                  <a:pt x="367" y="2688"/>
                </a:cubicBezTo>
                <a:cubicBezTo>
                  <a:pt x="367" y="3040"/>
                  <a:pt x="511" y="3247"/>
                  <a:pt x="694" y="3247"/>
                </a:cubicBezTo>
                <a:cubicBezTo>
                  <a:pt x="798" y="3247"/>
                  <a:pt x="885" y="3167"/>
                  <a:pt x="885" y="3056"/>
                </a:cubicBezTo>
                <a:cubicBezTo>
                  <a:pt x="885" y="2840"/>
                  <a:pt x="622" y="2816"/>
                  <a:pt x="622" y="2354"/>
                </a:cubicBezTo>
                <a:cubicBezTo>
                  <a:pt x="622" y="2154"/>
                  <a:pt x="662" y="1978"/>
                  <a:pt x="726" y="1771"/>
                </a:cubicBezTo>
                <a:cubicBezTo>
                  <a:pt x="1029" y="782"/>
                  <a:pt x="1963" y="318"/>
                  <a:pt x="2880" y="311"/>
                </a:cubicBezTo>
                <a:cubicBezTo>
                  <a:pt x="3306" y="308"/>
                  <a:pt x="3680" y="435"/>
                  <a:pt x="3694" y="447"/>
                </a:cubicBezTo>
                <a:cubicBezTo>
                  <a:pt x="3696" y="449"/>
                  <a:pt x="3699" y="455"/>
                  <a:pt x="3696" y="461"/>
                </a:cubicBezTo>
                <a:cubicBezTo>
                  <a:pt x="3693" y="468"/>
                  <a:pt x="3688" y="469"/>
                  <a:pt x="3686" y="469"/>
                </a:cubicBezTo>
                <a:cubicBezTo>
                  <a:pt x="3681" y="468"/>
                  <a:pt x="3439" y="367"/>
                  <a:pt x="3071" y="367"/>
                </a:cubicBezTo>
                <a:cubicBezTo>
                  <a:pt x="2728" y="367"/>
                  <a:pt x="2513" y="510"/>
                  <a:pt x="2513" y="694"/>
                </a:cubicBezTo>
                <a:cubicBezTo>
                  <a:pt x="2513" y="798"/>
                  <a:pt x="2593" y="885"/>
                  <a:pt x="2712" y="885"/>
                </a:cubicBezTo>
                <a:cubicBezTo>
                  <a:pt x="2928" y="885"/>
                  <a:pt x="2944" y="622"/>
                  <a:pt x="3406" y="622"/>
                </a:cubicBezTo>
                <a:cubicBezTo>
                  <a:pt x="3606" y="622"/>
                  <a:pt x="3781" y="662"/>
                  <a:pt x="3989" y="726"/>
                </a:cubicBezTo>
                <a:cubicBezTo>
                  <a:pt x="4986" y="1029"/>
                  <a:pt x="5440" y="1971"/>
                  <a:pt x="5449" y="2880"/>
                </a:cubicBezTo>
                <a:cubicBezTo>
                  <a:pt x="5453" y="3346"/>
                  <a:pt x="5322" y="3699"/>
                  <a:pt x="5321" y="3701"/>
                </a:cubicBezTo>
                <a:close/>
                <a:moveTo>
                  <a:pt x="2880" y="136"/>
                </a:moveTo>
                <a:cubicBezTo>
                  <a:pt x="1364" y="136"/>
                  <a:pt x="135" y="1364"/>
                  <a:pt x="135" y="2880"/>
                </a:cubicBezTo>
                <a:cubicBezTo>
                  <a:pt x="135" y="4396"/>
                  <a:pt x="1364" y="5624"/>
                  <a:pt x="2880" y="5624"/>
                </a:cubicBezTo>
                <a:cubicBezTo>
                  <a:pt x="4396" y="5624"/>
                  <a:pt x="5624" y="4396"/>
                  <a:pt x="5624" y="2880"/>
                </a:cubicBezTo>
                <a:cubicBezTo>
                  <a:pt x="5624" y="1372"/>
                  <a:pt x="4396" y="136"/>
                  <a:pt x="2880" y="136"/>
                </a:cubicBezTo>
                <a:close/>
                <a:moveTo>
                  <a:pt x="2880" y="5760"/>
                </a:moveTo>
                <a:cubicBezTo>
                  <a:pt x="1292" y="5760"/>
                  <a:pt x="0" y="4476"/>
                  <a:pt x="0" y="2880"/>
                </a:cubicBezTo>
                <a:cubicBezTo>
                  <a:pt x="0" y="1292"/>
                  <a:pt x="1292" y="0"/>
                  <a:pt x="2880" y="0"/>
                </a:cubicBezTo>
                <a:cubicBezTo>
                  <a:pt x="4467" y="0"/>
                  <a:pt x="5760" y="1292"/>
                  <a:pt x="5760" y="2880"/>
                </a:cubicBezTo>
                <a:cubicBezTo>
                  <a:pt x="5760" y="4476"/>
                  <a:pt x="4467" y="5760"/>
                  <a:pt x="2880" y="5760"/>
                </a:cubicBezTo>
                <a:close/>
              </a:path>
            </a:pathLst>
          </a:custGeom>
          <a:solidFill>
            <a:srgbClr val="005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66745725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Monogram 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DAEF07-D0B1-4504-AB2C-14FFC29D6FA5}"/>
              </a:ext>
            </a:extLst>
          </p:cNvPr>
          <p:cNvGraphicFramePr>
            <a:graphicFrameLocks noChangeAspect="1"/>
          </p:cNvGraphicFramePr>
          <p:nvPr userDrawn="1">
            <p:custDataLst>
              <p:tags r:id="rId1"/>
            </p:custDataLst>
            <p:extLst>
              <p:ext uri="{D42A27DB-BD31-4B8C-83A1-F6EECF244321}">
                <p14:modId xmlns:p14="http://schemas.microsoft.com/office/powerpoint/2010/main" val="2675972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95" imgH="394" progId="TCLayout.ActiveDocument.1">
                  <p:embed/>
                </p:oleObj>
              </mc:Choice>
              <mc:Fallback>
                <p:oleObj name="Diapositive think-cell" r:id="rId3" imgW="395" imgH="394" progId="TCLayout.ActiveDocument.1">
                  <p:embed/>
                  <p:pic>
                    <p:nvPicPr>
                      <p:cNvPr id="2" name="Object 1" hidden="1">
                        <a:extLst>
                          <a:ext uri="{FF2B5EF4-FFF2-40B4-BE49-F238E27FC236}">
                            <a16:creationId xmlns:a16="http://schemas.microsoft.com/office/drawing/2014/main" id="{F2DAEF07-D0B1-4504-AB2C-14FFC29D6F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5"/>
          <p:cNvSpPr>
            <a:spLocks noChangeAspect="1" noEditPoints="1"/>
          </p:cNvSpPr>
          <p:nvPr userDrawn="1"/>
        </p:nvSpPr>
        <p:spPr bwMode="black">
          <a:xfrm>
            <a:off x="4757541" y="2110155"/>
            <a:ext cx="2651760" cy="2651760"/>
          </a:xfrm>
          <a:custGeom>
            <a:avLst/>
            <a:gdLst>
              <a:gd name="T0" fmla="*/ 3869 w 5760"/>
              <a:gd name="T1" fmla="*/ 1545 h 5760"/>
              <a:gd name="T2" fmla="*/ 2018 w 5760"/>
              <a:gd name="T3" fmla="*/ 2250 h 5760"/>
              <a:gd name="T4" fmla="*/ 2018 w 5760"/>
              <a:gd name="T5" fmla="*/ 2250 h 5760"/>
              <a:gd name="T6" fmla="*/ 1556 w 5760"/>
              <a:gd name="T7" fmla="*/ 3934 h 5760"/>
              <a:gd name="T8" fmla="*/ 1755 w 5760"/>
              <a:gd name="T9" fmla="*/ 4133 h 5760"/>
              <a:gd name="T10" fmla="*/ 3470 w 5760"/>
              <a:gd name="T11" fmla="*/ 3455 h 5760"/>
              <a:gd name="T12" fmla="*/ 3861 w 5760"/>
              <a:gd name="T13" fmla="*/ 3710 h 5760"/>
              <a:gd name="T14" fmla="*/ 3933 w 5760"/>
              <a:gd name="T15" fmla="*/ 3255 h 5760"/>
              <a:gd name="T16" fmla="*/ 3734 w 5760"/>
              <a:gd name="T17" fmla="*/ 4133 h 5760"/>
              <a:gd name="T18" fmla="*/ 3694 w 5760"/>
              <a:gd name="T19" fmla="*/ 2712 h 5760"/>
              <a:gd name="T20" fmla="*/ 3905 w 5760"/>
              <a:gd name="T21" fmla="*/ 2466 h 5760"/>
              <a:gd name="T22" fmla="*/ 3574 w 5760"/>
              <a:gd name="T23" fmla="*/ 2354 h 5760"/>
              <a:gd name="T24" fmla="*/ 3853 w 5760"/>
              <a:gd name="T25" fmla="*/ 1324 h 5760"/>
              <a:gd name="T26" fmla="*/ 3295 w 5760"/>
              <a:gd name="T27" fmla="*/ 2298 h 5760"/>
              <a:gd name="T28" fmla="*/ 2685 w 5760"/>
              <a:gd name="T29" fmla="*/ 2469 h 5760"/>
              <a:gd name="T30" fmla="*/ 2816 w 5760"/>
              <a:gd name="T31" fmla="*/ 1987 h 5760"/>
              <a:gd name="T32" fmla="*/ 2170 w 5760"/>
              <a:gd name="T33" fmla="*/ 2593 h 5760"/>
              <a:gd name="T34" fmla="*/ 2712 w 5760"/>
              <a:gd name="T35" fmla="*/ 1580 h 5760"/>
              <a:gd name="T36" fmla="*/ 1779 w 5760"/>
              <a:gd name="T37" fmla="*/ 2274 h 5760"/>
              <a:gd name="T38" fmla="*/ 1643 w 5760"/>
              <a:gd name="T39" fmla="*/ 1795 h 5760"/>
              <a:gd name="T40" fmla="*/ 1388 w 5760"/>
              <a:gd name="T41" fmla="*/ 2066 h 5760"/>
              <a:gd name="T42" fmla="*/ 2122 w 5760"/>
              <a:gd name="T43" fmla="*/ 2792 h 5760"/>
              <a:gd name="T44" fmla="*/ 2417 w 5760"/>
              <a:gd name="T45" fmla="*/ 2832 h 5760"/>
              <a:gd name="T46" fmla="*/ 1292 w 5760"/>
              <a:gd name="T47" fmla="*/ 3917 h 5760"/>
              <a:gd name="T48" fmla="*/ 2537 w 5760"/>
              <a:gd name="T49" fmla="*/ 3678 h 5760"/>
              <a:gd name="T50" fmla="*/ 3374 w 5760"/>
              <a:gd name="T51" fmla="*/ 2489 h 5760"/>
              <a:gd name="T52" fmla="*/ 2888 w 5760"/>
              <a:gd name="T53" fmla="*/ 3502 h 5760"/>
              <a:gd name="T54" fmla="*/ 4484 w 5760"/>
              <a:gd name="T55" fmla="*/ 3646 h 5760"/>
              <a:gd name="T56" fmla="*/ 5321 w 5760"/>
              <a:gd name="T57" fmla="*/ 3701 h 5760"/>
              <a:gd name="T58" fmla="*/ 5297 w 5760"/>
              <a:gd name="T59" fmla="*/ 3694 h 5760"/>
              <a:gd name="T60" fmla="*/ 5066 w 5760"/>
              <a:gd name="T61" fmla="*/ 2513 h 5760"/>
              <a:gd name="T62" fmla="*/ 5138 w 5760"/>
              <a:gd name="T63" fmla="*/ 3415 h 5760"/>
              <a:gd name="T64" fmla="*/ 2880 w 5760"/>
              <a:gd name="T65" fmla="*/ 5449 h 5760"/>
              <a:gd name="T66" fmla="*/ 2063 w 5760"/>
              <a:gd name="T67" fmla="*/ 5306 h 5760"/>
              <a:gd name="T68" fmla="*/ 2689 w 5760"/>
              <a:gd name="T69" fmla="*/ 5393 h 5760"/>
              <a:gd name="T70" fmla="*/ 3047 w 5760"/>
              <a:gd name="T71" fmla="*/ 4875 h 5760"/>
              <a:gd name="T72" fmla="*/ 1771 w 5760"/>
              <a:gd name="T73" fmla="*/ 5042 h 5760"/>
              <a:gd name="T74" fmla="*/ 440 w 5760"/>
              <a:gd name="T75" fmla="*/ 2067 h 5760"/>
              <a:gd name="T76" fmla="*/ 462 w 5760"/>
              <a:gd name="T77" fmla="*/ 2075 h 5760"/>
              <a:gd name="T78" fmla="*/ 694 w 5760"/>
              <a:gd name="T79" fmla="*/ 3247 h 5760"/>
              <a:gd name="T80" fmla="*/ 622 w 5760"/>
              <a:gd name="T81" fmla="*/ 2354 h 5760"/>
              <a:gd name="T82" fmla="*/ 2880 w 5760"/>
              <a:gd name="T83" fmla="*/ 311 h 5760"/>
              <a:gd name="T84" fmla="*/ 3696 w 5760"/>
              <a:gd name="T85" fmla="*/ 461 h 5760"/>
              <a:gd name="T86" fmla="*/ 3071 w 5760"/>
              <a:gd name="T87" fmla="*/ 367 h 5760"/>
              <a:gd name="T88" fmla="*/ 2712 w 5760"/>
              <a:gd name="T89" fmla="*/ 885 h 5760"/>
              <a:gd name="T90" fmla="*/ 3989 w 5760"/>
              <a:gd name="T91" fmla="*/ 726 h 5760"/>
              <a:gd name="T92" fmla="*/ 5321 w 5760"/>
              <a:gd name="T93" fmla="*/ 3701 h 5760"/>
              <a:gd name="T94" fmla="*/ 135 w 5760"/>
              <a:gd name="T95" fmla="*/ 2880 h 5760"/>
              <a:gd name="T96" fmla="*/ 5624 w 5760"/>
              <a:gd name="T97" fmla="*/ 2880 h 5760"/>
              <a:gd name="T98" fmla="*/ 2880 w 5760"/>
              <a:gd name="T99" fmla="*/ 5760 h 5760"/>
              <a:gd name="T100" fmla="*/ 2880 w 5760"/>
              <a:gd name="T101" fmla="*/ 0 h 5760"/>
              <a:gd name="T102" fmla="*/ 2880 w 5760"/>
              <a:gd name="T103" fmla="*/ 576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5760">
                <a:moveTo>
                  <a:pt x="3526" y="2130"/>
                </a:moveTo>
                <a:cubicBezTo>
                  <a:pt x="3526" y="1803"/>
                  <a:pt x="3748" y="1485"/>
                  <a:pt x="3869" y="1545"/>
                </a:cubicBezTo>
                <a:cubicBezTo>
                  <a:pt x="4006" y="1614"/>
                  <a:pt x="3766" y="1923"/>
                  <a:pt x="3526" y="2130"/>
                </a:cubicBezTo>
                <a:moveTo>
                  <a:pt x="2018" y="2250"/>
                </a:moveTo>
                <a:cubicBezTo>
                  <a:pt x="2018" y="1987"/>
                  <a:pt x="2278" y="1486"/>
                  <a:pt x="2437" y="1539"/>
                </a:cubicBezTo>
                <a:cubicBezTo>
                  <a:pt x="2625" y="1601"/>
                  <a:pt x="2282" y="2106"/>
                  <a:pt x="2018" y="2250"/>
                </a:cubicBezTo>
                <a:close/>
                <a:moveTo>
                  <a:pt x="1755" y="4133"/>
                </a:moveTo>
                <a:cubicBezTo>
                  <a:pt x="1635" y="4138"/>
                  <a:pt x="1556" y="4062"/>
                  <a:pt x="1556" y="3934"/>
                </a:cubicBezTo>
                <a:cubicBezTo>
                  <a:pt x="1556" y="3591"/>
                  <a:pt x="2031" y="3264"/>
                  <a:pt x="2390" y="3088"/>
                </a:cubicBezTo>
                <a:cubicBezTo>
                  <a:pt x="2327" y="3567"/>
                  <a:pt x="2165" y="4114"/>
                  <a:pt x="1755" y="4133"/>
                </a:cubicBezTo>
                <a:close/>
                <a:moveTo>
                  <a:pt x="3949" y="3016"/>
                </a:moveTo>
                <a:cubicBezTo>
                  <a:pt x="3678" y="3016"/>
                  <a:pt x="3470" y="3215"/>
                  <a:pt x="3470" y="3455"/>
                </a:cubicBezTo>
                <a:cubicBezTo>
                  <a:pt x="3470" y="3654"/>
                  <a:pt x="3590" y="3813"/>
                  <a:pt x="3750" y="3813"/>
                </a:cubicBezTo>
                <a:cubicBezTo>
                  <a:pt x="3806" y="3813"/>
                  <a:pt x="3861" y="3782"/>
                  <a:pt x="3861" y="3710"/>
                </a:cubicBezTo>
                <a:cubicBezTo>
                  <a:pt x="3861" y="3606"/>
                  <a:pt x="3724" y="3581"/>
                  <a:pt x="3734" y="3426"/>
                </a:cubicBezTo>
                <a:cubicBezTo>
                  <a:pt x="3741" y="3323"/>
                  <a:pt x="3837" y="3255"/>
                  <a:pt x="3933" y="3255"/>
                </a:cubicBezTo>
                <a:cubicBezTo>
                  <a:pt x="4124" y="3255"/>
                  <a:pt x="4214" y="3440"/>
                  <a:pt x="4214" y="3632"/>
                </a:cubicBezTo>
                <a:cubicBezTo>
                  <a:pt x="4206" y="3927"/>
                  <a:pt x="3989" y="4133"/>
                  <a:pt x="3734" y="4133"/>
                </a:cubicBezTo>
                <a:cubicBezTo>
                  <a:pt x="3398" y="4133"/>
                  <a:pt x="3183" y="3813"/>
                  <a:pt x="3183" y="3470"/>
                </a:cubicBezTo>
                <a:cubicBezTo>
                  <a:pt x="3183" y="2960"/>
                  <a:pt x="3518" y="2760"/>
                  <a:pt x="3694" y="2712"/>
                </a:cubicBezTo>
                <a:cubicBezTo>
                  <a:pt x="3696" y="2712"/>
                  <a:pt x="4153" y="2794"/>
                  <a:pt x="4138" y="2592"/>
                </a:cubicBezTo>
                <a:cubicBezTo>
                  <a:pt x="4132" y="2504"/>
                  <a:pt x="4000" y="2470"/>
                  <a:pt x="3905" y="2466"/>
                </a:cubicBezTo>
                <a:cubicBezTo>
                  <a:pt x="3799" y="2462"/>
                  <a:pt x="3692" y="2500"/>
                  <a:pt x="3692" y="2500"/>
                </a:cubicBezTo>
                <a:cubicBezTo>
                  <a:pt x="3636" y="2472"/>
                  <a:pt x="3598" y="2417"/>
                  <a:pt x="3574" y="2354"/>
                </a:cubicBezTo>
                <a:cubicBezTo>
                  <a:pt x="3901" y="2106"/>
                  <a:pt x="4133" y="1867"/>
                  <a:pt x="4133" y="1596"/>
                </a:cubicBezTo>
                <a:cubicBezTo>
                  <a:pt x="4133" y="1452"/>
                  <a:pt x="4037" y="1324"/>
                  <a:pt x="3853" y="1324"/>
                </a:cubicBezTo>
                <a:cubicBezTo>
                  <a:pt x="3526" y="1324"/>
                  <a:pt x="3279" y="1739"/>
                  <a:pt x="3279" y="2114"/>
                </a:cubicBezTo>
                <a:cubicBezTo>
                  <a:pt x="3279" y="2178"/>
                  <a:pt x="3279" y="2242"/>
                  <a:pt x="3295" y="2298"/>
                </a:cubicBezTo>
                <a:cubicBezTo>
                  <a:pt x="3087" y="2449"/>
                  <a:pt x="2933" y="2543"/>
                  <a:pt x="2654" y="2711"/>
                </a:cubicBezTo>
                <a:cubicBezTo>
                  <a:pt x="2654" y="2676"/>
                  <a:pt x="2661" y="2586"/>
                  <a:pt x="2685" y="2469"/>
                </a:cubicBezTo>
                <a:cubicBezTo>
                  <a:pt x="2780" y="2365"/>
                  <a:pt x="2912" y="2210"/>
                  <a:pt x="2912" y="2090"/>
                </a:cubicBezTo>
                <a:cubicBezTo>
                  <a:pt x="2912" y="2034"/>
                  <a:pt x="2880" y="1987"/>
                  <a:pt x="2816" y="1987"/>
                </a:cubicBezTo>
                <a:cubicBezTo>
                  <a:pt x="2657" y="1987"/>
                  <a:pt x="2537" y="2226"/>
                  <a:pt x="2505" y="2393"/>
                </a:cubicBezTo>
                <a:cubicBezTo>
                  <a:pt x="2433" y="2481"/>
                  <a:pt x="2290" y="2593"/>
                  <a:pt x="2170" y="2593"/>
                </a:cubicBezTo>
                <a:cubicBezTo>
                  <a:pt x="2074" y="2593"/>
                  <a:pt x="2042" y="2505"/>
                  <a:pt x="2034" y="2473"/>
                </a:cubicBezTo>
                <a:cubicBezTo>
                  <a:pt x="2338" y="2369"/>
                  <a:pt x="2712" y="1955"/>
                  <a:pt x="2712" y="1580"/>
                </a:cubicBezTo>
                <a:cubicBezTo>
                  <a:pt x="2712" y="1500"/>
                  <a:pt x="2681" y="1324"/>
                  <a:pt x="2441" y="1324"/>
                </a:cubicBezTo>
                <a:cubicBezTo>
                  <a:pt x="2082" y="1324"/>
                  <a:pt x="1779" y="1859"/>
                  <a:pt x="1779" y="2274"/>
                </a:cubicBezTo>
                <a:cubicBezTo>
                  <a:pt x="1651" y="2274"/>
                  <a:pt x="1604" y="2138"/>
                  <a:pt x="1604" y="2034"/>
                </a:cubicBezTo>
                <a:cubicBezTo>
                  <a:pt x="1604" y="1931"/>
                  <a:pt x="1643" y="1827"/>
                  <a:pt x="1643" y="1795"/>
                </a:cubicBezTo>
                <a:cubicBezTo>
                  <a:pt x="1643" y="1763"/>
                  <a:pt x="1627" y="1723"/>
                  <a:pt x="1580" y="1723"/>
                </a:cubicBezTo>
                <a:cubicBezTo>
                  <a:pt x="1460" y="1723"/>
                  <a:pt x="1388" y="1883"/>
                  <a:pt x="1388" y="2066"/>
                </a:cubicBezTo>
                <a:cubicBezTo>
                  <a:pt x="1396" y="2322"/>
                  <a:pt x="1564" y="2481"/>
                  <a:pt x="1787" y="2497"/>
                </a:cubicBezTo>
                <a:cubicBezTo>
                  <a:pt x="1819" y="2649"/>
                  <a:pt x="1955" y="2792"/>
                  <a:pt x="2122" y="2792"/>
                </a:cubicBezTo>
                <a:cubicBezTo>
                  <a:pt x="2226" y="2792"/>
                  <a:pt x="2353" y="2760"/>
                  <a:pt x="2441" y="2681"/>
                </a:cubicBezTo>
                <a:cubicBezTo>
                  <a:pt x="2433" y="2737"/>
                  <a:pt x="2425" y="2784"/>
                  <a:pt x="2417" y="2832"/>
                </a:cubicBezTo>
                <a:cubicBezTo>
                  <a:pt x="2066" y="3016"/>
                  <a:pt x="1811" y="3143"/>
                  <a:pt x="1580" y="3351"/>
                </a:cubicBezTo>
                <a:cubicBezTo>
                  <a:pt x="1396" y="3518"/>
                  <a:pt x="1292" y="3742"/>
                  <a:pt x="1292" y="3917"/>
                </a:cubicBezTo>
                <a:cubicBezTo>
                  <a:pt x="1292" y="4157"/>
                  <a:pt x="1444" y="4380"/>
                  <a:pt x="1755" y="4380"/>
                </a:cubicBezTo>
                <a:cubicBezTo>
                  <a:pt x="2122" y="4380"/>
                  <a:pt x="2401" y="4085"/>
                  <a:pt x="2537" y="3678"/>
                </a:cubicBezTo>
                <a:cubicBezTo>
                  <a:pt x="2601" y="3486"/>
                  <a:pt x="2626" y="3208"/>
                  <a:pt x="2642" y="2952"/>
                </a:cubicBezTo>
                <a:cubicBezTo>
                  <a:pt x="3009" y="2745"/>
                  <a:pt x="3183" y="2625"/>
                  <a:pt x="3374" y="2489"/>
                </a:cubicBezTo>
                <a:cubicBezTo>
                  <a:pt x="3398" y="2529"/>
                  <a:pt x="3423" y="2561"/>
                  <a:pt x="3454" y="2585"/>
                </a:cubicBezTo>
                <a:cubicBezTo>
                  <a:pt x="3287" y="2673"/>
                  <a:pt x="2888" y="2920"/>
                  <a:pt x="2888" y="3502"/>
                </a:cubicBezTo>
                <a:cubicBezTo>
                  <a:pt x="2888" y="3917"/>
                  <a:pt x="3167" y="4380"/>
                  <a:pt x="3718" y="4380"/>
                </a:cubicBezTo>
                <a:cubicBezTo>
                  <a:pt x="4172" y="4380"/>
                  <a:pt x="4484" y="4005"/>
                  <a:pt x="4484" y="3646"/>
                </a:cubicBezTo>
                <a:cubicBezTo>
                  <a:pt x="4484" y="3319"/>
                  <a:pt x="4300" y="3016"/>
                  <a:pt x="3949" y="3016"/>
                </a:cubicBezTo>
                <a:close/>
                <a:moveTo>
                  <a:pt x="5321" y="3701"/>
                </a:moveTo>
                <a:cubicBezTo>
                  <a:pt x="5319" y="3703"/>
                  <a:pt x="5315" y="3707"/>
                  <a:pt x="5306" y="3704"/>
                </a:cubicBezTo>
                <a:cubicBezTo>
                  <a:pt x="5299" y="3702"/>
                  <a:pt x="5297" y="3698"/>
                  <a:pt x="5297" y="3694"/>
                </a:cubicBezTo>
                <a:cubicBezTo>
                  <a:pt x="5298" y="3689"/>
                  <a:pt x="5394" y="3405"/>
                  <a:pt x="5393" y="3080"/>
                </a:cubicBezTo>
                <a:cubicBezTo>
                  <a:pt x="5392" y="2728"/>
                  <a:pt x="5249" y="2513"/>
                  <a:pt x="5066" y="2513"/>
                </a:cubicBezTo>
                <a:cubicBezTo>
                  <a:pt x="4954" y="2513"/>
                  <a:pt x="4874" y="2593"/>
                  <a:pt x="4874" y="2712"/>
                </a:cubicBezTo>
                <a:cubicBezTo>
                  <a:pt x="4874" y="2928"/>
                  <a:pt x="5138" y="2944"/>
                  <a:pt x="5138" y="3415"/>
                </a:cubicBezTo>
                <a:cubicBezTo>
                  <a:pt x="5138" y="3606"/>
                  <a:pt x="5098" y="3789"/>
                  <a:pt x="5034" y="3989"/>
                </a:cubicBezTo>
                <a:cubicBezTo>
                  <a:pt x="4739" y="4986"/>
                  <a:pt x="3797" y="5449"/>
                  <a:pt x="2880" y="5449"/>
                </a:cubicBezTo>
                <a:cubicBezTo>
                  <a:pt x="2457" y="5449"/>
                  <a:pt x="2157" y="5362"/>
                  <a:pt x="2067" y="5322"/>
                </a:cubicBezTo>
                <a:cubicBezTo>
                  <a:pt x="2063" y="5320"/>
                  <a:pt x="2061" y="5313"/>
                  <a:pt x="2063" y="5306"/>
                </a:cubicBezTo>
                <a:cubicBezTo>
                  <a:pt x="2065" y="5300"/>
                  <a:pt x="2072" y="5296"/>
                  <a:pt x="2075" y="5298"/>
                </a:cubicBezTo>
                <a:cubicBezTo>
                  <a:pt x="2111" y="5312"/>
                  <a:pt x="2369" y="5393"/>
                  <a:pt x="2689" y="5393"/>
                </a:cubicBezTo>
                <a:cubicBezTo>
                  <a:pt x="3040" y="5393"/>
                  <a:pt x="3247" y="5250"/>
                  <a:pt x="3247" y="5074"/>
                </a:cubicBezTo>
                <a:cubicBezTo>
                  <a:pt x="3247" y="4962"/>
                  <a:pt x="3159" y="4875"/>
                  <a:pt x="3047" y="4875"/>
                </a:cubicBezTo>
                <a:cubicBezTo>
                  <a:pt x="2832" y="4875"/>
                  <a:pt x="2816" y="5146"/>
                  <a:pt x="2353" y="5146"/>
                </a:cubicBezTo>
                <a:cubicBezTo>
                  <a:pt x="2154" y="5146"/>
                  <a:pt x="1979" y="5106"/>
                  <a:pt x="1771" y="5042"/>
                </a:cubicBezTo>
                <a:cubicBezTo>
                  <a:pt x="782" y="4739"/>
                  <a:pt x="310" y="3805"/>
                  <a:pt x="311" y="2880"/>
                </a:cubicBezTo>
                <a:cubicBezTo>
                  <a:pt x="311" y="2429"/>
                  <a:pt x="438" y="2070"/>
                  <a:pt x="440" y="2067"/>
                </a:cubicBezTo>
                <a:cubicBezTo>
                  <a:pt x="441" y="2065"/>
                  <a:pt x="447" y="2062"/>
                  <a:pt x="454" y="2065"/>
                </a:cubicBezTo>
                <a:cubicBezTo>
                  <a:pt x="461" y="2067"/>
                  <a:pt x="463" y="2073"/>
                  <a:pt x="462" y="2075"/>
                </a:cubicBezTo>
                <a:cubicBezTo>
                  <a:pt x="451" y="2112"/>
                  <a:pt x="367" y="2370"/>
                  <a:pt x="367" y="2688"/>
                </a:cubicBezTo>
                <a:cubicBezTo>
                  <a:pt x="367" y="3040"/>
                  <a:pt x="511" y="3247"/>
                  <a:pt x="694" y="3247"/>
                </a:cubicBezTo>
                <a:cubicBezTo>
                  <a:pt x="798" y="3247"/>
                  <a:pt x="885" y="3167"/>
                  <a:pt x="885" y="3056"/>
                </a:cubicBezTo>
                <a:cubicBezTo>
                  <a:pt x="885" y="2840"/>
                  <a:pt x="622" y="2816"/>
                  <a:pt x="622" y="2354"/>
                </a:cubicBezTo>
                <a:cubicBezTo>
                  <a:pt x="622" y="2154"/>
                  <a:pt x="662" y="1978"/>
                  <a:pt x="726" y="1771"/>
                </a:cubicBezTo>
                <a:cubicBezTo>
                  <a:pt x="1029" y="782"/>
                  <a:pt x="1963" y="318"/>
                  <a:pt x="2880" y="311"/>
                </a:cubicBezTo>
                <a:cubicBezTo>
                  <a:pt x="3306" y="308"/>
                  <a:pt x="3680" y="435"/>
                  <a:pt x="3694" y="447"/>
                </a:cubicBezTo>
                <a:cubicBezTo>
                  <a:pt x="3696" y="449"/>
                  <a:pt x="3699" y="455"/>
                  <a:pt x="3696" y="461"/>
                </a:cubicBezTo>
                <a:cubicBezTo>
                  <a:pt x="3693" y="468"/>
                  <a:pt x="3688" y="469"/>
                  <a:pt x="3686" y="469"/>
                </a:cubicBezTo>
                <a:cubicBezTo>
                  <a:pt x="3681" y="468"/>
                  <a:pt x="3439" y="367"/>
                  <a:pt x="3071" y="367"/>
                </a:cubicBezTo>
                <a:cubicBezTo>
                  <a:pt x="2728" y="367"/>
                  <a:pt x="2513" y="510"/>
                  <a:pt x="2513" y="694"/>
                </a:cubicBezTo>
                <a:cubicBezTo>
                  <a:pt x="2513" y="798"/>
                  <a:pt x="2593" y="885"/>
                  <a:pt x="2712" y="885"/>
                </a:cubicBezTo>
                <a:cubicBezTo>
                  <a:pt x="2928" y="885"/>
                  <a:pt x="2944" y="622"/>
                  <a:pt x="3406" y="622"/>
                </a:cubicBezTo>
                <a:cubicBezTo>
                  <a:pt x="3606" y="622"/>
                  <a:pt x="3781" y="662"/>
                  <a:pt x="3989" y="726"/>
                </a:cubicBezTo>
                <a:cubicBezTo>
                  <a:pt x="4986" y="1029"/>
                  <a:pt x="5440" y="1971"/>
                  <a:pt x="5449" y="2880"/>
                </a:cubicBezTo>
                <a:cubicBezTo>
                  <a:pt x="5453" y="3346"/>
                  <a:pt x="5322" y="3699"/>
                  <a:pt x="5321" y="3701"/>
                </a:cubicBezTo>
                <a:close/>
                <a:moveTo>
                  <a:pt x="2880" y="136"/>
                </a:moveTo>
                <a:cubicBezTo>
                  <a:pt x="1364" y="136"/>
                  <a:pt x="135" y="1364"/>
                  <a:pt x="135" y="2880"/>
                </a:cubicBezTo>
                <a:cubicBezTo>
                  <a:pt x="135" y="4396"/>
                  <a:pt x="1364" y="5624"/>
                  <a:pt x="2880" y="5624"/>
                </a:cubicBezTo>
                <a:cubicBezTo>
                  <a:pt x="4396" y="5624"/>
                  <a:pt x="5624" y="4396"/>
                  <a:pt x="5624" y="2880"/>
                </a:cubicBezTo>
                <a:cubicBezTo>
                  <a:pt x="5624" y="1372"/>
                  <a:pt x="4396" y="136"/>
                  <a:pt x="2880" y="136"/>
                </a:cubicBezTo>
                <a:close/>
                <a:moveTo>
                  <a:pt x="2880" y="5760"/>
                </a:moveTo>
                <a:cubicBezTo>
                  <a:pt x="1292" y="5760"/>
                  <a:pt x="0" y="4476"/>
                  <a:pt x="0" y="2880"/>
                </a:cubicBezTo>
                <a:cubicBezTo>
                  <a:pt x="0" y="1292"/>
                  <a:pt x="1292" y="0"/>
                  <a:pt x="2880" y="0"/>
                </a:cubicBezTo>
                <a:cubicBezTo>
                  <a:pt x="4467" y="0"/>
                  <a:pt x="5760" y="1292"/>
                  <a:pt x="5760" y="2880"/>
                </a:cubicBezTo>
                <a:cubicBezTo>
                  <a:pt x="5760" y="4476"/>
                  <a:pt x="4467" y="5760"/>
                  <a:pt x="2880" y="576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1532610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wo Statement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837C0D9-3B97-41CF-BECD-9C636C4B6097}"/>
              </a:ext>
            </a:extLst>
          </p:cNvPr>
          <p:cNvGraphicFramePr>
            <a:graphicFrameLocks noChangeAspect="1"/>
          </p:cNvGraphicFramePr>
          <p:nvPr userDrawn="1">
            <p:custDataLst>
              <p:tags r:id="rId1"/>
            </p:custDataLst>
            <p:extLst>
              <p:ext uri="{D42A27DB-BD31-4B8C-83A1-F6EECF244321}">
                <p14:modId xmlns:p14="http://schemas.microsoft.com/office/powerpoint/2010/main" val="4217829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8" name="Object 7" hidden="1">
                        <a:extLst>
                          <a:ext uri="{FF2B5EF4-FFF2-40B4-BE49-F238E27FC236}">
                            <a16:creationId xmlns:a16="http://schemas.microsoft.com/office/drawing/2014/main" id="{A837C0D9-3B97-41CF-BECD-9C636C4B60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B28919B-02C7-4F9A-B55D-BF119CE3F4C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GE Inspira Sans" panose="020B0503060000000003" pitchFamily="34" charset="0"/>
              <a:ea typeface="+mj-ea"/>
              <a:cs typeface="+mj-cs"/>
              <a:sym typeface="GE Inspira Sans" panose="020B0503060000000003" pitchFamily="34" charset="0"/>
            </a:endParaRPr>
          </a:p>
        </p:txBody>
      </p:sp>
      <p:sp>
        <p:nvSpPr>
          <p:cNvPr id="9" name="Slide Number Placeholder 5">
            <a:extLst>
              <a:ext uri="{FF2B5EF4-FFF2-40B4-BE49-F238E27FC236}">
                <a16:creationId xmlns:a16="http://schemas.microsoft.com/office/drawing/2014/main" id="{7790EE85-D077-4A90-BC50-3B1D9FE3CFBB}"/>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26006872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wo Content Layout</a:t>
            </a:r>
            <a:endParaRPr lang="en-CA" dirty="0"/>
          </a:p>
        </p:txBody>
      </p:sp>
      <p:sp>
        <p:nvSpPr>
          <p:cNvPr id="5" name="Date Placeholder 4"/>
          <p:cNvSpPr>
            <a:spLocks noGrp="1"/>
          </p:cNvSpPr>
          <p:nvPr>
            <p:ph type="dt" sz="half" idx="10"/>
          </p:nvPr>
        </p:nvSpPr>
        <p:spPr/>
        <p:txBody>
          <a:bodyPr/>
          <a:lstStyle/>
          <a:p>
            <a:fld id="{016954F2-A168-429F-B267-8625DABCA019}" type="datetime4">
              <a:rPr lang="en-US" smtClean="0"/>
              <a:t>October 18, 2021</a:t>
            </a:fld>
            <a:endParaRPr lang="en-CA"/>
          </a:p>
        </p:txBody>
      </p:sp>
      <p:sp>
        <p:nvSpPr>
          <p:cNvPr id="6" name="Footer Placeholder 5"/>
          <p:cNvSpPr>
            <a:spLocks noGrp="1"/>
          </p:cNvSpPr>
          <p:nvPr>
            <p:ph type="ftr" sz="quarter" idx="11"/>
          </p:nvPr>
        </p:nvSpPr>
        <p:spPr/>
        <p:txBody>
          <a:bodyPr/>
          <a:lstStyle/>
          <a:p>
            <a:r>
              <a:rPr lang="en-CA"/>
              <a:t>Presentation Title</a:t>
            </a:r>
          </a:p>
        </p:txBody>
      </p:sp>
      <p:sp>
        <p:nvSpPr>
          <p:cNvPr id="7" name="Slide Number Placeholder 6"/>
          <p:cNvSpPr>
            <a:spLocks noGrp="1"/>
          </p:cNvSpPr>
          <p:nvPr>
            <p:ph type="sldNum" sz="quarter" idx="12"/>
          </p:nvPr>
        </p:nvSpPr>
        <p:spPr/>
        <p:txBody>
          <a:bodyPr/>
          <a:lstStyle/>
          <a:p>
            <a:fld id="{00E6A5BD-C011-4A45-AA3A-201790FB7F2B}" type="slidenum">
              <a:rPr lang="en-CA" smtClean="0"/>
              <a:t>‹#›</a:t>
            </a:fld>
            <a:endParaRPr lang="en-CA"/>
          </a:p>
        </p:txBody>
      </p:sp>
      <p:cxnSp>
        <p:nvCxnSpPr>
          <p:cNvPr id="9" name="Straight Connector 8"/>
          <p:cNvCxnSpPr/>
          <p:nvPr/>
        </p:nvCxnSpPr>
        <p:spPr>
          <a:xfrm>
            <a:off x="1627188" y="1649541"/>
            <a:ext cx="10112502" cy="0"/>
          </a:xfrm>
          <a:prstGeom prst="line">
            <a:avLst/>
          </a:prstGeom>
          <a:ln w="19050">
            <a:gradFill>
              <a:gsLst>
                <a:gs pos="0">
                  <a:schemeClr val="bg1"/>
                </a:gs>
                <a:gs pos="25000">
                  <a:schemeClr val="accent1">
                    <a:tint val="44500"/>
                    <a:satMod val="16000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0" name="Content Placeholder 9"/>
          <p:cNvSpPr>
            <a:spLocks noGrp="1"/>
          </p:cNvSpPr>
          <p:nvPr>
            <p:ph sz="quarter" idx="13"/>
          </p:nvPr>
        </p:nvSpPr>
        <p:spPr>
          <a:xfrm>
            <a:off x="1627188" y="1851659"/>
            <a:ext cx="4943475"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2" name="Content Placeholder 11"/>
          <p:cNvSpPr>
            <a:spLocks noGrp="1"/>
          </p:cNvSpPr>
          <p:nvPr>
            <p:ph sz="quarter" idx="14"/>
          </p:nvPr>
        </p:nvSpPr>
        <p:spPr>
          <a:xfrm>
            <a:off x="6810375" y="1851658"/>
            <a:ext cx="4929188" cy="43434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1" name="Straight Connector 10"/>
          <p:cNvCxnSpPr/>
          <p:nvPr userDrawn="1"/>
        </p:nvCxnSpPr>
        <p:spPr>
          <a:xfrm>
            <a:off x="1627188" y="1649541"/>
            <a:ext cx="10112502"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312540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C3D4CE-B59D-4FCA-A76B-A421F8BD153D}"/>
              </a:ext>
            </a:extLst>
          </p:cNvPr>
          <p:cNvGraphicFramePr>
            <a:graphicFrameLocks noChangeAspect="1"/>
          </p:cNvGraphicFramePr>
          <p:nvPr userDrawn="1">
            <p:custDataLst>
              <p:tags r:id="rId1"/>
            </p:custDataLst>
            <p:extLst>
              <p:ext uri="{D42A27DB-BD31-4B8C-83A1-F6EECF244321}">
                <p14:modId xmlns:p14="http://schemas.microsoft.com/office/powerpoint/2010/main" val="3448457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Object 3" hidden="1">
                        <a:extLst>
                          <a:ext uri="{FF2B5EF4-FFF2-40B4-BE49-F238E27FC236}">
                            <a16:creationId xmlns:a16="http://schemas.microsoft.com/office/drawing/2014/main" id="{52C3D4CE-B59D-4FCA-A76B-A421F8BD15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B1B8AD7-39FD-40B6-8E5F-A0018F9C698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Slide Number Placeholder 5">
            <a:extLst>
              <a:ext uri="{FF2B5EF4-FFF2-40B4-BE49-F238E27FC236}">
                <a16:creationId xmlns:a16="http://schemas.microsoft.com/office/drawing/2014/main" id="{E608A553-77D8-4C0F-B52D-0AA791BD3E5E}"/>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1861218169"/>
      </p:ext>
    </p:extLst>
  </p:cSld>
  <p:clrMapOvr>
    <a:masterClrMapping/>
  </p:clrMapOvr>
  <p:extLst>
    <p:ext uri="{DCECCB84-F9BA-43D5-87BE-67443E8EF086}">
      <p15:sldGuideLst xmlns:p15="http://schemas.microsoft.com/office/powerpoint/2012/main">
        <p15:guide id="1" orient="horz" pos="232">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3_Title and Content - No Rul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2C437D5-EBA9-43A5-84DE-1A1D0FD08EC0}"/>
              </a:ext>
            </a:extLst>
          </p:cNvPr>
          <p:cNvGraphicFramePr>
            <a:graphicFrameLocks noChangeAspect="1"/>
          </p:cNvGraphicFramePr>
          <p:nvPr userDrawn="1">
            <p:custDataLst>
              <p:tags r:id="rId1"/>
            </p:custDataLst>
            <p:extLst>
              <p:ext uri="{D42A27DB-BD31-4B8C-83A1-F6EECF244321}">
                <p14:modId xmlns:p14="http://schemas.microsoft.com/office/powerpoint/2010/main" val="31005515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3" name="Objet 2" hidden="1">
                        <a:extLst>
                          <a:ext uri="{FF2B5EF4-FFF2-40B4-BE49-F238E27FC236}">
                            <a16:creationId xmlns:a16="http://schemas.microsoft.com/office/drawing/2014/main" id="{22C437D5-EBA9-43A5-84DE-1A1D0FD08EC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E6996CB-B494-4016-BFA8-E51F23B4CCA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10" name="Slide Number Placeholder 5">
            <a:extLst>
              <a:ext uri="{FF2B5EF4-FFF2-40B4-BE49-F238E27FC236}">
                <a16:creationId xmlns:a16="http://schemas.microsoft.com/office/drawing/2014/main" id="{BA835383-F2FB-4DD0-A199-BA12284BD297}"/>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22990373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5016CE-575C-4610-AAC5-D0790506DB72}"/>
              </a:ext>
            </a:extLst>
          </p:cNvPr>
          <p:cNvGraphicFramePr>
            <a:graphicFrameLocks noChangeAspect="1"/>
          </p:cNvGraphicFramePr>
          <p:nvPr userDrawn="1">
            <p:custDataLst>
              <p:tags r:id="rId1"/>
            </p:custDataLst>
            <p:extLst>
              <p:ext uri="{D42A27DB-BD31-4B8C-83A1-F6EECF244321}">
                <p14:modId xmlns:p14="http://schemas.microsoft.com/office/powerpoint/2010/main" val="266397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3" name="Object 2" hidden="1">
                        <a:extLst>
                          <a:ext uri="{FF2B5EF4-FFF2-40B4-BE49-F238E27FC236}">
                            <a16:creationId xmlns:a16="http://schemas.microsoft.com/office/drawing/2014/main" id="{7C5016CE-575C-4610-AAC5-D0790506DB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05DD0FE-49C6-432C-8A38-5E77D75F775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11" name="Title Placeholder 1"/>
          <p:cNvSpPr>
            <a:spLocks noGrp="1"/>
          </p:cNvSpPr>
          <p:nvPr>
            <p:ph type="title"/>
          </p:nvPr>
        </p:nvSpPr>
        <p:spPr>
          <a:xfrm>
            <a:off x="495300" y="276301"/>
            <a:ext cx="11201400" cy="914400"/>
          </a:xfrm>
          <a:prstGeom prst="rect">
            <a:avLst/>
          </a:prstGeom>
        </p:spPr>
        <p:txBody>
          <a:bodyPr vert="horz" lIns="0" tIns="0" rIns="0" bIns="0" rtlCol="0" anchor="t" anchorCtr="0">
            <a:noAutofit/>
          </a:bodyPr>
          <a:lstStyle>
            <a:lvl1pPr>
              <a:defRPr/>
            </a:lvl1pPr>
          </a:lstStyle>
          <a:p>
            <a:r>
              <a:rPr lang="en-US" dirty="0"/>
              <a:t>Click to edit Master title style</a:t>
            </a:r>
          </a:p>
        </p:txBody>
      </p:sp>
      <p:sp>
        <p:nvSpPr>
          <p:cNvPr id="7" name="Content Placeholder 6"/>
          <p:cNvSpPr>
            <a:spLocks noGrp="1"/>
          </p:cNvSpPr>
          <p:nvPr>
            <p:ph sz="quarter" idx="13" hasCustomPrompt="1"/>
          </p:nvPr>
        </p:nvSpPr>
        <p:spPr>
          <a:xfrm>
            <a:off x="506058" y="1104588"/>
            <a:ext cx="11201400" cy="4290059"/>
          </a:xfrm>
        </p:spPr>
        <p:txBody>
          <a:bodyPr/>
          <a:lstStyle>
            <a:lvl4pPr marL="682625" indent="-173038">
              <a:defRPr/>
            </a:lvl4pPr>
            <a:lvl5pPr marL="914400" indent="-173038">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a:extLst>
              <a:ext uri="{FF2B5EF4-FFF2-40B4-BE49-F238E27FC236}">
                <a16:creationId xmlns:a16="http://schemas.microsoft.com/office/drawing/2014/main" id="{9AA1FA22-B32B-4F6B-82C1-0F9EE6364B64}"/>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395244332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DBCF7DD-627A-43E9-BAC6-7E75EEF44540}"/>
              </a:ext>
            </a:extLst>
          </p:cNvPr>
          <p:cNvGraphicFramePr>
            <a:graphicFrameLocks noChangeAspect="1"/>
          </p:cNvGraphicFramePr>
          <p:nvPr userDrawn="1">
            <p:custDataLst>
              <p:tags r:id="rId1"/>
            </p:custDataLst>
            <p:extLst>
              <p:ext uri="{D42A27DB-BD31-4B8C-83A1-F6EECF244321}">
                <p14:modId xmlns:p14="http://schemas.microsoft.com/office/powerpoint/2010/main" val="2736208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Object 3" hidden="1">
                        <a:extLst>
                          <a:ext uri="{FF2B5EF4-FFF2-40B4-BE49-F238E27FC236}">
                            <a16:creationId xmlns:a16="http://schemas.microsoft.com/office/drawing/2014/main" id="{DDBCF7DD-627A-43E9-BAC6-7E75EEF445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906B637-2CB7-430B-A757-C960B067C2E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2" name="Title 1"/>
          <p:cNvSpPr>
            <a:spLocks noGrp="1"/>
          </p:cNvSpPr>
          <p:nvPr>
            <p:ph type="title" hasCustomPrompt="1"/>
          </p:nvPr>
        </p:nvSpPr>
        <p:spPr>
          <a:xfrm>
            <a:off x="495300" y="278207"/>
            <a:ext cx="11201400" cy="914400"/>
          </a:xfrm>
          <a:prstGeom prst="rect">
            <a:avLst/>
          </a:prstGeom>
        </p:spPr>
        <p:txBody>
          <a:bodyPr/>
          <a:lstStyle>
            <a:lvl1pPr>
              <a:defRPr/>
            </a:lvl1pPr>
          </a:lstStyle>
          <a:p>
            <a:r>
              <a:rPr lang="en-US" dirty="0"/>
              <a:t>Two Content Layout</a:t>
            </a:r>
          </a:p>
        </p:txBody>
      </p:sp>
      <p:sp>
        <p:nvSpPr>
          <p:cNvPr id="10" name="Content Placeholder 9"/>
          <p:cNvSpPr>
            <a:spLocks noGrp="1"/>
          </p:cNvSpPr>
          <p:nvPr>
            <p:ph sz="quarter" idx="13" hasCustomPrompt="1"/>
          </p:nvPr>
        </p:nvSpPr>
        <p:spPr>
          <a:xfrm>
            <a:off x="495300" y="1683357"/>
            <a:ext cx="5220880" cy="4046883"/>
          </a:xfrm>
        </p:spPr>
        <p:txBody>
          <a:bodyPr/>
          <a:lstStyle>
            <a:lvl1pPr>
              <a:defRPr sz="1800"/>
            </a:lvl1pPr>
            <a:lvl2pPr>
              <a:defRPr sz="1800"/>
            </a:lvl2pPr>
            <a:lvl3pPr>
              <a:defRPr sz="1800"/>
            </a:lvl3pPr>
            <a:lvl4pPr>
              <a:defRPr sz="1800"/>
            </a:lvl4pPr>
            <a:lvl5pPr>
              <a:defRPr sz="1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4" hasCustomPrompt="1"/>
          </p:nvPr>
        </p:nvSpPr>
        <p:spPr>
          <a:xfrm>
            <a:off x="6475820" y="1683357"/>
            <a:ext cx="5220880" cy="4046883"/>
          </a:xfrm>
        </p:spPr>
        <p:txBody>
          <a:bodyPr/>
          <a:lstStyle>
            <a:lvl1pPr>
              <a:defRPr sz="1800"/>
            </a:lvl1pPr>
            <a:lvl2pPr>
              <a:defRPr sz="1800"/>
            </a:lvl2pPr>
            <a:lvl3pPr>
              <a:defRPr sz="1800"/>
            </a:lvl3pPr>
            <a:lvl4pPr>
              <a:defRPr sz="1800"/>
            </a:lvl4pPr>
            <a:lvl5pPr>
              <a:defRPr sz="1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5" hasCustomPrompt="1"/>
          </p:nvPr>
        </p:nvSpPr>
        <p:spPr>
          <a:xfrm>
            <a:off x="495300" y="1217093"/>
            <a:ext cx="5220880" cy="365760"/>
          </a:xfrm>
        </p:spPr>
        <p:txBody>
          <a:bodyPr vert="horz" lIns="0" tIns="0" rIns="0" bIns="0" rtlCol="0" anchor="b">
            <a:noAutofit/>
          </a:bodyPr>
          <a:lstStyle>
            <a:lvl1pPr algn="l">
              <a:defRPr lang="en-US" sz="2000" b="1" dirty="0">
                <a:solidFill>
                  <a:schemeClr val="accent1"/>
                </a:solidFill>
              </a:defRPr>
            </a:lvl1pPr>
          </a:lstStyle>
          <a:p>
            <a:pPr lvl="0">
              <a:lnSpc>
                <a:spcPct val="90000"/>
              </a:lnSpc>
              <a:spcBef>
                <a:spcPts val="0"/>
              </a:spcBef>
            </a:pPr>
            <a:r>
              <a:rPr lang="en-US" dirty="0"/>
              <a:t>Edit Master text styles</a:t>
            </a:r>
          </a:p>
        </p:txBody>
      </p:sp>
      <p:sp>
        <p:nvSpPr>
          <p:cNvPr id="22" name="Text Placeholder 18"/>
          <p:cNvSpPr>
            <a:spLocks noGrp="1"/>
          </p:cNvSpPr>
          <p:nvPr>
            <p:ph type="body" sz="quarter" idx="16" hasCustomPrompt="1"/>
          </p:nvPr>
        </p:nvSpPr>
        <p:spPr>
          <a:xfrm>
            <a:off x="6475820" y="1217093"/>
            <a:ext cx="5220880" cy="365760"/>
          </a:xfrm>
        </p:spPr>
        <p:txBody>
          <a:bodyPr vert="horz" lIns="0" tIns="0" rIns="0" bIns="0" rtlCol="0" anchor="b">
            <a:noAutofit/>
          </a:bodyPr>
          <a:lstStyle>
            <a:lvl1pPr>
              <a:defRPr lang="en-US" sz="2000" b="1" dirty="0">
                <a:solidFill>
                  <a:schemeClr val="accent1"/>
                </a:solidFill>
              </a:defRPr>
            </a:lvl1pPr>
          </a:lstStyle>
          <a:p>
            <a:pPr lvl="0">
              <a:lnSpc>
                <a:spcPct val="90000"/>
              </a:lnSpc>
              <a:spcBef>
                <a:spcPts val="0"/>
              </a:spcBef>
            </a:pPr>
            <a:r>
              <a:rPr lang="en-US" dirty="0"/>
              <a:t>Edit Master text styles</a:t>
            </a:r>
          </a:p>
        </p:txBody>
      </p:sp>
      <p:sp>
        <p:nvSpPr>
          <p:cNvPr id="11" name="Slide Number Placeholder 5">
            <a:extLst>
              <a:ext uri="{FF2B5EF4-FFF2-40B4-BE49-F238E27FC236}">
                <a16:creationId xmlns:a16="http://schemas.microsoft.com/office/drawing/2014/main" id="{765BA4C9-BC1A-4DE5-A893-C84B7989787D}"/>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246114744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B40AC-2254-4AD3-9FF1-FECB7CB74E4A}"/>
              </a:ext>
            </a:extLst>
          </p:cNvPr>
          <p:cNvGraphicFramePr>
            <a:graphicFrameLocks noChangeAspect="1"/>
          </p:cNvGraphicFramePr>
          <p:nvPr userDrawn="1">
            <p:custDataLst>
              <p:tags r:id="rId1"/>
            </p:custDataLst>
            <p:extLst>
              <p:ext uri="{D42A27DB-BD31-4B8C-83A1-F6EECF244321}">
                <p14:modId xmlns:p14="http://schemas.microsoft.com/office/powerpoint/2010/main" val="133470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Object 3" hidden="1">
                        <a:extLst>
                          <a:ext uri="{FF2B5EF4-FFF2-40B4-BE49-F238E27FC236}">
                            <a16:creationId xmlns:a16="http://schemas.microsoft.com/office/drawing/2014/main" id="{D24B40AC-2254-4AD3-9FF1-FECB7CB74E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FD4A56-5C2D-4C83-B8FC-516C041BDA2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3" name="Text Placeholder 2"/>
          <p:cNvSpPr>
            <a:spLocks noGrp="1"/>
          </p:cNvSpPr>
          <p:nvPr>
            <p:ph type="body" idx="1" hasCustomPrompt="1"/>
          </p:nvPr>
        </p:nvSpPr>
        <p:spPr>
          <a:xfrm>
            <a:off x="495299" y="1218907"/>
            <a:ext cx="3377601" cy="365760"/>
          </a:xfrm>
        </p:spPr>
        <p:txBody>
          <a:bodyPr vert="horz" lIns="0" tIns="0" rIns="0" bIns="0" rtlCol="0" anchor="b">
            <a:noAutofit/>
          </a:bodyPr>
          <a:lstStyle>
            <a:lvl1pPr>
              <a:defRPr lang="en-US" sz="2000" b="1" dirty="0">
                <a:solidFill>
                  <a:schemeClr val="accent1"/>
                </a:solidFill>
              </a:defRPr>
            </a:lvl1pPr>
          </a:lstStyle>
          <a:p>
            <a:pPr lvl="0">
              <a:lnSpc>
                <a:spcPct val="90000"/>
              </a:lnSpc>
              <a:spcBef>
                <a:spcPts val="0"/>
              </a:spcBef>
            </a:pPr>
            <a:r>
              <a:rPr lang="en-US" dirty="0"/>
              <a:t>Subtitle</a:t>
            </a:r>
          </a:p>
        </p:txBody>
      </p:sp>
      <p:sp>
        <p:nvSpPr>
          <p:cNvPr id="5" name="Text Placeholder 4"/>
          <p:cNvSpPr>
            <a:spLocks noGrp="1"/>
          </p:cNvSpPr>
          <p:nvPr>
            <p:ph type="body" sz="quarter" idx="3" hasCustomPrompt="1"/>
          </p:nvPr>
        </p:nvSpPr>
        <p:spPr>
          <a:xfrm>
            <a:off x="4405334" y="1218907"/>
            <a:ext cx="3382004" cy="365760"/>
          </a:xfrm>
        </p:spPr>
        <p:txBody>
          <a:bodyPr vert="horz" lIns="0" tIns="0" rIns="0" bIns="0" rtlCol="0" anchor="b">
            <a:noAutofit/>
          </a:bodyPr>
          <a:lstStyle>
            <a:lvl1pPr>
              <a:defRPr lang="en-US" sz="2000" b="1" dirty="0">
                <a:solidFill>
                  <a:schemeClr val="accent1"/>
                </a:solidFill>
              </a:defRPr>
            </a:lvl1pPr>
          </a:lstStyle>
          <a:p>
            <a:pPr lvl="0">
              <a:lnSpc>
                <a:spcPct val="90000"/>
              </a:lnSpc>
              <a:spcBef>
                <a:spcPts val="0"/>
              </a:spcBef>
            </a:pPr>
            <a:r>
              <a:rPr lang="en-US" dirty="0"/>
              <a:t>Subtitle</a:t>
            </a:r>
          </a:p>
        </p:txBody>
      </p:sp>
      <p:sp>
        <p:nvSpPr>
          <p:cNvPr id="15" name="Content Placeholder 14"/>
          <p:cNvSpPr>
            <a:spLocks noGrp="1"/>
          </p:cNvSpPr>
          <p:nvPr>
            <p:ph sz="quarter" idx="13" hasCustomPrompt="1"/>
          </p:nvPr>
        </p:nvSpPr>
        <p:spPr>
          <a:xfrm>
            <a:off x="495299" y="1683549"/>
            <a:ext cx="3377601" cy="4012346"/>
          </a:xfrm>
        </p:spPr>
        <p:txBody>
          <a:bodyPr/>
          <a:lstStyle>
            <a:lvl1pPr>
              <a:defRPr sz="1800"/>
            </a:lvl1pPr>
            <a:lvl2pPr marL="210312">
              <a:defRPr sz="1800"/>
            </a:lvl2pPr>
            <a:lvl3pPr marL="429768" indent="-173736">
              <a:defRPr sz="1800"/>
            </a:lvl3pPr>
            <a:lvl4pPr marL="603504" indent="-128016">
              <a:defRPr sz="1800"/>
            </a:lvl4pPr>
            <a:lvl5pPr marL="793750" indent="-173038">
              <a:defRPr sz="1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5" hasCustomPrompt="1"/>
          </p:nvPr>
        </p:nvSpPr>
        <p:spPr>
          <a:xfrm>
            <a:off x="8314696" y="1218907"/>
            <a:ext cx="3382004" cy="365760"/>
          </a:xfrm>
        </p:spPr>
        <p:txBody>
          <a:bodyPr vert="horz" lIns="0" tIns="0" rIns="0" bIns="0" rtlCol="0" anchor="b">
            <a:noAutofit/>
          </a:bodyPr>
          <a:lstStyle>
            <a:lvl1pPr>
              <a:defRPr lang="en-US" sz="2000" b="1" dirty="0">
                <a:solidFill>
                  <a:schemeClr val="accent1"/>
                </a:solidFill>
              </a:defRPr>
            </a:lvl1pPr>
          </a:lstStyle>
          <a:p>
            <a:pPr lvl="0">
              <a:lnSpc>
                <a:spcPct val="90000"/>
              </a:lnSpc>
              <a:spcBef>
                <a:spcPts val="0"/>
              </a:spcBef>
            </a:pPr>
            <a:r>
              <a:rPr lang="en-US" dirty="0"/>
              <a:t>Subtitle</a:t>
            </a:r>
          </a:p>
        </p:txBody>
      </p:sp>
      <p:sp>
        <p:nvSpPr>
          <p:cNvPr id="11" name="Title 10"/>
          <p:cNvSpPr>
            <a:spLocks noGrp="1"/>
          </p:cNvSpPr>
          <p:nvPr>
            <p:ph type="title"/>
          </p:nvPr>
        </p:nvSpPr>
        <p:spPr>
          <a:xfrm>
            <a:off x="495300" y="279699"/>
            <a:ext cx="11201400" cy="516367"/>
          </a:xfrm>
          <a:prstGeom prst="rect">
            <a:avLst/>
          </a:prstGeom>
        </p:spPr>
        <p:txBody>
          <a:bodyPr/>
          <a:lstStyle/>
          <a:p>
            <a:r>
              <a:rPr lang="en-US" dirty="0"/>
              <a:t>Click to edit Master title style</a:t>
            </a:r>
          </a:p>
        </p:txBody>
      </p:sp>
      <p:sp>
        <p:nvSpPr>
          <p:cNvPr id="21" name="Content Placeholder 14"/>
          <p:cNvSpPr>
            <a:spLocks noGrp="1"/>
          </p:cNvSpPr>
          <p:nvPr>
            <p:ph sz="quarter" idx="18" hasCustomPrompt="1"/>
          </p:nvPr>
        </p:nvSpPr>
        <p:spPr>
          <a:xfrm>
            <a:off x="4405334" y="1683549"/>
            <a:ext cx="3377601" cy="4012346"/>
          </a:xfrm>
        </p:spPr>
        <p:txBody>
          <a:bodyPr/>
          <a:lstStyle>
            <a:lvl1pPr>
              <a:defRPr sz="1800"/>
            </a:lvl1pPr>
            <a:lvl2pPr marL="210312">
              <a:defRPr sz="1800"/>
            </a:lvl2pPr>
            <a:lvl3pPr marL="429768" indent="-173736">
              <a:defRPr sz="1800"/>
            </a:lvl3pPr>
            <a:lvl4pPr marL="603504" indent="-128016">
              <a:defRPr sz="1800"/>
            </a:lvl4pPr>
            <a:lvl5pPr marL="793750" indent="-173038">
              <a:defRPr sz="1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14"/>
          <p:cNvSpPr>
            <a:spLocks noGrp="1"/>
          </p:cNvSpPr>
          <p:nvPr>
            <p:ph sz="quarter" idx="19" hasCustomPrompt="1"/>
          </p:nvPr>
        </p:nvSpPr>
        <p:spPr>
          <a:xfrm>
            <a:off x="8314696" y="1683549"/>
            <a:ext cx="3377601" cy="4012346"/>
          </a:xfrm>
        </p:spPr>
        <p:txBody>
          <a:bodyPr/>
          <a:lstStyle>
            <a:lvl1pPr>
              <a:defRPr sz="1800"/>
            </a:lvl1pPr>
            <a:lvl2pPr marL="210312">
              <a:defRPr sz="1800"/>
            </a:lvl2pPr>
            <a:lvl3pPr marL="429768" indent="-173736">
              <a:defRPr sz="1800"/>
            </a:lvl3pPr>
            <a:lvl4pPr marL="603504" indent="-128016">
              <a:defRPr sz="1800"/>
            </a:lvl4pPr>
            <a:lvl5pPr marL="793750" indent="-173038">
              <a:defRPr sz="1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a:extLst>
              <a:ext uri="{FF2B5EF4-FFF2-40B4-BE49-F238E27FC236}">
                <a16:creationId xmlns:a16="http://schemas.microsoft.com/office/drawing/2014/main" id="{BB5A0E8D-0199-4D21-965A-EDD48699644C}"/>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211452386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19A902-6324-410E-BE0E-E6AE6E1F0260}"/>
              </a:ext>
            </a:extLst>
          </p:cNvPr>
          <p:cNvGraphicFramePr>
            <a:graphicFrameLocks noChangeAspect="1"/>
          </p:cNvGraphicFramePr>
          <p:nvPr userDrawn="1">
            <p:custDataLst>
              <p:tags r:id="rId1"/>
            </p:custDataLst>
            <p:extLst>
              <p:ext uri="{D42A27DB-BD31-4B8C-83A1-F6EECF244321}">
                <p14:modId xmlns:p14="http://schemas.microsoft.com/office/powerpoint/2010/main" val="825902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6" name="Object 5" hidden="1">
                        <a:extLst>
                          <a:ext uri="{FF2B5EF4-FFF2-40B4-BE49-F238E27FC236}">
                            <a16:creationId xmlns:a16="http://schemas.microsoft.com/office/drawing/2014/main" id="{2019A902-6324-410E-BE0E-E6AE6E1F02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46BBF4-F9FD-4736-A408-D7218F6B5C1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3" name="Text Placeholder 2"/>
          <p:cNvSpPr>
            <a:spLocks noGrp="1"/>
          </p:cNvSpPr>
          <p:nvPr>
            <p:ph type="body" idx="1" hasCustomPrompt="1"/>
          </p:nvPr>
        </p:nvSpPr>
        <p:spPr>
          <a:xfrm>
            <a:off x="495300" y="1294430"/>
            <a:ext cx="2518906" cy="292388"/>
          </a:xfrm>
        </p:spPr>
        <p:txBody>
          <a:bodyPr vert="horz" wrap="square" lIns="0" tIns="0" rIns="0" bIns="0" rtlCol="0" anchor="b" anchorCtr="0">
            <a:spAutoFit/>
          </a:bodyPr>
          <a:lstStyle>
            <a:lvl1pPr>
              <a:defRPr lang="en-US" sz="2000" b="1" dirty="0" smtClean="0">
                <a:solidFill>
                  <a:schemeClr val="accent1"/>
                </a:solidFill>
              </a:defRPr>
            </a:lvl1pPr>
          </a:lstStyle>
          <a:p>
            <a:pPr lvl="0"/>
            <a:r>
              <a:rPr lang="en-US" dirty="0"/>
              <a:t>Subtitle</a:t>
            </a:r>
          </a:p>
        </p:txBody>
      </p:sp>
      <p:sp>
        <p:nvSpPr>
          <p:cNvPr id="5" name="Text Placeholder 4"/>
          <p:cNvSpPr>
            <a:spLocks noGrp="1"/>
          </p:cNvSpPr>
          <p:nvPr>
            <p:ph type="body" sz="quarter" idx="3" hasCustomPrompt="1"/>
          </p:nvPr>
        </p:nvSpPr>
        <p:spPr>
          <a:xfrm>
            <a:off x="3396995" y="1294430"/>
            <a:ext cx="2496313" cy="292388"/>
          </a:xfrm>
        </p:spPr>
        <p:txBody>
          <a:bodyPr vert="horz" wrap="square" lIns="0" tIns="0" rIns="0" bIns="0" rtlCol="0" anchor="b" anchorCtr="0">
            <a:spAutoFit/>
          </a:bodyPr>
          <a:lstStyle>
            <a:lvl1pPr>
              <a:defRPr lang="en-US" sz="2000" b="1" dirty="0" smtClean="0">
                <a:solidFill>
                  <a:schemeClr val="accent1"/>
                </a:solidFill>
              </a:defRPr>
            </a:lvl1pPr>
          </a:lstStyle>
          <a:p>
            <a:pPr lvl="0"/>
            <a:r>
              <a:rPr lang="en-US" dirty="0"/>
              <a:t>Subtitle</a:t>
            </a:r>
          </a:p>
        </p:txBody>
      </p:sp>
      <p:sp>
        <p:nvSpPr>
          <p:cNvPr id="15" name="Content Placeholder 14"/>
          <p:cNvSpPr>
            <a:spLocks noGrp="1"/>
          </p:cNvSpPr>
          <p:nvPr>
            <p:ph sz="quarter" idx="13" hasCustomPrompt="1"/>
          </p:nvPr>
        </p:nvSpPr>
        <p:spPr>
          <a:xfrm>
            <a:off x="495300" y="1796696"/>
            <a:ext cx="2496312" cy="3959013"/>
          </a:xfrm>
        </p:spPr>
        <p:txBody>
          <a:bodyPr vert="horz" lIns="0" tIns="0" rIns="0" bIns="0" rtlCol="0">
            <a:noAutofit/>
          </a:bodyPr>
          <a:lstStyle>
            <a:lvl1pPr>
              <a:defRPr lang="en-US" sz="1800" dirty="0" smtClean="0"/>
            </a:lvl1pPr>
            <a:lvl2pPr>
              <a:defRPr lang="en-US" sz="1800" dirty="0" smtClean="0"/>
            </a:lvl2pPr>
            <a:lvl3pPr marL="429768" indent="-173736">
              <a:defRPr lang="en-US" sz="1800" dirty="0" smtClean="0"/>
            </a:lvl3pPr>
            <a:lvl4pPr marL="603504" indent="-128016">
              <a:defRPr lang="en-US" sz="1800" dirty="0" smtClean="0"/>
            </a:lvl4pPr>
            <a:lvl5pPr marL="795528" indent="-128016">
              <a:defRPr lang="en-CA" sz="1800"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5" hasCustomPrompt="1"/>
          </p:nvPr>
        </p:nvSpPr>
        <p:spPr>
          <a:xfrm>
            <a:off x="6298692" y="1294430"/>
            <a:ext cx="2496312" cy="292388"/>
          </a:xfrm>
        </p:spPr>
        <p:txBody>
          <a:bodyPr vert="horz" wrap="square" lIns="0" tIns="0" rIns="0" bIns="0" rtlCol="0" anchor="b" anchorCtr="0">
            <a:spAutoFit/>
          </a:bodyPr>
          <a:lstStyle>
            <a:lvl1pPr>
              <a:defRPr lang="en-US" sz="2000" b="1" dirty="0" smtClean="0">
                <a:solidFill>
                  <a:schemeClr val="accent1"/>
                </a:solidFill>
              </a:defRPr>
            </a:lvl1pPr>
          </a:lstStyle>
          <a:p>
            <a:pPr lvl="0"/>
            <a:r>
              <a:rPr lang="en-US" dirty="0"/>
              <a:t>Subtitle</a:t>
            </a:r>
          </a:p>
        </p:txBody>
      </p:sp>
      <p:sp>
        <p:nvSpPr>
          <p:cNvPr id="14" name="Text Placeholder 13"/>
          <p:cNvSpPr>
            <a:spLocks noGrp="1"/>
          </p:cNvSpPr>
          <p:nvPr>
            <p:ph type="body" sz="quarter" idx="17" hasCustomPrompt="1"/>
          </p:nvPr>
        </p:nvSpPr>
        <p:spPr>
          <a:xfrm>
            <a:off x="9200388" y="1294430"/>
            <a:ext cx="2496312" cy="292388"/>
          </a:xfrm>
        </p:spPr>
        <p:txBody>
          <a:bodyPr vert="horz" wrap="square" lIns="0" tIns="0" rIns="0" bIns="0" rtlCol="0" anchor="b" anchorCtr="0">
            <a:spAutoFit/>
          </a:bodyPr>
          <a:lstStyle>
            <a:lvl1pPr>
              <a:defRPr lang="en-US" sz="2000" b="1" dirty="0" smtClean="0">
                <a:solidFill>
                  <a:schemeClr val="accent1"/>
                </a:solidFill>
              </a:defRPr>
            </a:lvl1pPr>
          </a:lstStyle>
          <a:p>
            <a:pPr lvl="0"/>
            <a:r>
              <a:rPr lang="en-US" dirty="0"/>
              <a:t>Subtitle</a:t>
            </a:r>
          </a:p>
        </p:txBody>
      </p:sp>
      <p:sp>
        <p:nvSpPr>
          <p:cNvPr id="4" name="Title 3"/>
          <p:cNvSpPr>
            <a:spLocks noGrp="1"/>
          </p:cNvSpPr>
          <p:nvPr>
            <p:ph type="title"/>
          </p:nvPr>
        </p:nvSpPr>
        <p:spPr>
          <a:xfrm>
            <a:off x="495300" y="279699"/>
            <a:ext cx="11201400" cy="634701"/>
          </a:xfrm>
          <a:prstGeom prst="rect">
            <a:avLst/>
          </a:prstGeom>
        </p:spPr>
        <p:txBody>
          <a:bodyPr/>
          <a:lstStyle/>
          <a:p>
            <a:r>
              <a:rPr lang="en-US" dirty="0"/>
              <a:t>Click to edit Master title style</a:t>
            </a:r>
          </a:p>
        </p:txBody>
      </p:sp>
      <p:sp>
        <p:nvSpPr>
          <p:cNvPr id="25" name="Content Placeholder 14"/>
          <p:cNvSpPr>
            <a:spLocks noGrp="1"/>
          </p:cNvSpPr>
          <p:nvPr>
            <p:ph sz="quarter" idx="20" hasCustomPrompt="1"/>
          </p:nvPr>
        </p:nvSpPr>
        <p:spPr>
          <a:xfrm>
            <a:off x="3396995" y="1796696"/>
            <a:ext cx="2496312" cy="3959013"/>
          </a:xfrm>
        </p:spPr>
        <p:txBody>
          <a:bodyPr vert="horz" lIns="0" tIns="0" rIns="0" bIns="0" rtlCol="0">
            <a:noAutofit/>
          </a:bodyPr>
          <a:lstStyle>
            <a:lvl1pPr>
              <a:defRPr lang="en-US" sz="1800" dirty="0" smtClean="0"/>
            </a:lvl1pPr>
            <a:lvl2pPr>
              <a:defRPr lang="en-US" sz="1800" dirty="0" smtClean="0"/>
            </a:lvl2pPr>
            <a:lvl3pPr marL="429768" indent="-173736">
              <a:defRPr lang="en-US" sz="1800" dirty="0" smtClean="0"/>
            </a:lvl3pPr>
            <a:lvl4pPr marL="603504" indent="-128016">
              <a:defRPr lang="en-US" sz="1800" dirty="0" smtClean="0"/>
            </a:lvl4pPr>
            <a:lvl5pPr marL="795528" indent="-128016">
              <a:defRPr lang="en-CA" sz="1800"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14"/>
          <p:cNvSpPr>
            <a:spLocks noGrp="1"/>
          </p:cNvSpPr>
          <p:nvPr>
            <p:ph sz="quarter" idx="21" hasCustomPrompt="1"/>
          </p:nvPr>
        </p:nvSpPr>
        <p:spPr>
          <a:xfrm>
            <a:off x="6298692" y="1796696"/>
            <a:ext cx="2496312" cy="3959013"/>
          </a:xfrm>
        </p:spPr>
        <p:txBody>
          <a:bodyPr vert="horz" lIns="0" tIns="0" rIns="0" bIns="0" rtlCol="0">
            <a:noAutofit/>
          </a:bodyPr>
          <a:lstStyle>
            <a:lvl1pPr>
              <a:defRPr lang="en-US" sz="1800" dirty="0" smtClean="0"/>
            </a:lvl1pPr>
            <a:lvl2pPr>
              <a:defRPr lang="en-US" sz="1800" dirty="0" smtClean="0"/>
            </a:lvl2pPr>
            <a:lvl3pPr marL="429768" indent="-173736">
              <a:defRPr lang="en-US" sz="1800" dirty="0" smtClean="0"/>
            </a:lvl3pPr>
            <a:lvl4pPr marL="603504" indent="-128016">
              <a:defRPr lang="en-US" sz="1800" dirty="0" smtClean="0"/>
            </a:lvl4pPr>
            <a:lvl5pPr marL="795528" indent="-128016">
              <a:defRPr lang="en-CA" sz="1800"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Content Placeholder 14"/>
          <p:cNvSpPr>
            <a:spLocks noGrp="1"/>
          </p:cNvSpPr>
          <p:nvPr>
            <p:ph sz="quarter" idx="22" hasCustomPrompt="1"/>
          </p:nvPr>
        </p:nvSpPr>
        <p:spPr>
          <a:xfrm>
            <a:off x="9200388" y="1796696"/>
            <a:ext cx="2496312" cy="3959013"/>
          </a:xfrm>
        </p:spPr>
        <p:txBody>
          <a:bodyPr vert="horz" lIns="0" tIns="0" rIns="0" bIns="0" rtlCol="0">
            <a:noAutofit/>
          </a:bodyPr>
          <a:lstStyle>
            <a:lvl1pPr>
              <a:defRPr lang="en-US" sz="1800" dirty="0" smtClean="0"/>
            </a:lvl1pPr>
            <a:lvl2pPr>
              <a:defRPr lang="en-US" sz="1800" dirty="0" smtClean="0"/>
            </a:lvl2pPr>
            <a:lvl3pPr marL="429768" indent="-173736">
              <a:defRPr lang="en-US" sz="1800" dirty="0" smtClean="0"/>
            </a:lvl3pPr>
            <a:lvl4pPr marL="603504" indent="-128016">
              <a:defRPr lang="en-US" sz="1800" dirty="0" smtClean="0"/>
            </a:lvl4pPr>
            <a:lvl5pPr marL="795528" indent="-128016">
              <a:defRPr lang="en-CA" sz="1800"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Slide Number Placeholder 5">
            <a:extLst>
              <a:ext uri="{FF2B5EF4-FFF2-40B4-BE49-F238E27FC236}">
                <a16:creationId xmlns:a16="http://schemas.microsoft.com/office/drawing/2014/main" id="{0C7F2ACA-FF65-4A24-9683-52F687C63A42}"/>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28262380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AFC9CC-2032-475D-91E2-4856E3A2413E}"/>
              </a:ext>
            </a:extLst>
          </p:cNvPr>
          <p:cNvGraphicFramePr>
            <a:graphicFrameLocks noChangeAspect="1"/>
          </p:cNvGraphicFramePr>
          <p:nvPr userDrawn="1">
            <p:custDataLst>
              <p:tags r:id="rId1"/>
            </p:custDataLst>
            <p:extLst>
              <p:ext uri="{D42A27DB-BD31-4B8C-83A1-F6EECF244321}">
                <p14:modId xmlns:p14="http://schemas.microsoft.com/office/powerpoint/2010/main" val="2776119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3" name="Object 2" hidden="1">
                        <a:extLst>
                          <a:ext uri="{FF2B5EF4-FFF2-40B4-BE49-F238E27FC236}">
                            <a16:creationId xmlns:a16="http://schemas.microsoft.com/office/drawing/2014/main" id="{57AFC9CC-2032-475D-91E2-4856E3A241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EE6D920-8E27-44AE-8FC4-AD04BAD0052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4" name="Title 3"/>
          <p:cNvSpPr>
            <a:spLocks noGrp="1"/>
          </p:cNvSpPr>
          <p:nvPr>
            <p:ph type="title" hasCustomPrompt="1"/>
          </p:nvPr>
        </p:nvSpPr>
        <p:spPr>
          <a:xfrm>
            <a:off x="495300" y="283922"/>
            <a:ext cx="11201400" cy="673508"/>
          </a:xfrm>
          <a:prstGeom prst="rect">
            <a:avLst/>
          </a:prstGeom>
        </p:spPr>
        <p:txBody>
          <a:bodyPr/>
          <a:lstStyle>
            <a:lvl1pPr>
              <a:defRPr/>
            </a:lvl1pPr>
          </a:lstStyle>
          <a:p>
            <a:r>
              <a:rPr lang="en-US" dirty="0"/>
              <a:t>Title Only Layout</a:t>
            </a:r>
          </a:p>
        </p:txBody>
      </p:sp>
      <p:sp>
        <p:nvSpPr>
          <p:cNvPr id="6" name="Slide Number Placeholder 5">
            <a:extLst>
              <a:ext uri="{FF2B5EF4-FFF2-40B4-BE49-F238E27FC236}">
                <a16:creationId xmlns:a16="http://schemas.microsoft.com/office/drawing/2014/main" id="{706FFDDD-5D0F-4241-A4FA-774C4BA7D7C8}"/>
              </a:ext>
            </a:extLst>
          </p:cNvPr>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255008736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torytelling 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D01FD85-5FC3-45E1-8C54-36736713F820}"/>
              </a:ext>
            </a:extLst>
          </p:cNvPr>
          <p:cNvGraphicFramePr>
            <a:graphicFrameLocks noChangeAspect="1"/>
          </p:cNvGraphicFramePr>
          <p:nvPr userDrawn="1">
            <p:custDataLst>
              <p:tags r:id="rId1"/>
            </p:custDataLst>
            <p:extLst>
              <p:ext uri="{D42A27DB-BD31-4B8C-83A1-F6EECF244321}">
                <p14:modId xmlns:p14="http://schemas.microsoft.com/office/powerpoint/2010/main" val="2771354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5" name="Object 4" hidden="1">
                        <a:extLst>
                          <a:ext uri="{FF2B5EF4-FFF2-40B4-BE49-F238E27FC236}">
                            <a16:creationId xmlns:a16="http://schemas.microsoft.com/office/drawing/2014/main" id="{5D01FD85-5FC3-45E1-8C54-36736713F8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6754A5-B9FC-4AE1-BFD1-5213F4F3DD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2" name="Title 1"/>
          <p:cNvSpPr>
            <a:spLocks noGrp="1"/>
          </p:cNvSpPr>
          <p:nvPr>
            <p:ph type="title"/>
          </p:nvPr>
        </p:nvSpPr>
        <p:spPr>
          <a:xfrm>
            <a:off x="495300" y="283917"/>
            <a:ext cx="11201400" cy="501386"/>
          </a:xfrm>
          <a:prstGeom prst="rect">
            <a:avLst/>
          </a:prstGeom>
        </p:spPr>
        <p:txBody>
          <a:bodyPr/>
          <a:lstStyle>
            <a:lvl1pPr>
              <a:defRPr/>
            </a:lvl1pPr>
          </a:lstStyle>
          <a:p>
            <a:r>
              <a:rPr lang="en-US" dirty="0"/>
              <a:t>Click to edit Master title style</a:t>
            </a:r>
          </a:p>
        </p:txBody>
      </p:sp>
      <p:sp>
        <p:nvSpPr>
          <p:cNvPr id="4" name="Slide Number Placeholder 3"/>
          <p:cNvSpPr>
            <a:spLocks noGrp="1"/>
          </p:cNvSpPr>
          <p:nvPr>
            <p:ph type="sldNum" sz="quarter" idx="11"/>
          </p:nvPr>
        </p:nvSpPr>
        <p:spPr/>
        <p:txBody>
          <a:bodyPr/>
          <a:lstStyle/>
          <a:p>
            <a:fld id="{00E6A5BD-C011-4A45-AA3A-201790FB7F2B}" type="slidenum">
              <a:rPr lang="en-US" smtClean="0"/>
              <a:pPr/>
              <a:t>‹#›</a:t>
            </a:fld>
            <a:endParaRPr lang="en-US" dirty="0"/>
          </a:p>
        </p:txBody>
      </p:sp>
      <p:sp>
        <p:nvSpPr>
          <p:cNvPr id="6" name="Content Placeholder 2"/>
          <p:cNvSpPr>
            <a:spLocks noGrp="1"/>
          </p:cNvSpPr>
          <p:nvPr>
            <p:ph idx="1" hasCustomPrompt="1"/>
          </p:nvPr>
        </p:nvSpPr>
        <p:spPr>
          <a:xfrm>
            <a:off x="495300" y="1377250"/>
            <a:ext cx="11201400" cy="4319584"/>
          </a:xfrm>
        </p:spPr>
        <p:txBody>
          <a:bodyPr/>
          <a:lstStyle>
            <a:lvl1pPr>
              <a:defRPr sz="2800">
                <a:solidFill>
                  <a:schemeClr val="accent1"/>
                </a:solidFill>
              </a:defRPr>
            </a:lvl1pPr>
            <a:lvl2pPr marL="237744" indent="-182880">
              <a:defRPr sz="2600"/>
            </a:lvl2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4227750775"/>
      </p:ext>
    </p:extLst>
  </p:cSld>
  <p:clrMapOvr>
    <a:masterClrMapping/>
  </p:clrMapOvr>
  <p:extLst>
    <p:ext uri="{DCECCB84-F9BA-43D5-87BE-67443E8EF086}">
      <p15:sldGuideLst xmlns:p15="http://schemas.microsoft.com/office/powerpoint/2012/main">
        <p15:guide id="1" orient="horz" pos="105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606856-79DE-445C-8052-F686B0121BBE}"/>
              </a:ext>
            </a:extLst>
          </p:cNvPr>
          <p:cNvGraphicFramePr>
            <a:graphicFrameLocks noChangeAspect="1"/>
          </p:cNvGraphicFramePr>
          <p:nvPr userDrawn="1">
            <p:custDataLst>
              <p:tags r:id="rId1"/>
            </p:custDataLst>
            <p:extLst>
              <p:ext uri="{D42A27DB-BD31-4B8C-83A1-F6EECF244321}">
                <p14:modId xmlns:p14="http://schemas.microsoft.com/office/powerpoint/2010/main" val="4002109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3" name="Object 2" hidden="1">
                        <a:extLst>
                          <a:ext uri="{FF2B5EF4-FFF2-40B4-BE49-F238E27FC236}">
                            <a16:creationId xmlns:a16="http://schemas.microsoft.com/office/drawing/2014/main" id="{0C606856-79DE-445C-8052-F686B0121B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EE6968-CBC4-4CE1-B710-1AB37AD3B60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13" name="Table Placeholder 12"/>
          <p:cNvSpPr>
            <a:spLocks noGrp="1"/>
          </p:cNvSpPr>
          <p:nvPr>
            <p:ph type="tbl" sz="quarter" idx="13"/>
          </p:nvPr>
        </p:nvSpPr>
        <p:spPr>
          <a:xfrm>
            <a:off x="495300" y="1439569"/>
            <a:ext cx="11201400" cy="4368882"/>
          </a:xfrm>
        </p:spPr>
        <p:txBody>
          <a:bodyPr/>
          <a:lstStyle/>
          <a:p>
            <a:r>
              <a:rPr lang="en-US" dirty="0"/>
              <a:t>Click icon to add table</a:t>
            </a:r>
          </a:p>
        </p:txBody>
      </p:sp>
      <p:sp>
        <p:nvSpPr>
          <p:cNvPr id="5" name="Slide Number Placeholder 4"/>
          <p:cNvSpPr>
            <a:spLocks noGrp="1"/>
          </p:cNvSpPr>
          <p:nvPr>
            <p:ph type="sldNum" sz="quarter" idx="16"/>
          </p:nvPr>
        </p:nvSpPr>
        <p:spPr/>
        <p:txBody>
          <a:bodyPr/>
          <a:lstStyle/>
          <a:p>
            <a:fld id="{00E6A5BD-C011-4A45-AA3A-201790FB7F2B}" type="slidenum">
              <a:rPr lang="en-US" smtClean="0"/>
              <a:pPr/>
              <a:t>‹#›</a:t>
            </a:fld>
            <a:endParaRPr lang="en-US" dirty="0"/>
          </a:p>
        </p:txBody>
      </p:sp>
      <p:sp>
        <p:nvSpPr>
          <p:cNvPr id="6" name="Title 5"/>
          <p:cNvSpPr>
            <a:spLocks noGrp="1"/>
          </p:cNvSpPr>
          <p:nvPr>
            <p:ph type="title" hasCustomPrompt="1"/>
          </p:nvPr>
        </p:nvSpPr>
        <p:spPr>
          <a:xfrm>
            <a:off x="495300" y="283924"/>
            <a:ext cx="11201400" cy="501386"/>
          </a:xfrm>
          <a:prstGeom prst="rect">
            <a:avLst/>
          </a:prstGeom>
        </p:spPr>
        <p:txBody>
          <a:bodyPr/>
          <a:lstStyle>
            <a:lvl1pPr>
              <a:defRPr/>
            </a:lvl1pPr>
          </a:lstStyle>
          <a:p>
            <a:r>
              <a:rPr lang="en-US" dirty="0"/>
              <a:t>Table Layout</a:t>
            </a:r>
          </a:p>
        </p:txBody>
      </p:sp>
    </p:spTree>
    <p:extLst>
      <p:ext uri="{BB962C8B-B14F-4D97-AF65-F5344CB8AC3E}">
        <p14:creationId xmlns:p14="http://schemas.microsoft.com/office/powerpoint/2010/main" val="325945920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7C53E2-F1BF-4957-B7A0-957060932332}"/>
              </a:ext>
            </a:extLst>
          </p:cNvPr>
          <p:cNvGraphicFramePr>
            <a:graphicFrameLocks noChangeAspect="1"/>
          </p:cNvGraphicFramePr>
          <p:nvPr userDrawn="1">
            <p:custDataLst>
              <p:tags r:id="rId1"/>
            </p:custDataLst>
            <p:extLst>
              <p:ext uri="{D42A27DB-BD31-4B8C-83A1-F6EECF244321}">
                <p14:modId xmlns:p14="http://schemas.microsoft.com/office/powerpoint/2010/main" val="3453177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4" name="Object 3" hidden="1">
                        <a:extLst>
                          <a:ext uri="{FF2B5EF4-FFF2-40B4-BE49-F238E27FC236}">
                            <a16:creationId xmlns:a16="http://schemas.microsoft.com/office/drawing/2014/main" id="{B57C53E2-F1BF-4957-B7A0-9570609323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3D2FC8-3171-4BDC-9F47-AC941601E48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2" name="Title 1"/>
          <p:cNvSpPr>
            <a:spLocks noGrp="1"/>
          </p:cNvSpPr>
          <p:nvPr>
            <p:ph type="title"/>
          </p:nvPr>
        </p:nvSpPr>
        <p:spPr>
          <a:xfrm>
            <a:off x="495300" y="284150"/>
            <a:ext cx="11201400" cy="914400"/>
          </a:xfrm>
          <a:prstGeom prst="rect">
            <a:avLst/>
          </a:prstGeom>
        </p:spPr>
        <p:txBody>
          <a:bodyPr/>
          <a:lstStyle/>
          <a:p>
            <a:r>
              <a:rPr lang="en-US" dirty="0"/>
              <a:t>Click to edit Master title style</a:t>
            </a:r>
          </a:p>
        </p:txBody>
      </p:sp>
      <p:sp>
        <p:nvSpPr>
          <p:cNvPr id="7" name="Chart Placeholder 6"/>
          <p:cNvSpPr>
            <a:spLocks noGrp="1"/>
          </p:cNvSpPr>
          <p:nvPr>
            <p:ph type="chart" sz="quarter" idx="13"/>
          </p:nvPr>
        </p:nvSpPr>
        <p:spPr>
          <a:xfrm>
            <a:off x="495299" y="1757632"/>
            <a:ext cx="11360369" cy="4096512"/>
          </a:xfrm>
        </p:spPr>
        <p:txBody>
          <a:bodyPr anchor="ctr"/>
          <a:lstStyle>
            <a:lvl1pPr algn="ctr">
              <a:defRPr/>
            </a:lvl1pPr>
          </a:lstStyle>
          <a:p>
            <a:r>
              <a:rPr lang="en-US" dirty="0"/>
              <a:t>Click icon to add chart</a:t>
            </a:r>
          </a:p>
        </p:txBody>
      </p:sp>
      <p:sp>
        <p:nvSpPr>
          <p:cNvPr id="8" name="Text Placeholder 2"/>
          <p:cNvSpPr>
            <a:spLocks noGrp="1"/>
          </p:cNvSpPr>
          <p:nvPr>
            <p:ph type="body" idx="14" hasCustomPrompt="1"/>
          </p:nvPr>
        </p:nvSpPr>
        <p:spPr>
          <a:xfrm>
            <a:off x="495300" y="1384105"/>
            <a:ext cx="4937760" cy="246221"/>
          </a:xfrm>
        </p:spPr>
        <p:txBody>
          <a:bodyPr vert="horz" wrap="square" lIns="0" tIns="0" rIns="0" bIns="0" rtlCol="0" anchor="b" anchorCtr="0">
            <a:noAutofit/>
          </a:bodyPr>
          <a:lstStyle>
            <a:lvl1pPr>
              <a:defRPr lang="en-US" sz="1600" b="1" dirty="0">
                <a:solidFill>
                  <a:schemeClr val="accent1"/>
                </a:solidFill>
              </a:defRPr>
            </a:lvl1pPr>
          </a:lstStyle>
          <a:p>
            <a:pPr lvl="0"/>
            <a:r>
              <a:rPr lang="en-US" dirty="0"/>
              <a:t>Optional Subtitle</a:t>
            </a:r>
          </a:p>
        </p:txBody>
      </p:sp>
      <p:sp>
        <p:nvSpPr>
          <p:cNvPr id="15" name="Slide Number Placeholder 14"/>
          <p:cNvSpPr>
            <a:spLocks noGrp="1"/>
          </p:cNvSpPr>
          <p:nvPr>
            <p:ph type="sldNum" sz="quarter" idx="17"/>
          </p:nvPr>
        </p:nvSpPr>
        <p:spPr/>
        <p:txBody>
          <a:bodyPr/>
          <a:lstStyle/>
          <a:p>
            <a:fld id="{00E6A5BD-C011-4A45-AA3A-201790FB7F2B}" type="slidenum">
              <a:rPr lang="en-US" smtClean="0"/>
              <a:pPr/>
              <a:t>‹#›</a:t>
            </a:fld>
            <a:endParaRPr lang="en-US" dirty="0"/>
          </a:p>
        </p:txBody>
      </p:sp>
    </p:spTree>
    <p:extLst>
      <p:ext uri="{BB962C8B-B14F-4D97-AF65-F5344CB8AC3E}">
        <p14:creationId xmlns:p14="http://schemas.microsoft.com/office/powerpoint/2010/main" val="16806632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theme" Target="../theme/theme2.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tags" Target="../tags/tag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tags" Target="../tags/tag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image" Target="../media/image9.emf"/><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theme" Target="../theme/theme3.xml"/><Relationship Id="rId30"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29" Type="http://schemas.openxmlformats.org/officeDocument/2006/relationships/tags" Target="../tags/tag50.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tags" Target="../tags/tag49.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31" Type="http://schemas.openxmlformats.org/officeDocument/2006/relationships/image" Target="../media/image9.emf"/><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theme" Target="../theme/theme4.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612648" y="6345936"/>
            <a:ext cx="384048" cy="384048"/>
          </a:xfrm>
          <a:prstGeom prst="rect">
            <a:avLst/>
          </a:prstGeom>
        </p:spPr>
      </p:pic>
      <p:sp>
        <p:nvSpPr>
          <p:cNvPr id="2" name="Title Placeholder 1"/>
          <p:cNvSpPr>
            <a:spLocks noGrp="1"/>
          </p:cNvSpPr>
          <p:nvPr>
            <p:ph type="title"/>
          </p:nvPr>
        </p:nvSpPr>
        <p:spPr>
          <a:xfrm>
            <a:off x="1627188" y="222086"/>
            <a:ext cx="8997696" cy="914400"/>
          </a:xfrm>
          <a:prstGeom prst="rect">
            <a:avLst/>
          </a:prstGeom>
        </p:spPr>
        <p:txBody>
          <a:bodyPr vert="horz" lIns="0" tIns="0" rIns="0" bIns="0" rtlCol="0" anchor="ctr"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1627189" y="1846398"/>
            <a:ext cx="8997696" cy="43434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4" name="Date Placeholder 3"/>
          <p:cNvSpPr>
            <a:spLocks noGrp="1"/>
          </p:cNvSpPr>
          <p:nvPr>
            <p:ph type="dt" sz="half" idx="2"/>
          </p:nvPr>
        </p:nvSpPr>
        <p:spPr>
          <a:xfrm>
            <a:off x="9537192" y="6472936"/>
            <a:ext cx="1876388" cy="182880"/>
          </a:xfrm>
          <a:prstGeom prst="rect">
            <a:avLst/>
          </a:prstGeom>
        </p:spPr>
        <p:txBody>
          <a:bodyPr vert="horz" lIns="0" tIns="0" rIns="0" bIns="0" rtlCol="0" anchor="t" anchorCtr="0">
            <a:noAutofit/>
          </a:bodyPr>
          <a:lstStyle>
            <a:lvl1pPr algn="r">
              <a:defRPr sz="1200">
                <a:solidFill>
                  <a:schemeClr val="accent2"/>
                </a:solidFill>
              </a:defRPr>
            </a:lvl1pPr>
          </a:lstStyle>
          <a:p>
            <a:fld id="{59AD7A44-F5B9-48AC-81DD-DBE0808B6C3A}" type="datetime4">
              <a:rPr lang="en-US" smtClean="0"/>
              <a:t>October 18, 2021</a:t>
            </a:fld>
            <a:endParaRPr lang="en-CA" dirty="0"/>
          </a:p>
        </p:txBody>
      </p:sp>
      <p:sp>
        <p:nvSpPr>
          <p:cNvPr id="5" name="Footer Placeholder 4"/>
          <p:cNvSpPr>
            <a:spLocks noGrp="1"/>
          </p:cNvSpPr>
          <p:nvPr>
            <p:ph type="ftr" sz="quarter" idx="3"/>
          </p:nvPr>
        </p:nvSpPr>
        <p:spPr>
          <a:xfrm>
            <a:off x="1627632" y="6472976"/>
            <a:ext cx="2688336" cy="182880"/>
          </a:xfrm>
          <a:prstGeom prst="rect">
            <a:avLst/>
          </a:prstGeom>
        </p:spPr>
        <p:txBody>
          <a:bodyPr vert="horz" lIns="0" tIns="0" rIns="0" bIns="0" rtlCol="0" anchor="t" anchorCtr="0">
            <a:noAutofit/>
          </a:bodyPr>
          <a:lstStyle>
            <a:lvl1pPr algn="l">
              <a:defRPr sz="1200">
                <a:solidFill>
                  <a:schemeClr val="accent2"/>
                </a:solidFill>
              </a:defRPr>
            </a:lvl1pPr>
          </a:lstStyle>
          <a:p>
            <a:r>
              <a:rPr lang="en-CA"/>
              <a:t>Presentation Title</a:t>
            </a:r>
            <a:endParaRPr lang="en-CA" dirty="0"/>
          </a:p>
        </p:txBody>
      </p:sp>
      <p:sp>
        <p:nvSpPr>
          <p:cNvPr id="6" name="Slide Number Placeholder 5"/>
          <p:cNvSpPr>
            <a:spLocks noGrp="1"/>
          </p:cNvSpPr>
          <p:nvPr>
            <p:ph type="sldNum" sz="quarter" idx="4"/>
          </p:nvPr>
        </p:nvSpPr>
        <p:spPr>
          <a:xfrm>
            <a:off x="11413998" y="6475080"/>
            <a:ext cx="329636" cy="182880"/>
          </a:xfrm>
          <a:prstGeom prst="rect">
            <a:avLst/>
          </a:prstGeom>
        </p:spPr>
        <p:txBody>
          <a:bodyPr vert="horz" lIns="0" tIns="0" rIns="0" bIns="0" rtlCol="0" anchor="t" anchorCtr="0">
            <a:noAutofit/>
          </a:bodyPr>
          <a:lstStyle>
            <a:lvl1pPr algn="r">
              <a:defRPr sz="1200">
                <a:solidFill>
                  <a:schemeClr val="accent2"/>
                </a:solidFill>
              </a:defRPr>
            </a:lvl1pPr>
          </a:lstStyle>
          <a:p>
            <a:fld id="{00E6A5BD-C011-4A45-AA3A-201790FB7F2B}" type="slidenum">
              <a:rPr lang="en-CA" smtClean="0"/>
              <a:pPr/>
              <a:t>‹#›</a:t>
            </a:fld>
            <a:endParaRPr lang="en-CA" dirty="0"/>
          </a:p>
        </p:txBody>
      </p:sp>
      <p:cxnSp>
        <p:nvCxnSpPr>
          <p:cNvPr id="11" name="Straight Connector 10"/>
          <p:cNvCxnSpPr/>
          <p:nvPr/>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379976" y="6475913"/>
            <a:ext cx="5157216" cy="182880"/>
          </a:xfrm>
          <a:prstGeom prst="rect">
            <a:avLst/>
          </a:prstGeom>
          <a:noFill/>
        </p:spPr>
        <p:txBody>
          <a:bodyPr wrap="square" lIns="0" tIns="0" rIns="0" bIns="0" rtlCol="0">
            <a:noAutofit/>
          </a:bodyPr>
          <a:lstStyle/>
          <a:p>
            <a:r>
              <a:rPr lang="en-CA" sz="1200" dirty="0">
                <a:solidFill>
                  <a:schemeClr val="accent2"/>
                </a:solidFill>
              </a:rPr>
              <a:t>Confidential. Not to be copied, distributed, or reproduced without prior approval. </a:t>
            </a:r>
          </a:p>
        </p:txBody>
      </p:sp>
      <p:cxnSp>
        <p:nvCxnSpPr>
          <p:cNvPr id="10" name="Straight Connector 9"/>
          <p:cNvCxnSpPr/>
          <p:nvPr userDrawn="1"/>
        </p:nvCxnSpPr>
        <p:spPr>
          <a:xfrm>
            <a:off x="1627188" y="6410996"/>
            <a:ext cx="10115740"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3805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Lst>
  <p:hf hdr="0"/>
  <p:txStyles>
    <p:titleStyle>
      <a:lvl1pPr algn="l" defTabSz="914400" rtl="0" eaLnBrk="1" latinLnBrk="0" hangingPunct="1">
        <a:lnSpc>
          <a:spcPct val="90000"/>
        </a:lnSpc>
        <a:spcBef>
          <a:spcPct val="0"/>
        </a:spcBef>
        <a:buNone/>
        <a:defRPr sz="3600" kern="1200">
          <a:solidFill>
            <a:schemeClr val="accent2"/>
          </a:solidFill>
          <a:latin typeface="+mj-lt"/>
          <a:ea typeface="+mj-ea"/>
          <a:cs typeface="+mj-cs"/>
        </a:defRPr>
      </a:lvl1pPr>
    </p:titleStyle>
    <p:bodyStyle>
      <a:lvl1pPr marL="192024" indent="-192024" algn="l" defTabSz="914400" rtl="0" eaLnBrk="1" latinLnBrk="0" hangingPunct="1">
        <a:lnSpc>
          <a:spcPct val="99000"/>
        </a:lnSpc>
        <a:spcBef>
          <a:spcPts val="1400"/>
        </a:spcBef>
        <a:spcAft>
          <a:spcPts val="0"/>
        </a:spcAft>
        <a:buFont typeface="Arial" panose="020B0604020202020204" pitchFamily="34" charset="0"/>
        <a:buChar char="•"/>
        <a:defRPr sz="2800" kern="1200">
          <a:solidFill>
            <a:schemeClr val="accent2"/>
          </a:solidFill>
          <a:latin typeface="+mn-lt"/>
          <a:ea typeface="+mn-ea"/>
          <a:cs typeface="+mn-cs"/>
        </a:defRPr>
      </a:lvl1pPr>
      <a:lvl2pPr marL="192024" indent="0" algn="l" defTabSz="914400" rtl="0" eaLnBrk="1" latinLnBrk="0" hangingPunct="1">
        <a:lnSpc>
          <a:spcPct val="99000"/>
        </a:lnSpc>
        <a:spcBef>
          <a:spcPts val="0"/>
        </a:spcBef>
        <a:buFontTx/>
        <a:buNone/>
        <a:defRPr sz="2800" kern="1200">
          <a:solidFill>
            <a:schemeClr val="accent2"/>
          </a:solidFill>
          <a:latin typeface="+mn-lt"/>
          <a:ea typeface="+mn-ea"/>
          <a:cs typeface="+mn-cs"/>
        </a:defRPr>
      </a:lvl2pPr>
      <a:lvl3pPr marL="192088" indent="-192088" algn="l" defTabSz="914400" rtl="0" eaLnBrk="1" latinLnBrk="0" hangingPunct="1">
        <a:lnSpc>
          <a:spcPct val="99000"/>
        </a:lnSpc>
        <a:spcBef>
          <a:spcPts val="1200"/>
        </a:spcBef>
        <a:buSzPct val="91000"/>
        <a:buFont typeface="Arial" panose="020B0604020202020204" pitchFamily="34" charset="0"/>
        <a:buChar char="•"/>
        <a:defRPr sz="2400" kern="1200">
          <a:solidFill>
            <a:schemeClr val="accent2"/>
          </a:solidFill>
          <a:latin typeface="+mn-lt"/>
          <a:ea typeface="+mn-ea"/>
          <a:cs typeface="+mn-cs"/>
        </a:defRPr>
      </a:lvl3pPr>
      <a:lvl4pPr marL="192024" indent="0" algn="l" defTabSz="914400" rtl="0" eaLnBrk="1" latinLnBrk="0" hangingPunct="1">
        <a:lnSpc>
          <a:spcPct val="99000"/>
        </a:lnSpc>
        <a:spcBef>
          <a:spcPts val="0"/>
        </a:spcBef>
        <a:buFontTx/>
        <a:buNone/>
        <a:defRPr sz="2400" kern="1200">
          <a:solidFill>
            <a:schemeClr val="accent2"/>
          </a:solidFill>
          <a:latin typeface="+mn-lt"/>
          <a:ea typeface="+mn-ea"/>
          <a:cs typeface="+mn-cs"/>
        </a:defRPr>
      </a:lvl4pPr>
      <a:lvl5pPr marL="192024" indent="-192024" algn="l" defTabSz="914400" rtl="0" eaLnBrk="1" latinLnBrk="0" hangingPunct="1">
        <a:lnSpc>
          <a:spcPct val="99000"/>
        </a:lnSpc>
        <a:spcBef>
          <a:spcPts val="900"/>
        </a:spcBef>
        <a:buSzPct val="91000"/>
        <a:buFont typeface="Arial" panose="020B0604020202020204" pitchFamily="34" charset="0"/>
        <a:buChar char="•"/>
        <a:defRPr sz="18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509833"/>
            <a:ext cx="11201400" cy="914400"/>
          </a:xfrm>
          <a:prstGeom prst="rect">
            <a:avLst/>
          </a:prstGeom>
        </p:spPr>
        <p:txBody>
          <a:bodyPr vert="horz" lIns="0" tIns="0" rIns="0" bIns="0" rtlCol="0" anchor="t" anchorCtr="0">
            <a:noAutofit/>
          </a:bodyPr>
          <a:lstStyle/>
          <a:p>
            <a:r>
              <a:rPr lang="en-US"/>
              <a:t>Click to edit Master title style</a:t>
            </a:r>
            <a:endParaRPr lang="en-CA" dirty="0"/>
          </a:p>
        </p:txBody>
      </p:sp>
      <p:sp>
        <p:nvSpPr>
          <p:cNvPr id="3" name="Text Placeholder 2"/>
          <p:cNvSpPr>
            <a:spLocks noGrp="1"/>
          </p:cNvSpPr>
          <p:nvPr>
            <p:ph type="body" idx="1"/>
          </p:nvPr>
        </p:nvSpPr>
        <p:spPr>
          <a:xfrm>
            <a:off x="495300" y="1793081"/>
            <a:ext cx="11201400" cy="43053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4" name="Date Placeholder 3"/>
          <p:cNvSpPr>
            <a:spLocks noGrp="1"/>
          </p:cNvSpPr>
          <p:nvPr>
            <p:ph type="dt" sz="half" idx="2"/>
          </p:nvPr>
        </p:nvSpPr>
        <p:spPr>
          <a:xfrm>
            <a:off x="4598624" y="6432462"/>
            <a:ext cx="1671207" cy="182880"/>
          </a:xfrm>
          <a:prstGeom prst="rect">
            <a:avLst/>
          </a:prstGeom>
        </p:spPr>
        <p:txBody>
          <a:bodyPr vert="horz" lIns="0" tIns="0" rIns="0" bIns="0" rtlCol="0" anchor="t" anchorCtr="0">
            <a:noAutofit/>
          </a:bodyPr>
          <a:lstStyle>
            <a:lvl1pPr algn="l">
              <a:defRPr sz="1000">
                <a:solidFill>
                  <a:schemeClr val="accent2"/>
                </a:solidFill>
              </a:defRPr>
            </a:lvl1pPr>
          </a:lstStyle>
          <a:p>
            <a:fld id="{1DA7F962-FDF8-4A67-BC5A-4CB73908D4A5}" type="datetime4">
              <a:rPr lang="en-US" smtClean="0"/>
              <a:t>October 18, 2021</a:t>
            </a:fld>
            <a:endParaRPr lang="en-CA" dirty="0"/>
          </a:p>
        </p:txBody>
      </p:sp>
      <p:sp>
        <p:nvSpPr>
          <p:cNvPr id="6" name="Slide Number Placeholder 5"/>
          <p:cNvSpPr>
            <a:spLocks noGrp="1"/>
          </p:cNvSpPr>
          <p:nvPr>
            <p:ph type="sldNum" sz="quarter" idx="4"/>
          </p:nvPr>
        </p:nvSpPr>
        <p:spPr>
          <a:xfrm>
            <a:off x="11371032" y="6432462"/>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CA" smtClean="0"/>
              <a:pPr/>
              <a:t>‹#›</a:t>
            </a:fld>
            <a:endParaRPr lang="en-CA" dirty="0"/>
          </a:p>
        </p:txBody>
      </p:sp>
      <p:sp>
        <p:nvSpPr>
          <p:cNvPr id="12" name="TextBox 11"/>
          <p:cNvSpPr txBox="1"/>
          <p:nvPr/>
        </p:nvSpPr>
        <p:spPr>
          <a:xfrm>
            <a:off x="6475011" y="6432462"/>
            <a:ext cx="4540651" cy="182880"/>
          </a:xfrm>
          <a:prstGeom prst="rect">
            <a:avLst/>
          </a:prstGeom>
          <a:noFill/>
        </p:spPr>
        <p:txBody>
          <a:bodyPr wrap="square" lIns="0" tIns="0" rIns="0" bIns="0" rtlCol="0">
            <a:noAutofit/>
          </a:bodyPr>
          <a:lstStyle/>
          <a:p>
            <a:r>
              <a:rPr lang="en-US" sz="1000" kern="1200" dirty="0">
                <a:solidFill>
                  <a:schemeClr val="accent2"/>
                </a:solidFill>
                <a:latin typeface="+mn-lt"/>
                <a:ea typeface="+mn-ea"/>
                <a:cs typeface="+mn-cs"/>
              </a:rPr>
              <a:t>Copyright © General Electric Company.</a:t>
            </a:r>
            <a:endParaRPr lang="en-CA" sz="1000" dirty="0">
              <a:solidFill>
                <a:schemeClr val="accent2"/>
              </a:solidFill>
            </a:endParaRPr>
          </a:p>
        </p:txBody>
      </p:sp>
      <p:sp>
        <p:nvSpPr>
          <p:cNvPr id="8" name="Footer Placeholder 7"/>
          <p:cNvSpPr>
            <a:spLocks noGrp="1"/>
          </p:cNvSpPr>
          <p:nvPr>
            <p:ph type="ftr" sz="quarter" idx="3"/>
          </p:nvPr>
        </p:nvSpPr>
        <p:spPr>
          <a:xfrm>
            <a:off x="1269205" y="6432462"/>
            <a:ext cx="3229587" cy="182880"/>
          </a:xfrm>
          <a:prstGeom prst="rect">
            <a:avLst/>
          </a:prstGeom>
        </p:spPr>
        <p:txBody>
          <a:bodyPr vert="horz" lIns="0" tIns="0" rIns="0" bIns="0" rtlCol="0" anchor="t" anchorCtr="0"/>
          <a:lstStyle>
            <a:lvl1pPr algn="r">
              <a:defRPr sz="1000">
                <a:solidFill>
                  <a:schemeClr val="tx1"/>
                </a:solidFill>
              </a:defRPr>
            </a:lvl1pPr>
          </a:lstStyle>
          <a:p>
            <a:endParaRPr lang="en-US" dirty="0"/>
          </a:p>
        </p:txBody>
      </p:sp>
      <p:sp>
        <p:nvSpPr>
          <p:cNvPr id="10" name="Freeform 5"/>
          <p:cNvSpPr>
            <a:spLocks noChangeAspect="1" noEditPoints="1"/>
          </p:cNvSpPr>
          <p:nvPr userDrawn="1"/>
        </p:nvSpPr>
        <p:spPr bwMode="auto">
          <a:xfrm>
            <a:off x="515012" y="6312756"/>
            <a:ext cx="384048" cy="384048"/>
          </a:xfrm>
          <a:custGeom>
            <a:avLst/>
            <a:gdLst>
              <a:gd name="T0" fmla="*/ 3869 w 5760"/>
              <a:gd name="T1" fmla="*/ 1545 h 5760"/>
              <a:gd name="T2" fmla="*/ 2018 w 5760"/>
              <a:gd name="T3" fmla="*/ 2250 h 5760"/>
              <a:gd name="T4" fmla="*/ 2018 w 5760"/>
              <a:gd name="T5" fmla="*/ 2250 h 5760"/>
              <a:gd name="T6" fmla="*/ 1556 w 5760"/>
              <a:gd name="T7" fmla="*/ 3934 h 5760"/>
              <a:gd name="T8" fmla="*/ 1755 w 5760"/>
              <a:gd name="T9" fmla="*/ 4133 h 5760"/>
              <a:gd name="T10" fmla="*/ 3470 w 5760"/>
              <a:gd name="T11" fmla="*/ 3455 h 5760"/>
              <a:gd name="T12" fmla="*/ 3861 w 5760"/>
              <a:gd name="T13" fmla="*/ 3710 h 5760"/>
              <a:gd name="T14" fmla="*/ 3933 w 5760"/>
              <a:gd name="T15" fmla="*/ 3255 h 5760"/>
              <a:gd name="T16" fmla="*/ 3734 w 5760"/>
              <a:gd name="T17" fmla="*/ 4133 h 5760"/>
              <a:gd name="T18" fmla="*/ 3694 w 5760"/>
              <a:gd name="T19" fmla="*/ 2712 h 5760"/>
              <a:gd name="T20" fmla="*/ 3905 w 5760"/>
              <a:gd name="T21" fmla="*/ 2466 h 5760"/>
              <a:gd name="T22" fmla="*/ 3574 w 5760"/>
              <a:gd name="T23" fmla="*/ 2354 h 5760"/>
              <a:gd name="T24" fmla="*/ 3853 w 5760"/>
              <a:gd name="T25" fmla="*/ 1324 h 5760"/>
              <a:gd name="T26" fmla="*/ 3295 w 5760"/>
              <a:gd name="T27" fmla="*/ 2298 h 5760"/>
              <a:gd name="T28" fmla="*/ 2685 w 5760"/>
              <a:gd name="T29" fmla="*/ 2469 h 5760"/>
              <a:gd name="T30" fmla="*/ 2816 w 5760"/>
              <a:gd name="T31" fmla="*/ 1987 h 5760"/>
              <a:gd name="T32" fmla="*/ 2170 w 5760"/>
              <a:gd name="T33" fmla="*/ 2593 h 5760"/>
              <a:gd name="T34" fmla="*/ 2712 w 5760"/>
              <a:gd name="T35" fmla="*/ 1580 h 5760"/>
              <a:gd name="T36" fmla="*/ 1779 w 5760"/>
              <a:gd name="T37" fmla="*/ 2274 h 5760"/>
              <a:gd name="T38" fmla="*/ 1643 w 5760"/>
              <a:gd name="T39" fmla="*/ 1795 h 5760"/>
              <a:gd name="T40" fmla="*/ 1388 w 5760"/>
              <a:gd name="T41" fmla="*/ 2066 h 5760"/>
              <a:gd name="T42" fmla="*/ 2122 w 5760"/>
              <a:gd name="T43" fmla="*/ 2792 h 5760"/>
              <a:gd name="T44" fmla="*/ 2417 w 5760"/>
              <a:gd name="T45" fmla="*/ 2832 h 5760"/>
              <a:gd name="T46" fmla="*/ 1292 w 5760"/>
              <a:gd name="T47" fmla="*/ 3917 h 5760"/>
              <a:gd name="T48" fmla="*/ 2537 w 5760"/>
              <a:gd name="T49" fmla="*/ 3678 h 5760"/>
              <a:gd name="T50" fmla="*/ 3374 w 5760"/>
              <a:gd name="T51" fmla="*/ 2489 h 5760"/>
              <a:gd name="T52" fmla="*/ 2888 w 5760"/>
              <a:gd name="T53" fmla="*/ 3502 h 5760"/>
              <a:gd name="T54" fmla="*/ 4484 w 5760"/>
              <a:gd name="T55" fmla="*/ 3646 h 5760"/>
              <a:gd name="T56" fmla="*/ 5321 w 5760"/>
              <a:gd name="T57" fmla="*/ 3701 h 5760"/>
              <a:gd name="T58" fmla="*/ 5297 w 5760"/>
              <a:gd name="T59" fmla="*/ 3694 h 5760"/>
              <a:gd name="T60" fmla="*/ 5066 w 5760"/>
              <a:gd name="T61" fmla="*/ 2513 h 5760"/>
              <a:gd name="T62" fmla="*/ 5138 w 5760"/>
              <a:gd name="T63" fmla="*/ 3415 h 5760"/>
              <a:gd name="T64" fmla="*/ 2880 w 5760"/>
              <a:gd name="T65" fmla="*/ 5449 h 5760"/>
              <a:gd name="T66" fmla="*/ 2063 w 5760"/>
              <a:gd name="T67" fmla="*/ 5306 h 5760"/>
              <a:gd name="T68" fmla="*/ 2689 w 5760"/>
              <a:gd name="T69" fmla="*/ 5393 h 5760"/>
              <a:gd name="T70" fmla="*/ 3047 w 5760"/>
              <a:gd name="T71" fmla="*/ 4875 h 5760"/>
              <a:gd name="T72" fmla="*/ 1771 w 5760"/>
              <a:gd name="T73" fmla="*/ 5042 h 5760"/>
              <a:gd name="T74" fmla="*/ 440 w 5760"/>
              <a:gd name="T75" fmla="*/ 2067 h 5760"/>
              <a:gd name="T76" fmla="*/ 462 w 5760"/>
              <a:gd name="T77" fmla="*/ 2075 h 5760"/>
              <a:gd name="T78" fmla="*/ 694 w 5760"/>
              <a:gd name="T79" fmla="*/ 3247 h 5760"/>
              <a:gd name="T80" fmla="*/ 622 w 5760"/>
              <a:gd name="T81" fmla="*/ 2354 h 5760"/>
              <a:gd name="T82" fmla="*/ 2880 w 5760"/>
              <a:gd name="T83" fmla="*/ 311 h 5760"/>
              <a:gd name="T84" fmla="*/ 3696 w 5760"/>
              <a:gd name="T85" fmla="*/ 461 h 5760"/>
              <a:gd name="T86" fmla="*/ 3071 w 5760"/>
              <a:gd name="T87" fmla="*/ 367 h 5760"/>
              <a:gd name="T88" fmla="*/ 2712 w 5760"/>
              <a:gd name="T89" fmla="*/ 885 h 5760"/>
              <a:gd name="T90" fmla="*/ 3989 w 5760"/>
              <a:gd name="T91" fmla="*/ 726 h 5760"/>
              <a:gd name="T92" fmla="*/ 5321 w 5760"/>
              <a:gd name="T93" fmla="*/ 3701 h 5760"/>
              <a:gd name="T94" fmla="*/ 135 w 5760"/>
              <a:gd name="T95" fmla="*/ 2880 h 5760"/>
              <a:gd name="T96" fmla="*/ 5624 w 5760"/>
              <a:gd name="T97" fmla="*/ 2880 h 5760"/>
              <a:gd name="T98" fmla="*/ 2880 w 5760"/>
              <a:gd name="T99" fmla="*/ 5760 h 5760"/>
              <a:gd name="T100" fmla="*/ 2880 w 5760"/>
              <a:gd name="T101" fmla="*/ 0 h 5760"/>
              <a:gd name="T102" fmla="*/ 2880 w 5760"/>
              <a:gd name="T103" fmla="*/ 576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5760">
                <a:moveTo>
                  <a:pt x="3526" y="2130"/>
                </a:moveTo>
                <a:cubicBezTo>
                  <a:pt x="3526" y="1803"/>
                  <a:pt x="3748" y="1485"/>
                  <a:pt x="3869" y="1545"/>
                </a:cubicBezTo>
                <a:cubicBezTo>
                  <a:pt x="4006" y="1614"/>
                  <a:pt x="3766" y="1923"/>
                  <a:pt x="3526" y="2130"/>
                </a:cubicBezTo>
                <a:moveTo>
                  <a:pt x="2018" y="2250"/>
                </a:moveTo>
                <a:cubicBezTo>
                  <a:pt x="2018" y="1987"/>
                  <a:pt x="2278" y="1486"/>
                  <a:pt x="2437" y="1539"/>
                </a:cubicBezTo>
                <a:cubicBezTo>
                  <a:pt x="2625" y="1601"/>
                  <a:pt x="2282" y="2106"/>
                  <a:pt x="2018" y="2250"/>
                </a:cubicBezTo>
                <a:close/>
                <a:moveTo>
                  <a:pt x="1755" y="4133"/>
                </a:moveTo>
                <a:cubicBezTo>
                  <a:pt x="1635" y="4138"/>
                  <a:pt x="1556" y="4062"/>
                  <a:pt x="1556" y="3934"/>
                </a:cubicBezTo>
                <a:cubicBezTo>
                  <a:pt x="1556" y="3591"/>
                  <a:pt x="2031" y="3264"/>
                  <a:pt x="2390" y="3088"/>
                </a:cubicBezTo>
                <a:cubicBezTo>
                  <a:pt x="2327" y="3567"/>
                  <a:pt x="2165" y="4114"/>
                  <a:pt x="1755" y="4133"/>
                </a:cubicBezTo>
                <a:close/>
                <a:moveTo>
                  <a:pt x="3949" y="3016"/>
                </a:moveTo>
                <a:cubicBezTo>
                  <a:pt x="3678" y="3016"/>
                  <a:pt x="3470" y="3215"/>
                  <a:pt x="3470" y="3455"/>
                </a:cubicBezTo>
                <a:cubicBezTo>
                  <a:pt x="3470" y="3654"/>
                  <a:pt x="3590" y="3813"/>
                  <a:pt x="3750" y="3813"/>
                </a:cubicBezTo>
                <a:cubicBezTo>
                  <a:pt x="3806" y="3813"/>
                  <a:pt x="3861" y="3782"/>
                  <a:pt x="3861" y="3710"/>
                </a:cubicBezTo>
                <a:cubicBezTo>
                  <a:pt x="3861" y="3606"/>
                  <a:pt x="3724" y="3581"/>
                  <a:pt x="3734" y="3426"/>
                </a:cubicBezTo>
                <a:cubicBezTo>
                  <a:pt x="3741" y="3323"/>
                  <a:pt x="3837" y="3255"/>
                  <a:pt x="3933" y="3255"/>
                </a:cubicBezTo>
                <a:cubicBezTo>
                  <a:pt x="4124" y="3255"/>
                  <a:pt x="4214" y="3440"/>
                  <a:pt x="4214" y="3632"/>
                </a:cubicBezTo>
                <a:cubicBezTo>
                  <a:pt x="4206" y="3927"/>
                  <a:pt x="3989" y="4133"/>
                  <a:pt x="3734" y="4133"/>
                </a:cubicBezTo>
                <a:cubicBezTo>
                  <a:pt x="3398" y="4133"/>
                  <a:pt x="3183" y="3813"/>
                  <a:pt x="3183" y="3470"/>
                </a:cubicBezTo>
                <a:cubicBezTo>
                  <a:pt x="3183" y="2960"/>
                  <a:pt x="3518" y="2760"/>
                  <a:pt x="3694" y="2712"/>
                </a:cubicBezTo>
                <a:cubicBezTo>
                  <a:pt x="3696" y="2712"/>
                  <a:pt x="4153" y="2794"/>
                  <a:pt x="4138" y="2592"/>
                </a:cubicBezTo>
                <a:cubicBezTo>
                  <a:pt x="4132" y="2504"/>
                  <a:pt x="4000" y="2470"/>
                  <a:pt x="3905" y="2466"/>
                </a:cubicBezTo>
                <a:cubicBezTo>
                  <a:pt x="3799" y="2462"/>
                  <a:pt x="3692" y="2500"/>
                  <a:pt x="3692" y="2500"/>
                </a:cubicBezTo>
                <a:cubicBezTo>
                  <a:pt x="3636" y="2472"/>
                  <a:pt x="3598" y="2417"/>
                  <a:pt x="3574" y="2354"/>
                </a:cubicBezTo>
                <a:cubicBezTo>
                  <a:pt x="3901" y="2106"/>
                  <a:pt x="4133" y="1867"/>
                  <a:pt x="4133" y="1596"/>
                </a:cubicBezTo>
                <a:cubicBezTo>
                  <a:pt x="4133" y="1452"/>
                  <a:pt x="4037" y="1324"/>
                  <a:pt x="3853" y="1324"/>
                </a:cubicBezTo>
                <a:cubicBezTo>
                  <a:pt x="3526" y="1324"/>
                  <a:pt x="3279" y="1739"/>
                  <a:pt x="3279" y="2114"/>
                </a:cubicBezTo>
                <a:cubicBezTo>
                  <a:pt x="3279" y="2178"/>
                  <a:pt x="3279" y="2242"/>
                  <a:pt x="3295" y="2298"/>
                </a:cubicBezTo>
                <a:cubicBezTo>
                  <a:pt x="3087" y="2449"/>
                  <a:pt x="2933" y="2543"/>
                  <a:pt x="2654" y="2711"/>
                </a:cubicBezTo>
                <a:cubicBezTo>
                  <a:pt x="2654" y="2676"/>
                  <a:pt x="2661" y="2586"/>
                  <a:pt x="2685" y="2469"/>
                </a:cubicBezTo>
                <a:cubicBezTo>
                  <a:pt x="2780" y="2365"/>
                  <a:pt x="2912" y="2210"/>
                  <a:pt x="2912" y="2090"/>
                </a:cubicBezTo>
                <a:cubicBezTo>
                  <a:pt x="2912" y="2034"/>
                  <a:pt x="2880" y="1987"/>
                  <a:pt x="2816" y="1987"/>
                </a:cubicBezTo>
                <a:cubicBezTo>
                  <a:pt x="2657" y="1987"/>
                  <a:pt x="2537" y="2226"/>
                  <a:pt x="2505" y="2393"/>
                </a:cubicBezTo>
                <a:cubicBezTo>
                  <a:pt x="2433" y="2481"/>
                  <a:pt x="2290" y="2593"/>
                  <a:pt x="2170" y="2593"/>
                </a:cubicBezTo>
                <a:cubicBezTo>
                  <a:pt x="2074" y="2593"/>
                  <a:pt x="2042" y="2505"/>
                  <a:pt x="2034" y="2473"/>
                </a:cubicBezTo>
                <a:cubicBezTo>
                  <a:pt x="2338" y="2369"/>
                  <a:pt x="2712" y="1955"/>
                  <a:pt x="2712" y="1580"/>
                </a:cubicBezTo>
                <a:cubicBezTo>
                  <a:pt x="2712" y="1500"/>
                  <a:pt x="2681" y="1324"/>
                  <a:pt x="2441" y="1324"/>
                </a:cubicBezTo>
                <a:cubicBezTo>
                  <a:pt x="2082" y="1324"/>
                  <a:pt x="1779" y="1859"/>
                  <a:pt x="1779" y="2274"/>
                </a:cubicBezTo>
                <a:cubicBezTo>
                  <a:pt x="1651" y="2274"/>
                  <a:pt x="1604" y="2138"/>
                  <a:pt x="1604" y="2034"/>
                </a:cubicBezTo>
                <a:cubicBezTo>
                  <a:pt x="1604" y="1931"/>
                  <a:pt x="1643" y="1827"/>
                  <a:pt x="1643" y="1795"/>
                </a:cubicBezTo>
                <a:cubicBezTo>
                  <a:pt x="1643" y="1763"/>
                  <a:pt x="1627" y="1723"/>
                  <a:pt x="1580" y="1723"/>
                </a:cubicBezTo>
                <a:cubicBezTo>
                  <a:pt x="1460" y="1723"/>
                  <a:pt x="1388" y="1883"/>
                  <a:pt x="1388" y="2066"/>
                </a:cubicBezTo>
                <a:cubicBezTo>
                  <a:pt x="1396" y="2322"/>
                  <a:pt x="1564" y="2481"/>
                  <a:pt x="1787" y="2497"/>
                </a:cubicBezTo>
                <a:cubicBezTo>
                  <a:pt x="1819" y="2649"/>
                  <a:pt x="1955" y="2792"/>
                  <a:pt x="2122" y="2792"/>
                </a:cubicBezTo>
                <a:cubicBezTo>
                  <a:pt x="2226" y="2792"/>
                  <a:pt x="2353" y="2760"/>
                  <a:pt x="2441" y="2681"/>
                </a:cubicBezTo>
                <a:cubicBezTo>
                  <a:pt x="2433" y="2737"/>
                  <a:pt x="2425" y="2784"/>
                  <a:pt x="2417" y="2832"/>
                </a:cubicBezTo>
                <a:cubicBezTo>
                  <a:pt x="2066" y="3016"/>
                  <a:pt x="1811" y="3143"/>
                  <a:pt x="1580" y="3351"/>
                </a:cubicBezTo>
                <a:cubicBezTo>
                  <a:pt x="1396" y="3518"/>
                  <a:pt x="1292" y="3742"/>
                  <a:pt x="1292" y="3917"/>
                </a:cubicBezTo>
                <a:cubicBezTo>
                  <a:pt x="1292" y="4157"/>
                  <a:pt x="1444" y="4380"/>
                  <a:pt x="1755" y="4380"/>
                </a:cubicBezTo>
                <a:cubicBezTo>
                  <a:pt x="2122" y="4380"/>
                  <a:pt x="2401" y="4085"/>
                  <a:pt x="2537" y="3678"/>
                </a:cubicBezTo>
                <a:cubicBezTo>
                  <a:pt x="2601" y="3486"/>
                  <a:pt x="2626" y="3208"/>
                  <a:pt x="2642" y="2952"/>
                </a:cubicBezTo>
                <a:cubicBezTo>
                  <a:pt x="3009" y="2745"/>
                  <a:pt x="3183" y="2625"/>
                  <a:pt x="3374" y="2489"/>
                </a:cubicBezTo>
                <a:cubicBezTo>
                  <a:pt x="3398" y="2529"/>
                  <a:pt x="3423" y="2561"/>
                  <a:pt x="3454" y="2585"/>
                </a:cubicBezTo>
                <a:cubicBezTo>
                  <a:pt x="3287" y="2673"/>
                  <a:pt x="2888" y="2920"/>
                  <a:pt x="2888" y="3502"/>
                </a:cubicBezTo>
                <a:cubicBezTo>
                  <a:pt x="2888" y="3917"/>
                  <a:pt x="3167" y="4380"/>
                  <a:pt x="3718" y="4380"/>
                </a:cubicBezTo>
                <a:cubicBezTo>
                  <a:pt x="4172" y="4380"/>
                  <a:pt x="4484" y="4005"/>
                  <a:pt x="4484" y="3646"/>
                </a:cubicBezTo>
                <a:cubicBezTo>
                  <a:pt x="4484" y="3319"/>
                  <a:pt x="4300" y="3016"/>
                  <a:pt x="3949" y="3016"/>
                </a:cubicBezTo>
                <a:close/>
                <a:moveTo>
                  <a:pt x="5321" y="3701"/>
                </a:moveTo>
                <a:cubicBezTo>
                  <a:pt x="5319" y="3703"/>
                  <a:pt x="5315" y="3707"/>
                  <a:pt x="5306" y="3704"/>
                </a:cubicBezTo>
                <a:cubicBezTo>
                  <a:pt x="5299" y="3702"/>
                  <a:pt x="5297" y="3698"/>
                  <a:pt x="5297" y="3694"/>
                </a:cubicBezTo>
                <a:cubicBezTo>
                  <a:pt x="5298" y="3689"/>
                  <a:pt x="5394" y="3405"/>
                  <a:pt x="5393" y="3080"/>
                </a:cubicBezTo>
                <a:cubicBezTo>
                  <a:pt x="5392" y="2728"/>
                  <a:pt x="5249" y="2513"/>
                  <a:pt x="5066" y="2513"/>
                </a:cubicBezTo>
                <a:cubicBezTo>
                  <a:pt x="4954" y="2513"/>
                  <a:pt x="4874" y="2593"/>
                  <a:pt x="4874" y="2712"/>
                </a:cubicBezTo>
                <a:cubicBezTo>
                  <a:pt x="4874" y="2928"/>
                  <a:pt x="5138" y="2944"/>
                  <a:pt x="5138" y="3415"/>
                </a:cubicBezTo>
                <a:cubicBezTo>
                  <a:pt x="5138" y="3606"/>
                  <a:pt x="5098" y="3789"/>
                  <a:pt x="5034" y="3989"/>
                </a:cubicBezTo>
                <a:cubicBezTo>
                  <a:pt x="4739" y="4986"/>
                  <a:pt x="3797" y="5449"/>
                  <a:pt x="2880" y="5449"/>
                </a:cubicBezTo>
                <a:cubicBezTo>
                  <a:pt x="2457" y="5449"/>
                  <a:pt x="2157" y="5362"/>
                  <a:pt x="2067" y="5322"/>
                </a:cubicBezTo>
                <a:cubicBezTo>
                  <a:pt x="2063" y="5320"/>
                  <a:pt x="2061" y="5313"/>
                  <a:pt x="2063" y="5306"/>
                </a:cubicBezTo>
                <a:cubicBezTo>
                  <a:pt x="2065" y="5300"/>
                  <a:pt x="2072" y="5296"/>
                  <a:pt x="2075" y="5298"/>
                </a:cubicBezTo>
                <a:cubicBezTo>
                  <a:pt x="2111" y="5312"/>
                  <a:pt x="2369" y="5393"/>
                  <a:pt x="2689" y="5393"/>
                </a:cubicBezTo>
                <a:cubicBezTo>
                  <a:pt x="3040" y="5393"/>
                  <a:pt x="3247" y="5250"/>
                  <a:pt x="3247" y="5074"/>
                </a:cubicBezTo>
                <a:cubicBezTo>
                  <a:pt x="3247" y="4962"/>
                  <a:pt x="3159" y="4875"/>
                  <a:pt x="3047" y="4875"/>
                </a:cubicBezTo>
                <a:cubicBezTo>
                  <a:pt x="2832" y="4875"/>
                  <a:pt x="2816" y="5146"/>
                  <a:pt x="2353" y="5146"/>
                </a:cubicBezTo>
                <a:cubicBezTo>
                  <a:pt x="2154" y="5146"/>
                  <a:pt x="1979" y="5106"/>
                  <a:pt x="1771" y="5042"/>
                </a:cubicBezTo>
                <a:cubicBezTo>
                  <a:pt x="782" y="4739"/>
                  <a:pt x="310" y="3805"/>
                  <a:pt x="311" y="2880"/>
                </a:cubicBezTo>
                <a:cubicBezTo>
                  <a:pt x="311" y="2429"/>
                  <a:pt x="438" y="2070"/>
                  <a:pt x="440" y="2067"/>
                </a:cubicBezTo>
                <a:cubicBezTo>
                  <a:pt x="441" y="2065"/>
                  <a:pt x="447" y="2062"/>
                  <a:pt x="454" y="2065"/>
                </a:cubicBezTo>
                <a:cubicBezTo>
                  <a:pt x="461" y="2067"/>
                  <a:pt x="463" y="2073"/>
                  <a:pt x="462" y="2075"/>
                </a:cubicBezTo>
                <a:cubicBezTo>
                  <a:pt x="451" y="2112"/>
                  <a:pt x="367" y="2370"/>
                  <a:pt x="367" y="2688"/>
                </a:cubicBezTo>
                <a:cubicBezTo>
                  <a:pt x="367" y="3040"/>
                  <a:pt x="511" y="3247"/>
                  <a:pt x="694" y="3247"/>
                </a:cubicBezTo>
                <a:cubicBezTo>
                  <a:pt x="798" y="3247"/>
                  <a:pt x="885" y="3167"/>
                  <a:pt x="885" y="3056"/>
                </a:cubicBezTo>
                <a:cubicBezTo>
                  <a:pt x="885" y="2840"/>
                  <a:pt x="622" y="2816"/>
                  <a:pt x="622" y="2354"/>
                </a:cubicBezTo>
                <a:cubicBezTo>
                  <a:pt x="622" y="2154"/>
                  <a:pt x="662" y="1978"/>
                  <a:pt x="726" y="1771"/>
                </a:cubicBezTo>
                <a:cubicBezTo>
                  <a:pt x="1029" y="782"/>
                  <a:pt x="1963" y="318"/>
                  <a:pt x="2880" y="311"/>
                </a:cubicBezTo>
                <a:cubicBezTo>
                  <a:pt x="3306" y="308"/>
                  <a:pt x="3680" y="435"/>
                  <a:pt x="3694" y="447"/>
                </a:cubicBezTo>
                <a:cubicBezTo>
                  <a:pt x="3696" y="449"/>
                  <a:pt x="3699" y="455"/>
                  <a:pt x="3696" y="461"/>
                </a:cubicBezTo>
                <a:cubicBezTo>
                  <a:pt x="3693" y="468"/>
                  <a:pt x="3688" y="469"/>
                  <a:pt x="3686" y="469"/>
                </a:cubicBezTo>
                <a:cubicBezTo>
                  <a:pt x="3681" y="468"/>
                  <a:pt x="3439" y="367"/>
                  <a:pt x="3071" y="367"/>
                </a:cubicBezTo>
                <a:cubicBezTo>
                  <a:pt x="2728" y="367"/>
                  <a:pt x="2513" y="510"/>
                  <a:pt x="2513" y="694"/>
                </a:cubicBezTo>
                <a:cubicBezTo>
                  <a:pt x="2513" y="798"/>
                  <a:pt x="2593" y="885"/>
                  <a:pt x="2712" y="885"/>
                </a:cubicBezTo>
                <a:cubicBezTo>
                  <a:pt x="2928" y="885"/>
                  <a:pt x="2944" y="622"/>
                  <a:pt x="3406" y="622"/>
                </a:cubicBezTo>
                <a:cubicBezTo>
                  <a:pt x="3606" y="622"/>
                  <a:pt x="3781" y="662"/>
                  <a:pt x="3989" y="726"/>
                </a:cubicBezTo>
                <a:cubicBezTo>
                  <a:pt x="4986" y="1029"/>
                  <a:pt x="5440" y="1971"/>
                  <a:pt x="5449" y="2880"/>
                </a:cubicBezTo>
                <a:cubicBezTo>
                  <a:pt x="5453" y="3346"/>
                  <a:pt x="5322" y="3699"/>
                  <a:pt x="5321" y="3701"/>
                </a:cubicBezTo>
                <a:close/>
                <a:moveTo>
                  <a:pt x="2880" y="136"/>
                </a:moveTo>
                <a:cubicBezTo>
                  <a:pt x="1364" y="136"/>
                  <a:pt x="135" y="1364"/>
                  <a:pt x="135" y="2880"/>
                </a:cubicBezTo>
                <a:cubicBezTo>
                  <a:pt x="135" y="4396"/>
                  <a:pt x="1364" y="5624"/>
                  <a:pt x="2880" y="5624"/>
                </a:cubicBezTo>
                <a:cubicBezTo>
                  <a:pt x="4396" y="5624"/>
                  <a:pt x="5624" y="4396"/>
                  <a:pt x="5624" y="2880"/>
                </a:cubicBezTo>
                <a:cubicBezTo>
                  <a:pt x="5624" y="1372"/>
                  <a:pt x="4396" y="136"/>
                  <a:pt x="2880" y="136"/>
                </a:cubicBezTo>
                <a:close/>
                <a:moveTo>
                  <a:pt x="2880" y="5760"/>
                </a:moveTo>
                <a:cubicBezTo>
                  <a:pt x="1292" y="5760"/>
                  <a:pt x="0" y="4476"/>
                  <a:pt x="0" y="2880"/>
                </a:cubicBezTo>
                <a:cubicBezTo>
                  <a:pt x="0" y="1292"/>
                  <a:pt x="1292" y="0"/>
                  <a:pt x="2880" y="0"/>
                </a:cubicBezTo>
                <a:cubicBezTo>
                  <a:pt x="4467" y="0"/>
                  <a:pt x="5760" y="1292"/>
                  <a:pt x="5760" y="2880"/>
                </a:cubicBezTo>
                <a:cubicBezTo>
                  <a:pt x="5760" y="4476"/>
                  <a:pt x="4467" y="5760"/>
                  <a:pt x="2880" y="5760"/>
                </a:cubicBezTo>
                <a:close/>
              </a:path>
            </a:pathLst>
          </a:custGeom>
          <a:solidFill>
            <a:srgbClr val="575757"/>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00219222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Lst>
  <p:hf hdr="0" ftr="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95000"/>
        </a:lnSpc>
        <a:spcBef>
          <a:spcPts val="1200"/>
        </a:spcBef>
        <a:spcAft>
          <a:spcPts val="0"/>
        </a:spcAft>
        <a:buFont typeface="Arial" panose="020B0604020202020204" pitchFamily="34" charset="0"/>
        <a:buNone/>
        <a:defRPr sz="2800" kern="1200">
          <a:solidFill>
            <a:schemeClr val="accent2"/>
          </a:solidFill>
          <a:latin typeface="+mn-lt"/>
          <a:ea typeface="+mn-ea"/>
          <a:cs typeface="+mn-cs"/>
        </a:defRPr>
      </a:lvl1pPr>
      <a:lvl2pPr marL="219456" indent="-168275" algn="l" defTabSz="914400" rtl="0" eaLnBrk="1" latinLnBrk="0" hangingPunct="1">
        <a:lnSpc>
          <a:spcPct val="95000"/>
        </a:lnSpc>
        <a:spcBef>
          <a:spcPts val="700"/>
        </a:spcBef>
        <a:spcAft>
          <a:spcPts val="0"/>
        </a:spcAft>
        <a:buFont typeface="Arial" panose="020B0604020202020204" pitchFamily="34" charset="0"/>
        <a:buChar char="•"/>
        <a:defRPr sz="2400" kern="1200">
          <a:solidFill>
            <a:schemeClr val="accent2"/>
          </a:solidFill>
          <a:latin typeface="+mn-lt"/>
          <a:ea typeface="+mn-ea"/>
          <a:cs typeface="+mn-cs"/>
        </a:defRPr>
      </a:lvl2pPr>
      <a:lvl3pPr marL="461963" indent="-192024" algn="l" defTabSz="914400" rtl="0" eaLnBrk="1" latinLnBrk="0" hangingPunct="1">
        <a:lnSpc>
          <a:spcPct val="95000"/>
        </a:lnSpc>
        <a:spcBef>
          <a:spcPts val="600"/>
        </a:spcBef>
        <a:spcAft>
          <a:spcPts val="0"/>
        </a:spcAft>
        <a:buSzPct val="100000"/>
        <a:buFontTx/>
        <a:buChar char="–"/>
        <a:defRPr sz="2000" kern="1200">
          <a:solidFill>
            <a:schemeClr val="accent2"/>
          </a:solidFill>
          <a:latin typeface="+mn-lt"/>
          <a:ea typeface="+mn-ea"/>
          <a:cs typeface="+mn-cs"/>
        </a:defRPr>
      </a:lvl3pPr>
      <a:lvl4pPr marL="682625" indent="-173038" algn="l" defTabSz="914400" rtl="0" eaLnBrk="1" latinLnBrk="0" hangingPunct="1">
        <a:lnSpc>
          <a:spcPct val="95000"/>
        </a:lnSpc>
        <a:spcBef>
          <a:spcPts val="600"/>
        </a:spcBef>
        <a:spcAft>
          <a:spcPts val="0"/>
        </a:spcAft>
        <a:buFont typeface="Arial" panose="020B0604020202020204" pitchFamily="34" charset="0"/>
        <a:buChar char="•"/>
        <a:defRPr sz="1600" kern="1200">
          <a:solidFill>
            <a:schemeClr val="accent2"/>
          </a:solidFill>
          <a:latin typeface="+mn-lt"/>
          <a:ea typeface="+mn-ea"/>
          <a:cs typeface="+mn-cs"/>
        </a:defRPr>
      </a:lvl4pPr>
      <a:lvl5pPr marL="914400" indent="-173038" algn="l" defTabSz="914400" rtl="0" eaLnBrk="1" latinLnBrk="0" hangingPunct="1">
        <a:lnSpc>
          <a:spcPct val="95000"/>
        </a:lnSpc>
        <a:spcBef>
          <a:spcPts val="600"/>
        </a:spcBef>
        <a:spcAft>
          <a:spcPts val="0"/>
        </a:spcAft>
        <a:buClr>
          <a:schemeClr val="tx1"/>
        </a:buClr>
        <a:buSzPct val="100000"/>
        <a:buFontTx/>
        <a:buChar char="–"/>
        <a:defRPr sz="14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
          <p15:clr>
            <a:srgbClr val="F26B43"/>
          </p15:clr>
        </p15:guide>
        <p15:guide id="3" pos="7368">
          <p15:clr>
            <a:srgbClr val="F26B43"/>
          </p15:clr>
        </p15:guide>
        <p15:guide id="4" orient="horz" pos="3840">
          <p15:clr>
            <a:srgbClr val="F26B43"/>
          </p15:clr>
        </p15:guide>
        <p15:guide id="5" orient="horz" pos="552">
          <p15:clr>
            <a:srgbClr val="F26B43"/>
          </p15:clr>
        </p15:guide>
        <p15:guide id="6" orient="horz" pos="117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8"/>
            </p:custDataLst>
            <p:extLst>
              <p:ext uri="{D42A27DB-BD31-4B8C-83A1-F6EECF244321}">
                <p14:modId xmlns:p14="http://schemas.microsoft.com/office/powerpoint/2010/main" val="3607265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30" imgW="270" imgH="270" progId="TCLayout.ActiveDocument.1">
                  <p:embed/>
                </p:oleObj>
              </mc:Choice>
              <mc:Fallback>
                <p:oleObj name="Diapositive think-cell" r:id="rId30" imgW="270" imgH="270" progId="TCLayout.ActiveDocument.1">
                  <p:embed/>
                  <p:pic>
                    <p:nvPicPr>
                      <p:cNvPr id="5" name="Object 4"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F75F81A-FB17-4CA6-9A59-99CF8363D572}"/>
              </a:ext>
            </a:extLst>
          </p:cNvPr>
          <p:cNvSpPr/>
          <p:nvPr userDrawn="1">
            <p:custDataLst>
              <p:tags r:id="rId2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2" name="Title Placeholder 1"/>
          <p:cNvSpPr>
            <a:spLocks noGrp="1"/>
          </p:cNvSpPr>
          <p:nvPr>
            <p:ph type="title"/>
          </p:nvPr>
        </p:nvSpPr>
        <p:spPr>
          <a:xfrm>
            <a:off x="495300" y="276917"/>
            <a:ext cx="11201400" cy="9144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495300" y="1793081"/>
            <a:ext cx="11201400" cy="43053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
        <p:nvSpPr>
          <p:cNvPr id="10" name="Freeform 5"/>
          <p:cNvSpPr>
            <a:spLocks noChangeAspect="1" noEditPoints="1"/>
          </p:cNvSpPr>
          <p:nvPr userDrawn="1"/>
        </p:nvSpPr>
        <p:spPr bwMode="auto">
          <a:xfrm>
            <a:off x="515012" y="6312756"/>
            <a:ext cx="384048" cy="384048"/>
          </a:xfrm>
          <a:custGeom>
            <a:avLst/>
            <a:gdLst>
              <a:gd name="T0" fmla="*/ 3869 w 5760"/>
              <a:gd name="T1" fmla="*/ 1545 h 5760"/>
              <a:gd name="T2" fmla="*/ 2018 w 5760"/>
              <a:gd name="T3" fmla="*/ 2250 h 5760"/>
              <a:gd name="T4" fmla="*/ 2018 w 5760"/>
              <a:gd name="T5" fmla="*/ 2250 h 5760"/>
              <a:gd name="T6" fmla="*/ 1556 w 5760"/>
              <a:gd name="T7" fmla="*/ 3934 h 5760"/>
              <a:gd name="T8" fmla="*/ 1755 w 5760"/>
              <a:gd name="T9" fmla="*/ 4133 h 5760"/>
              <a:gd name="T10" fmla="*/ 3470 w 5760"/>
              <a:gd name="T11" fmla="*/ 3455 h 5760"/>
              <a:gd name="T12" fmla="*/ 3861 w 5760"/>
              <a:gd name="T13" fmla="*/ 3710 h 5760"/>
              <a:gd name="T14" fmla="*/ 3933 w 5760"/>
              <a:gd name="T15" fmla="*/ 3255 h 5760"/>
              <a:gd name="T16" fmla="*/ 3734 w 5760"/>
              <a:gd name="T17" fmla="*/ 4133 h 5760"/>
              <a:gd name="T18" fmla="*/ 3694 w 5760"/>
              <a:gd name="T19" fmla="*/ 2712 h 5760"/>
              <a:gd name="T20" fmla="*/ 3905 w 5760"/>
              <a:gd name="T21" fmla="*/ 2466 h 5760"/>
              <a:gd name="T22" fmla="*/ 3574 w 5760"/>
              <a:gd name="T23" fmla="*/ 2354 h 5760"/>
              <a:gd name="T24" fmla="*/ 3853 w 5760"/>
              <a:gd name="T25" fmla="*/ 1324 h 5760"/>
              <a:gd name="T26" fmla="*/ 3295 w 5760"/>
              <a:gd name="T27" fmla="*/ 2298 h 5760"/>
              <a:gd name="T28" fmla="*/ 2685 w 5760"/>
              <a:gd name="T29" fmla="*/ 2469 h 5760"/>
              <a:gd name="T30" fmla="*/ 2816 w 5760"/>
              <a:gd name="T31" fmla="*/ 1987 h 5760"/>
              <a:gd name="T32" fmla="*/ 2170 w 5760"/>
              <a:gd name="T33" fmla="*/ 2593 h 5760"/>
              <a:gd name="T34" fmla="*/ 2712 w 5760"/>
              <a:gd name="T35" fmla="*/ 1580 h 5760"/>
              <a:gd name="T36" fmla="*/ 1779 w 5760"/>
              <a:gd name="T37" fmla="*/ 2274 h 5760"/>
              <a:gd name="T38" fmla="*/ 1643 w 5760"/>
              <a:gd name="T39" fmla="*/ 1795 h 5760"/>
              <a:gd name="T40" fmla="*/ 1388 w 5760"/>
              <a:gd name="T41" fmla="*/ 2066 h 5760"/>
              <a:gd name="T42" fmla="*/ 2122 w 5760"/>
              <a:gd name="T43" fmla="*/ 2792 h 5760"/>
              <a:gd name="T44" fmla="*/ 2417 w 5760"/>
              <a:gd name="T45" fmla="*/ 2832 h 5760"/>
              <a:gd name="T46" fmla="*/ 1292 w 5760"/>
              <a:gd name="T47" fmla="*/ 3917 h 5760"/>
              <a:gd name="T48" fmla="*/ 2537 w 5760"/>
              <a:gd name="T49" fmla="*/ 3678 h 5760"/>
              <a:gd name="T50" fmla="*/ 3374 w 5760"/>
              <a:gd name="T51" fmla="*/ 2489 h 5760"/>
              <a:gd name="T52" fmla="*/ 2888 w 5760"/>
              <a:gd name="T53" fmla="*/ 3502 h 5760"/>
              <a:gd name="T54" fmla="*/ 4484 w 5760"/>
              <a:gd name="T55" fmla="*/ 3646 h 5760"/>
              <a:gd name="T56" fmla="*/ 5321 w 5760"/>
              <a:gd name="T57" fmla="*/ 3701 h 5760"/>
              <a:gd name="T58" fmla="*/ 5297 w 5760"/>
              <a:gd name="T59" fmla="*/ 3694 h 5760"/>
              <a:gd name="T60" fmla="*/ 5066 w 5760"/>
              <a:gd name="T61" fmla="*/ 2513 h 5760"/>
              <a:gd name="T62" fmla="*/ 5138 w 5760"/>
              <a:gd name="T63" fmla="*/ 3415 h 5760"/>
              <a:gd name="T64" fmla="*/ 2880 w 5760"/>
              <a:gd name="T65" fmla="*/ 5449 h 5760"/>
              <a:gd name="T66" fmla="*/ 2063 w 5760"/>
              <a:gd name="T67" fmla="*/ 5306 h 5760"/>
              <a:gd name="T68" fmla="*/ 2689 w 5760"/>
              <a:gd name="T69" fmla="*/ 5393 h 5760"/>
              <a:gd name="T70" fmla="*/ 3047 w 5760"/>
              <a:gd name="T71" fmla="*/ 4875 h 5760"/>
              <a:gd name="T72" fmla="*/ 1771 w 5760"/>
              <a:gd name="T73" fmla="*/ 5042 h 5760"/>
              <a:gd name="T74" fmla="*/ 440 w 5760"/>
              <a:gd name="T75" fmla="*/ 2067 h 5760"/>
              <a:gd name="T76" fmla="*/ 462 w 5760"/>
              <a:gd name="T77" fmla="*/ 2075 h 5760"/>
              <a:gd name="T78" fmla="*/ 694 w 5760"/>
              <a:gd name="T79" fmla="*/ 3247 h 5760"/>
              <a:gd name="T80" fmla="*/ 622 w 5760"/>
              <a:gd name="T81" fmla="*/ 2354 h 5760"/>
              <a:gd name="T82" fmla="*/ 2880 w 5760"/>
              <a:gd name="T83" fmla="*/ 311 h 5760"/>
              <a:gd name="T84" fmla="*/ 3696 w 5760"/>
              <a:gd name="T85" fmla="*/ 461 h 5760"/>
              <a:gd name="T86" fmla="*/ 3071 w 5760"/>
              <a:gd name="T87" fmla="*/ 367 h 5760"/>
              <a:gd name="T88" fmla="*/ 2712 w 5760"/>
              <a:gd name="T89" fmla="*/ 885 h 5760"/>
              <a:gd name="T90" fmla="*/ 3989 w 5760"/>
              <a:gd name="T91" fmla="*/ 726 h 5760"/>
              <a:gd name="T92" fmla="*/ 5321 w 5760"/>
              <a:gd name="T93" fmla="*/ 3701 h 5760"/>
              <a:gd name="T94" fmla="*/ 135 w 5760"/>
              <a:gd name="T95" fmla="*/ 2880 h 5760"/>
              <a:gd name="T96" fmla="*/ 5624 w 5760"/>
              <a:gd name="T97" fmla="*/ 2880 h 5760"/>
              <a:gd name="T98" fmla="*/ 2880 w 5760"/>
              <a:gd name="T99" fmla="*/ 5760 h 5760"/>
              <a:gd name="T100" fmla="*/ 2880 w 5760"/>
              <a:gd name="T101" fmla="*/ 0 h 5760"/>
              <a:gd name="T102" fmla="*/ 2880 w 5760"/>
              <a:gd name="T103" fmla="*/ 576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5760">
                <a:moveTo>
                  <a:pt x="3526" y="2130"/>
                </a:moveTo>
                <a:cubicBezTo>
                  <a:pt x="3526" y="1803"/>
                  <a:pt x="3748" y="1485"/>
                  <a:pt x="3869" y="1545"/>
                </a:cubicBezTo>
                <a:cubicBezTo>
                  <a:pt x="4006" y="1614"/>
                  <a:pt x="3766" y="1923"/>
                  <a:pt x="3526" y="2130"/>
                </a:cubicBezTo>
                <a:moveTo>
                  <a:pt x="2018" y="2250"/>
                </a:moveTo>
                <a:cubicBezTo>
                  <a:pt x="2018" y="1987"/>
                  <a:pt x="2278" y="1486"/>
                  <a:pt x="2437" y="1539"/>
                </a:cubicBezTo>
                <a:cubicBezTo>
                  <a:pt x="2625" y="1601"/>
                  <a:pt x="2282" y="2106"/>
                  <a:pt x="2018" y="2250"/>
                </a:cubicBezTo>
                <a:close/>
                <a:moveTo>
                  <a:pt x="1755" y="4133"/>
                </a:moveTo>
                <a:cubicBezTo>
                  <a:pt x="1635" y="4138"/>
                  <a:pt x="1556" y="4062"/>
                  <a:pt x="1556" y="3934"/>
                </a:cubicBezTo>
                <a:cubicBezTo>
                  <a:pt x="1556" y="3591"/>
                  <a:pt x="2031" y="3264"/>
                  <a:pt x="2390" y="3088"/>
                </a:cubicBezTo>
                <a:cubicBezTo>
                  <a:pt x="2327" y="3567"/>
                  <a:pt x="2165" y="4114"/>
                  <a:pt x="1755" y="4133"/>
                </a:cubicBezTo>
                <a:close/>
                <a:moveTo>
                  <a:pt x="3949" y="3016"/>
                </a:moveTo>
                <a:cubicBezTo>
                  <a:pt x="3678" y="3016"/>
                  <a:pt x="3470" y="3215"/>
                  <a:pt x="3470" y="3455"/>
                </a:cubicBezTo>
                <a:cubicBezTo>
                  <a:pt x="3470" y="3654"/>
                  <a:pt x="3590" y="3813"/>
                  <a:pt x="3750" y="3813"/>
                </a:cubicBezTo>
                <a:cubicBezTo>
                  <a:pt x="3806" y="3813"/>
                  <a:pt x="3861" y="3782"/>
                  <a:pt x="3861" y="3710"/>
                </a:cubicBezTo>
                <a:cubicBezTo>
                  <a:pt x="3861" y="3606"/>
                  <a:pt x="3724" y="3581"/>
                  <a:pt x="3734" y="3426"/>
                </a:cubicBezTo>
                <a:cubicBezTo>
                  <a:pt x="3741" y="3323"/>
                  <a:pt x="3837" y="3255"/>
                  <a:pt x="3933" y="3255"/>
                </a:cubicBezTo>
                <a:cubicBezTo>
                  <a:pt x="4124" y="3255"/>
                  <a:pt x="4214" y="3440"/>
                  <a:pt x="4214" y="3632"/>
                </a:cubicBezTo>
                <a:cubicBezTo>
                  <a:pt x="4206" y="3927"/>
                  <a:pt x="3989" y="4133"/>
                  <a:pt x="3734" y="4133"/>
                </a:cubicBezTo>
                <a:cubicBezTo>
                  <a:pt x="3398" y="4133"/>
                  <a:pt x="3183" y="3813"/>
                  <a:pt x="3183" y="3470"/>
                </a:cubicBezTo>
                <a:cubicBezTo>
                  <a:pt x="3183" y="2960"/>
                  <a:pt x="3518" y="2760"/>
                  <a:pt x="3694" y="2712"/>
                </a:cubicBezTo>
                <a:cubicBezTo>
                  <a:pt x="3696" y="2712"/>
                  <a:pt x="4153" y="2794"/>
                  <a:pt x="4138" y="2592"/>
                </a:cubicBezTo>
                <a:cubicBezTo>
                  <a:pt x="4132" y="2504"/>
                  <a:pt x="4000" y="2470"/>
                  <a:pt x="3905" y="2466"/>
                </a:cubicBezTo>
                <a:cubicBezTo>
                  <a:pt x="3799" y="2462"/>
                  <a:pt x="3692" y="2500"/>
                  <a:pt x="3692" y="2500"/>
                </a:cubicBezTo>
                <a:cubicBezTo>
                  <a:pt x="3636" y="2472"/>
                  <a:pt x="3598" y="2417"/>
                  <a:pt x="3574" y="2354"/>
                </a:cubicBezTo>
                <a:cubicBezTo>
                  <a:pt x="3901" y="2106"/>
                  <a:pt x="4133" y="1867"/>
                  <a:pt x="4133" y="1596"/>
                </a:cubicBezTo>
                <a:cubicBezTo>
                  <a:pt x="4133" y="1452"/>
                  <a:pt x="4037" y="1324"/>
                  <a:pt x="3853" y="1324"/>
                </a:cubicBezTo>
                <a:cubicBezTo>
                  <a:pt x="3526" y="1324"/>
                  <a:pt x="3279" y="1739"/>
                  <a:pt x="3279" y="2114"/>
                </a:cubicBezTo>
                <a:cubicBezTo>
                  <a:pt x="3279" y="2178"/>
                  <a:pt x="3279" y="2242"/>
                  <a:pt x="3295" y="2298"/>
                </a:cubicBezTo>
                <a:cubicBezTo>
                  <a:pt x="3087" y="2449"/>
                  <a:pt x="2933" y="2543"/>
                  <a:pt x="2654" y="2711"/>
                </a:cubicBezTo>
                <a:cubicBezTo>
                  <a:pt x="2654" y="2676"/>
                  <a:pt x="2661" y="2586"/>
                  <a:pt x="2685" y="2469"/>
                </a:cubicBezTo>
                <a:cubicBezTo>
                  <a:pt x="2780" y="2365"/>
                  <a:pt x="2912" y="2210"/>
                  <a:pt x="2912" y="2090"/>
                </a:cubicBezTo>
                <a:cubicBezTo>
                  <a:pt x="2912" y="2034"/>
                  <a:pt x="2880" y="1987"/>
                  <a:pt x="2816" y="1987"/>
                </a:cubicBezTo>
                <a:cubicBezTo>
                  <a:pt x="2657" y="1987"/>
                  <a:pt x="2537" y="2226"/>
                  <a:pt x="2505" y="2393"/>
                </a:cubicBezTo>
                <a:cubicBezTo>
                  <a:pt x="2433" y="2481"/>
                  <a:pt x="2290" y="2593"/>
                  <a:pt x="2170" y="2593"/>
                </a:cubicBezTo>
                <a:cubicBezTo>
                  <a:pt x="2074" y="2593"/>
                  <a:pt x="2042" y="2505"/>
                  <a:pt x="2034" y="2473"/>
                </a:cubicBezTo>
                <a:cubicBezTo>
                  <a:pt x="2338" y="2369"/>
                  <a:pt x="2712" y="1955"/>
                  <a:pt x="2712" y="1580"/>
                </a:cubicBezTo>
                <a:cubicBezTo>
                  <a:pt x="2712" y="1500"/>
                  <a:pt x="2681" y="1324"/>
                  <a:pt x="2441" y="1324"/>
                </a:cubicBezTo>
                <a:cubicBezTo>
                  <a:pt x="2082" y="1324"/>
                  <a:pt x="1779" y="1859"/>
                  <a:pt x="1779" y="2274"/>
                </a:cubicBezTo>
                <a:cubicBezTo>
                  <a:pt x="1651" y="2274"/>
                  <a:pt x="1604" y="2138"/>
                  <a:pt x="1604" y="2034"/>
                </a:cubicBezTo>
                <a:cubicBezTo>
                  <a:pt x="1604" y="1931"/>
                  <a:pt x="1643" y="1827"/>
                  <a:pt x="1643" y="1795"/>
                </a:cubicBezTo>
                <a:cubicBezTo>
                  <a:pt x="1643" y="1763"/>
                  <a:pt x="1627" y="1723"/>
                  <a:pt x="1580" y="1723"/>
                </a:cubicBezTo>
                <a:cubicBezTo>
                  <a:pt x="1460" y="1723"/>
                  <a:pt x="1388" y="1883"/>
                  <a:pt x="1388" y="2066"/>
                </a:cubicBezTo>
                <a:cubicBezTo>
                  <a:pt x="1396" y="2322"/>
                  <a:pt x="1564" y="2481"/>
                  <a:pt x="1787" y="2497"/>
                </a:cubicBezTo>
                <a:cubicBezTo>
                  <a:pt x="1819" y="2649"/>
                  <a:pt x="1955" y="2792"/>
                  <a:pt x="2122" y="2792"/>
                </a:cubicBezTo>
                <a:cubicBezTo>
                  <a:pt x="2226" y="2792"/>
                  <a:pt x="2353" y="2760"/>
                  <a:pt x="2441" y="2681"/>
                </a:cubicBezTo>
                <a:cubicBezTo>
                  <a:pt x="2433" y="2737"/>
                  <a:pt x="2425" y="2784"/>
                  <a:pt x="2417" y="2832"/>
                </a:cubicBezTo>
                <a:cubicBezTo>
                  <a:pt x="2066" y="3016"/>
                  <a:pt x="1811" y="3143"/>
                  <a:pt x="1580" y="3351"/>
                </a:cubicBezTo>
                <a:cubicBezTo>
                  <a:pt x="1396" y="3518"/>
                  <a:pt x="1292" y="3742"/>
                  <a:pt x="1292" y="3917"/>
                </a:cubicBezTo>
                <a:cubicBezTo>
                  <a:pt x="1292" y="4157"/>
                  <a:pt x="1444" y="4380"/>
                  <a:pt x="1755" y="4380"/>
                </a:cubicBezTo>
                <a:cubicBezTo>
                  <a:pt x="2122" y="4380"/>
                  <a:pt x="2401" y="4085"/>
                  <a:pt x="2537" y="3678"/>
                </a:cubicBezTo>
                <a:cubicBezTo>
                  <a:pt x="2601" y="3486"/>
                  <a:pt x="2626" y="3208"/>
                  <a:pt x="2642" y="2952"/>
                </a:cubicBezTo>
                <a:cubicBezTo>
                  <a:pt x="3009" y="2745"/>
                  <a:pt x="3183" y="2625"/>
                  <a:pt x="3374" y="2489"/>
                </a:cubicBezTo>
                <a:cubicBezTo>
                  <a:pt x="3398" y="2529"/>
                  <a:pt x="3423" y="2561"/>
                  <a:pt x="3454" y="2585"/>
                </a:cubicBezTo>
                <a:cubicBezTo>
                  <a:pt x="3287" y="2673"/>
                  <a:pt x="2888" y="2920"/>
                  <a:pt x="2888" y="3502"/>
                </a:cubicBezTo>
                <a:cubicBezTo>
                  <a:pt x="2888" y="3917"/>
                  <a:pt x="3167" y="4380"/>
                  <a:pt x="3718" y="4380"/>
                </a:cubicBezTo>
                <a:cubicBezTo>
                  <a:pt x="4172" y="4380"/>
                  <a:pt x="4484" y="4005"/>
                  <a:pt x="4484" y="3646"/>
                </a:cubicBezTo>
                <a:cubicBezTo>
                  <a:pt x="4484" y="3319"/>
                  <a:pt x="4300" y="3016"/>
                  <a:pt x="3949" y="3016"/>
                </a:cubicBezTo>
                <a:close/>
                <a:moveTo>
                  <a:pt x="5321" y="3701"/>
                </a:moveTo>
                <a:cubicBezTo>
                  <a:pt x="5319" y="3703"/>
                  <a:pt x="5315" y="3707"/>
                  <a:pt x="5306" y="3704"/>
                </a:cubicBezTo>
                <a:cubicBezTo>
                  <a:pt x="5299" y="3702"/>
                  <a:pt x="5297" y="3698"/>
                  <a:pt x="5297" y="3694"/>
                </a:cubicBezTo>
                <a:cubicBezTo>
                  <a:pt x="5298" y="3689"/>
                  <a:pt x="5394" y="3405"/>
                  <a:pt x="5393" y="3080"/>
                </a:cubicBezTo>
                <a:cubicBezTo>
                  <a:pt x="5392" y="2728"/>
                  <a:pt x="5249" y="2513"/>
                  <a:pt x="5066" y="2513"/>
                </a:cubicBezTo>
                <a:cubicBezTo>
                  <a:pt x="4954" y="2513"/>
                  <a:pt x="4874" y="2593"/>
                  <a:pt x="4874" y="2712"/>
                </a:cubicBezTo>
                <a:cubicBezTo>
                  <a:pt x="4874" y="2928"/>
                  <a:pt x="5138" y="2944"/>
                  <a:pt x="5138" y="3415"/>
                </a:cubicBezTo>
                <a:cubicBezTo>
                  <a:pt x="5138" y="3606"/>
                  <a:pt x="5098" y="3789"/>
                  <a:pt x="5034" y="3989"/>
                </a:cubicBezTo>
                <a:cubicBezTo>
                  <a:pt x="4739" y="4986"/>
                  <a:pt x="3797" y="5449"/>
                  <a:pt x="2880" y="5449"/>
                </a:cubicBezTo>
                <a:cubicBezTo>
                  <a:pt x="2457" y="5449"/>
                  <a:pt x="2157" y="5362"/>
                  <a:pt x="2067" y="5322"/>
                </a:cubicBezTo>
                <a:cubicBezTo>
                  <a:pt x="2063" y="5320"/>
                  <a:pt x="2061" y="5313"/>
                  <a:pt x="2063" y="5306"/>
                </a:cubicBezTo>
                <a:cubicBezTo>
                  <a:pt x="2065" y="5300"/>
                  <a:pt x="2072" y="5296"/>
                  <a:pt x="2075" y="5298"/>
                </a:cubicBezTo>
                <a:cubicBezTo>
                  <a:pt x="2111" y="5312"/>
                  <a:pt x="2369" y="5393"/>
                  <a:pt x="2689" y="5393"/>
                </a:cubicBezTo>
                <a:cubicBezTo>
                  <a:pt x="3040" y="5393"/>
                  <a:pt x="3247" y="5250"/>
                  <a:pt x="3247" y="5074"/>
                </a:cubicBezTo>
                <a:cubicBezTo>
                  <a:pt x="3247" y="4962"/>
                  <a:pt x="3159" y="4875"/>
                  <a:pt x="3047" y="4875"/>
                </a:cubicBezTo>
                <a:cubicBezTo>
                  <a:pt x="2832" y="4875"/>
                  <a:pt x="2816" y="5146"/>
                  <a:pt x="2353" y="5146"/>
                </a:cubicBezTo>
                <a:cubicBezTo>
                  <a:pt x="2154" y="5146"/>
                  <a:pt x="1979" y="5106"/>
                  <a:pt x="1771" y="5042"/>
                </a:cubicBezTo>
                <a:cubicBezTo>
                  <a:pt x="782" y="4739"/>
                  <a:pt x="310" y="3805"/>
                  <a:pt x="311" y="2880"/>
                </a:cubicBezTo>
                <a:cubicBezTo>
                  <a:pt x="311" y="2429"/>
                  <a:pt x="438" y="2070"/>
                  <a:pt x="440" y="2067"/>
                </a:cubicBezTo>
                <a:cubicBezTo>
                  <a:pt x="441" y="2065"/>
                  <a:pt x="447" y="2062"/>
                  <a:pt x="454" y="2065"/>
                </a:cubicBezTo>
                <a:cubicBezTo>
                  <a:pt x="461" y="2067"/>
                  <a:pt x="463" y="2073"/>
                  <a:pt x="462" y="2075"/>
                </a:cubicBezTo>
                <a:cubicBezTo>
                  <a:pt x="451" y="2112"/>
                  <a:pt x="367" y="2370"/>
                  <a:pt x="367" y="2688"/>
                </a:cubicBezTo>
                <a:cubicBezTo>
                  <a:pt x="367" y="3040"/>
                  <a:pt x="511" y="3247"/>
                  <a:pt x="694" y="3247"/>
                </a:cubicBezTo>
                <a:cubicBezTo>
                  <a:pt x="798" y="3247"/>
                  <a:pt x="885" y="3167"/>
                  <a:pt x="885" y="3056"/>
                </a:cubicBezTo>
                <a:cubicBezTo>
                  <a:pt x="885" y="2840"/>
                  <a:pt x="622" y="2816"/>
                  <a:pt x="622" y="2354"/>
                </a:cubicBezTo>
                <a:cubicBezTo>
                  <a:pt x="622" y="2154"/>
                  <a:pt x="662" y="1978"/>
                  <a:pt x="726" y="1771"/>
                </a:cubicBezTo>
                <a:cubicBezTo>
                  <a:pt x="1029" y="782"/>
                  <a:pt x="1963" y="318"/>
                  <a:pt x="2880" y="311"/>
                </a:cubicBezTo>
                <a:cubicBezTo>
                  <a:pt x="3306" y="308"/>
                  <a:pt x="3680" y="435"/>
                  <a:pt x="3694" y="447"/>
                </a:cubicBezTo>
                <a:cubicBezTo>
                  <a:pt x="3696" y="449"/>
                  <a:pt x="3699" y="455"/>
                  <a:pt x="3696" y="461"/>
                </a:cubicBezTo>
                <a:cubicBezTo>
                  <a:pt x="3693" y="468"/>
                  <a:pt x="3688" y="469"/>
                  <a:pt x="3686" y="469"/>
                </a:cubicBezTo>
                <a:cubicBezTo>
                  <a:pt x="3681" y="468"/>
                  <a:pt x="3439" y="367"/>
                  <a:pt x="3071" y="367"/>
                </a:cubicBezTo>
                <a:cubicBezTo>
                  <a:pt x="2728" y="367"/>
                  <a:pt x="2513" y="510"/>
                  <a:pt x="2513" y="694"/>
                </a:cubicBezTo>
                <a:cubicBezTo>
                  <a:pt x="2513" y="798"/>
                  <a:pt x="2593" y="885"/>
                  <a:pt x="2712" y="885"/>
                </a:cubicBezTo>
                <a:cubicBezTo>
                  <a:pt x="2928" y="885"/>
                  <a:pt x="2944" y="622"/>
                  <a:pt x="3406" y="622"/>
                </a:cubicBezTo>
                <a:cubicBezTo>
                  <a:pt x="3606" y="622"/>
                  <a:pt x="3781" y="662"/>
                  <a:pt x="3989" y="726"/>
                </a:cubicBezTo>
                <a:cubicBezTo>
                  <a:pt x="4986" y="1029"/>
                  <a:pt x="5440" y="1971"/>
                  <a:pt x="5449" y="2880"/>
                </a:cubicBezTo>
                <a:cubicBezTo>
                  <a:pt x="5453" y="3346"/>
                  <a:pt x="5322" y="3699"/>
                  <a:pt x="5321" y="3701"/>
                </a:cubicBezTo>
                <a:close/>
                <a:moveTo>
                  <a:pt x="2880" y="136"/>
                </a:moveTo>
                <a:cubicBezTo>
                  <a:pt x="1364" y="136"/>
                  <a:pt x="135" y="1364"/>
                  <a:pt x="135" y="2880"/>
                </a:cubicBezTo>
                <a:cubicBezTo>
                  <a:pt x="135" y="4396"/>
                  <a:pt x="1364" y="5624"/>
                  <a:pt x="2880" y="5624"/>
                </a:cubicBezTo>
                <a:cubicBezTo>
                  <a:pt x="4396" y="5624"/>
                  <a:pt x="5624" y="4396"/>
                  <a:pt x="5624" y="2880"/>
                </a:cubicBezTo>
                <a:cubicBezTo>
                  <a:pt x="5624" y="1372"/>
                  <a:pt x="4396" y="136"/>
                  <a:pt x="2880" y="136"/>
                </a:cubicBezTo>
                <a:close/>
                <a:moveTo>
                  <a:pt x="2880" y="5760"/>
                </a:moveTo>
                <a:cubicBezTo>
                  <a:pt x="1292" y="5760"/>
                  <a:pt x="0" y="4476"/>
                  <a:pt x="0" y="2880"/>
                </a:cubicBezTo>
                <a:cubicBezTo>
                  <a:pt x="0" y="1292"/>
                  <a:pt x="1292" y="0"/>
                  <a:pt x="2880" y="0"/>
                </a:cubicBezTo>
                <a:cubicBezTo>
                  <a:pt x="4467" y="0"/>
                  <a:pt x="5760" y="1292"/>
                  <a:pt x="5760" y="2880"/>
                </a:cubicBezTo>
                <a:cubicBezTo>
                  <a:pt x="5760" y="4476"/>
                  <a:pt x="4467" y="5760"/>
                  <a:pt x="2880" y="5760"/>
                </a:cubicBezTo>
                <a:close/>
              </a:path>
            </a:pathLst>
          </a:custGeom>
          <a:solidFill>
            <a:srgbClr val="57575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TextBox 21">
            <a:extLst>
              <a:ext uri="{FF2B5EF4-FFF2-40B4-BE49-F238E27FC236}">
                <a16:creationId xmlns:a16="http://schemas.microsoft.com/office/drawing/2014/main" id="{5602B6FB-99AD-4265-9644-929CC889F5A8}"/>
              </a:ext>
            </a:extLst>
          </p:cNvPr>
          <p:cNvSpPr txBox="1"/>
          <p:nvPr userDrawn="1"/>
        </p:nvSpPr>
        <p:spPr>
          <a:xfrm>
            <a:off x="3834300" y="6565680"/>
            <a:ext cx="4540651" cy="18288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63666A"/>
                </a:solidFill>
                <a:effectLst/>
                <a:uLnTx/>
                <a:uFillTx/>
                <a:latin typeface="GE Inspira Sans"/>
                <a:ea typeface="+mn-ea"/>
                <a:cs typeface="+mn-cs"/>
              </a:rPr>
              <a:t>© 2020 General Electric Company. Proprietary.  All Rights Reserved.</a:t>
            </a:r>
            <a:endParaRPr kumimoji="0" lang="en-CA" sz="900" b="0" i="0" u="none" strike="noStrike" kern="1200" cap="none" spc="0" normalizeH="0" baseline="0" noProof="0" dirty="0">
              <a:ln>
                <a:noFill/>
              </a:ln>
              <a:solidFill>
                <a:srgbClr val="63666A"/>
              </a:solidFill>
              <a:effectLst/>
              <a:uLnTx/>
              <a:uFillTx/>
              <a:latin typeface="GE Inspira Sans"/>
              <a:ea typeface="+mn-ea"/>
              <a:cs typeface="+mn-cs"/>
            </a:endParaRPr>
          </a:p>
        </p:txBody>
      </p:sp>
    </p:spTree>
    <p:extLst>
      <p:ext uri="{BB962C8B-B14F-4D97-AF65-F5344CB8AC3E}">
        <p14:creationId xmlns:p14="http://schemas.microsoft.com/office/powerpoint/2010/main" val="234769479"/>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Lst>
  <p:hf hdr="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95000"/>
        </a:lnSpc>
        <a:spcBef>
          <a:spcPts val="1200"/>
        </a:spcBef>
        <a:spcAft>
          <a:spcPts val="0"/>
        </a:spcAft>
        <a:buFont typeface="Arial" panose="020B0604020202020204" pitchFamily="34" charset="0"/>
        <a:buNone/>
        <a:defRPr sz="2800" kern="1200">
          <a:solidFill>
            <a:schemeClr val="accent2"/>
          </a:solidFill>
          <a:latin typeface="+mn-lt"/>
          <a:ea typeface="+mn-ea"/>
          <a:cs typeface="+mn-cs"/>
        </a:defRPr>
      </a:lvl1pPr>
      <a:lvl2pPr marL="219456" indent="-168275" algn="l" defTabSz="914400" rtl="0" eaLnBrk="1" latinLnBrk="0" hangingPunct="1">
        <a:lnSpc>
          <a:spcPct val="95000"/>
        </a:lnSpc>
        <a:spcBef>
          <a:spcPts val="700"/>
        </a:spcBef>
        <a:spcAft>
          <a:spcPts val="0"/>
        </a:spcAft>
        <a:buFont typeface="Arial" panose="020B0604020202020204" pitchFamily="34" charset="0"/>
        <a:buChar char="•"/>
        <a:defRPr sz="2400" kern="1200">
          <a:solidFill>
            <a:schemeClr val="accent2"/>
          </a:solidFill>
          <a:latin typeface="+mn-lt"/>
          <a:ea typeface="+mn-ea"/>
          <a:cs typeface="+mn-cs"/>
        </a:defRPr>
      </a:lvl2pPr>
      <a:lvl3pPr marL="461963" indent="-192024" algn="l" defTabSz="914400" rtl="0" eaLnBrk="1" latinLnBrk="0" hangingPunct="1">
        <a:lnSpc>
          <a:spcPct val="95000"/>
        </a:lnSpc>
        <a:spcBef>
          <a:spcPts val="600"/>
        </a:spcBef>
        <a:spcAft>
          <a:spcPts val="0"/>
        </a:spcAft>
        <a:buSzPct val="100000"/>
        <a:buFontTx/>
        <a:buChar char="–"/>
        <a:defRPr sz="2000" kern="1200">
          <a:solidFill>
            <a:schemeClr val="accent2"/>
          </a:solidFill>
          <a:latin typeface="+mn-lt"/>
          <a:ea typeface="+mn-ea"/>
          <a:cs typeface="+mn-cs"/>
        </a:defRPr>
      </a:lvl3pPr>
      <a:lvl4pPr marL="682625" indent="-173038" algn="l" defTabSz="914400" rtl="0" eaLnBrk="1" latinLnBrk="0" hangingPunct="1">
        <a:lnSpc>
          <a:spcPct val="95000"/>
        </a:lnSpc>
        <a:spcBef>
          <a:spcPts val="600"/>
        </a:spcBef>
        <a:spcAft>
          <a:spcPts val="0"/>
        </a:spcAft>
        <a:buFont typeface="Arial" panose="020B0604020202020204" pitchFamily="34" charset="0"/>
        <a:buChar char="•"/>
        <a:defRPr sz="1600" kern="1200">
          <a:solidFill>
            <a:schemeClr val="accent2"/>
          </a:solidFill>
          <a:latin typeface="+mn-lt"/>
          <a:ea typeface="+mn-ea"/>
          <a:cs typeface="+mn-cs"/>
        </a:defRPr>
      </a:lvl4pPr>
      <a:lvl5pPr marL="914400" indent="-173038" algn="l" defTabSz="914400" rtl="0" eaLnBrk="1" latinLnBrk="0" hangingPunct="1">
        <a:lnSpc>
          <a:spcPct val="95000"/>
        </a:lnSpc>
        <a:spcBef>
          <a:spcPts val="600"/>
        </a:spcBef>
        <a:spcAft>
          <a:spcPts val="0"/>
        </a:spcAft>
        <a:buClr>
          <a:schemeClr val="tx1"/>
        </a:buClr>
        <a:buSzPct val="100000"/>
        <a:buFontTx/>
        <a:buChar char="–"/>
        <a:defRPr sz="14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
          <p15:clr>
            <a:srgbClr val="F26B43"/>
          </p15:clr>
        </p15:guide>
        <p15:guide id="3" pos="7368">
          <p15:clr>
            <a:srgbClr val="F26B43"/>
          </p15:clr>
        </p15:guide>
        <p15:guide id="4" orient="horz" pos="4200">
          <p15:clr>
            <a:srgbClr val="F26B43"/>
          </p15:clr>
        </p15:guide>
        <p15:guide id="5" orient="horz" pos="384">
          <p15:clr>
            <a:srgbClr val="F26B43"/>
          </p15:clr>
        </p15:guide>
        <p15:guide id="6" orient="horz" pos="1176">
          <p15:clr>
            <a:srgbClr val="F26B43"/>
          </p15:clr>
        </p15:guide>
        <p15:guide id="7"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8"/>
            </p:custDataLst>
            <p:extLst>
              <p:ext uri="{D42A27DB-BD31-4B8C-83A1-F6EECF244321}">
                <p14:modId xmlns:p14="http://schemas.microsoft.com/office/powerpoint/2010/main" val="185685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30" imgW="270" imgH="270" progId="TCLayout.ActiveDocument.1">
                  <p:embed/>
                </p:oleObj>
              </mc:Choice>
              <mc:Fallback>
                <p:oleObj name="Diapositive think-cell" r:id="rId30" imgW="270" imgH="270" progId="TCLayout.ActiveDocument.1">
                  <p:embed/>
                  <p:pic>
                    <p:nvPicPr>
                      <p:cNvPr id="5" name="Object 4"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F75F81A-FB17-4CA6-9A59-99CF8363D572}"/>
              </a:ext>
            </a:extLst>
          </p:cNvPr>
          <p:cNvSpPr/>
          <p:nvPr userDrawn="1">
            <p:custDataLst>
              <p:tags r:id="rId2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GE Inspira Sans" panose="020B0503060000000003" pitchFamily="34" charset="0"/>
              <a:ea typeface="+mj-ea"/>
              <a:cs typeface="+mj-cs"/>
              <a:sym typeface="GE Inspira Sans" panose="020B0503060000000003" pitchFamily="34" charset="0"/>
            </a:endParaRPr>
          </a:p>
        </p:txBody>
      </p:sp>
      <p:sp>
        <p:nvSpPr>
          <p:cNvPr id="2" name="Title Placeholder 1"/>
          <p:cNvSpPr>
            <a:spLocks noGrp="1"/>
          </p:cNvSpPr>
          <p:nvPr>
            <p:ph type="title"/>
          </p:nvPr>
        </p:nvSpPr>
        <p:spPr>
          <a:xfrm>
            <a:off x="495300" y="276917"/>
            <a:ext cx="11201400" cy="9144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495300" y="1793081"/>
            <a:ext cx="11201400" cy="43053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371032" y="6553226"/>
            <a:ext cx="329636" cy="182880"/>
          </a:xfrm>
          <a:prstGeom prst="rect">
            <a:avLst/>
          </a:prstGeom>
        </p:spPr>
        <p:txBody>
          <a:bodyPr vert="horz" lIns="0" tIns="0" rIns="0" bIns="0" rtlCol="0" anchor="t" anchorCtr="0">
            <a:noAutofit/>
          </a:bodyPr>
          <a:lstStyle>
            <a:lvl1pPr algn="r">
              <a:defRPr sz="1000">
                <a:solidFill>
                  <a:schemeClr val="accent2"/>
                </a:solidFill>
              </a:defRPr>
            </a:lvl1pPr>
          </a:lstStyle>
          <a:p>
            <a:fld id="{00E6A5BD-C011-4A45-AA3A-201790FB7F2B}" type="slidenum">
              <a:rPr lang="en-US" smtClean="0"/>
              <a:pPr/>
              <a:t>‹#›</a:t>
            </a:fld>
            <a:endParaRPr lang="en-US" dirty="0"/>
          </a:p>
        </p:txBody>
      </p:sp>
      <p:sp>
        <p:nvSpPr>
          <p:cNvPr id="10" name="Freeform 5"/>
          <p:cNvSpPr>
            <a:spLocks noChangeAspect="1" noEditPoints="1"/>
          </p:cNvSpPr>
          <p:nvPr userDrawn="1"/>
        </p:nvSpPr>
        <p:spPr bwMode="auto">
          <a:xfrm>
            <a:off x="515012" y="6312756"/>
            <a:ext cx="384048" cy="384048"/>
          </a:xfrm>
          <a:custGeom>
            <a:avLst/>
            <a:gdLst>
              <a:gd name="T0" fmla="*/ 3869 w 5760"/>
              <a:gd name="T1" fmla="*/ 1545 h 5760"/>
              <a:gd name="T2" fmla="*/ 2018 w 5760"/>
              <a:gd name="T3" fmla="*/ 2250 h 5760"/>
              <a:gd name="T4" fmla="*/ 2018 w 5760"/>
              <a:gd name="T5" fmla="*/ 2250 h 5760"/>
              <a:gd name="T6" fmla="*/ 1556 w 5760"/>
              <a:gd name="T7" fmla="*/ 3934 h 5760"/>
              <a:gd name="T8" fmla="*/ 1755 w 5760"/>
              <a:gd name="T9" fmla="*/ 4133 h 5760"/>
              <a:gd name="T10" fmla="*/ 3470 w 5760"/>
              <a:gd name="T11" fmla="*/ 3455 h 5760"/>
              <a:gd name="T12" fmla="*/ 3861 w 5760"/>
              <a:gd name="T13" fmla="*/ 3710 h 5760"/>
              <a:gd name="T14" fmla="*/ 3933 w 5760"/>
              <a:gd name="T15" fmla="*/ 3255 h 5760"/>
              <a:gd name="T16" fmla="*/ 3734 w 5760"/>
              <a:gd name="T17" fmla="*/ 4133 h 5760"/>
              <a:gd name="T18" fmla="*/ 3694 w 5760"/>
              <a:gd name="T19" fmla="*/ 2712 h 5760"/>
              <a:gd name="T20" fmla="*/ 3905 w 5760"/>
              <a:gd name="T21" fmla="*/ 2466 h 5760"/>
              <a:gd name="T22" fmla="*/ 3574 w 5760"/>
              <a:gd name="T23" fmla="*/ 2354 h 5760"/>
              <a:gd name="T24" fmla="*/ 3853 w 5760"/>
              <a:gd name="T25" fmla="*/ 1324 h 5760"/>
              <a:gd name="T26" fmla="*/ 3295 w 5760"/>
              <a:gd name="T27" fmla="*/ 2298 h 5760"/>
              <a:gd name="T28" fmla="*/ 2685 w 5760"/>
              <a:gd name="T29" fmla="*/ 2469 h 5760"/>
              <a:gd name="T30" fmla="*/ 2816 w 5760"/>
              <a:gd name="T31" fmla="*/ 1987 h 5760"/>
              <a:gd name="T32" fmla="*/ 2170 w 5760"/>
              <a:gd name="T33" fmla="*/ 2593 h 5760"/>
              <a:gd name="T34" fmla="*/ 2712 w 5760"/>
              <a:gd name="T35" fmla="*/ 1580 h 5760"/>
              <a:gd name="T36" fmla="*/ 1779 w 5760"/>
              <a:gd name="T37" fmla="*/ 2274 h 5760"/>
              <a:gd name="T38" fmla="*/ 1643 w 5760"/>
              <a:gd name="T39" fmla="*/ 1795 h 5760"/>
              <a:gd name="T40" fmla="*/ 1388 w 5760"/>
              <a:gd name="T41" fmla="*/ 2066 h 5760"/>
              <a:gd name="T42" fmla="*/ 2122 w 5760"/>
              <a:gd name="T43" fmla="*/ 2792 h 5760"/>
              <a:gd name="T44" fmla="*/ 2417 w 5760"/>
              <a:gd name="T45" fmla="*/ 2832 h 5760"/>
              <a:gd name="T46" fmla="*/ 1292 w 5760"/>
              <a:gd name="T47" fmla="*/ 3917 h 5760"/>
              <a:gd name="T48" fmla="*/ 2537 w 5760"/>
              <a:gd name="T49" fmla="*/ 3678 h 5760"/>
              <a:gd name="T50" fmla="*/ 3374 w 5760"/>
              <a:gd name="T51" fmla="*/ 2489 h 5760"/>
              <a:gd name="T52" fmla="*/ 2888 w 5760"/>
              <a:gd name="T53" fmla="*/ 3502 h 5760"/>
              <a:gd name="T54" fmla="*/ 4484 w 5760"/>
              <a:gd name="T55" fmla="*/ 3646 h 5760"/>
              <a:gd name="T56" fmla="*/ 5321 w 5760"/>
              <a:gd name="T57" fmla="*/ 3701 h 5760"/>
              <a:gd name="T58" fmla="*/ 5297 w 5760"/>
              <a:gd name="T59" fmla="*/ 3694 h 5760"/>
              <a:gd name="T60" fmla="*/ 5066 w 5760"/>
              <a:gd name="T61" fmla="*/ 2513 h 5760"/>
              <a:gd name="T62" fmla="*/ 5138 w 5760"/>
              <a:gd name="T63" fmla="*/ 3415 h 5760"/>
              <a:gd name="T64" fmla="*/ 2880 w 5760"/>
              <a:gd name="T65" fmla="*/ 5449 h 5760"/>
              <a:gd name="T66" fmla="*/ 2063 w 5760"/>
              <a:gd name="T67" fmla="*/ 5306 h 5760"/>
              <a:gd name="T68" fmla="*/ 2689 w 5760"/>
              <a:gd name="T69" fmla="*/ 5393 h 5760"/>
              <a:gd name="T70" fmla="*/ 3047 w 5760"/>
              <a:gd name="T71" fmla="*/ 4875 h 5760"/>
              <a:gd name="T72" fmla="*/ 1771 w 5760"/>
              <a:gd name="T73" fmla="*/ 5042 h 5760"/>
              <a:gd name="T74" fmla="*/ 440 w 5760"/>
              <a:gd name="T75" fmla="*/ 2067 h 5760"/>
              <a:gd name="T76" fmla="*/ 462 w 5760"/>
              <a:gd name="T77" fmla="*/ 2075 h 5760"/>
              <a:gd name="T78" fmla="*/ 694 w 5760"/>
              <a:gd name="T79" fmla="*/ 3247 h 5760"/>
              <a:gd name="T80" fmla="*/ 622 w 5760"/>
              <a:gd name="T81" fmla="*/ 2354 h 5760"/>
              <a:gd name="T82" fmla="*/ 2880 w 5760"/>
              <a:gd name="T83" fmla="*/ 311 h 5760"/>
              <a:gd name="T84" fmla="*/ 3696 w 5760"/>
              <a:gd name="T85" fmla="*/ 461 h 5760"/>
              <a:gd name="T86" fmla="*/ 3071 w 5760"/>
              <a:gd name="T87" fmla="*/ 367 h 5760"/>
              <a:gd name="T88" fmla="*/ 2712 w 5760"/>
              <a:gd name="T89" fmla="*/ 885 h 5760"/>
              <a:gd name="T90" fmla="*/ 3989 w 5760"/>
              <a:gd name="T91" fmla="*/ 726 h 5760"/>
              <a:gd name="T92" fmla="*/ 5321 w 5760"/>
              <a:gd name="T93" fmla="*/ 3701 h 5760"/>
              <a:gd name="T94" fmla="*/ 135 w 5760"/>
              <a:gd name="T95" fmla="*/ 2880 h 5760"/>
              <a:gd name="T96" fmla="*/ 5624 w 5760"/>
              <a:gd name="T97" fmla="*/ 2880 h 5760"/>
              <a:gd name="T98" fmla="*/ 2880 w 5760"/>
              <a:gd name="T99" fmla="*/ 5760 h 5760"/>
              <a:gd name="T100" fmla="*/ 2880 w 5760"/>
              <a:gd name="T101" fmla="*/ 0 h 5760"/>
              <a:gd name="T102" fmla="*/ 2880 w 5760"/>
              <a:gd name="T103" fmla="*/ 576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5760">
                <a:moveTo>
                  <a:pt x="3526" y="2130"/>
                </a:moveTo>
                <a:cubicBezTo>
                  <a:pt x="3526" y="1803"/>
                  <a:pt x="3748" y="1485"/>
                  <a:pt x="3869" y="1545"/>
                </a:cubicBezTo>
                <a:cubicBezTo>
                  <a:pt x="4006" y="1614"/>
                  <a:pt x="3766" y="1923"/>
                  <a:pt x="3526" y="2130"/>
                </a:cubicBezTo>
                <a:moveTo>
                  <a:pt x="2018" y="2250"/>
                </a:moveTo>
                <a:cubicBezTo>
                  <a:pt x="2018" y="1987"/>
                  <a:pt x="2278" y="1486"/>
                  <a:pt x="2437" y="1539"/>
                </a:cubicBezTo>
                <a:cubicBezTo>
                  <a:pt x="2625" y="1601"/>
                  <a:pt x="2282" y="2106"/>
                  <a:pt x="2018" y="2250"/>
                </a:cubicBezTo>
                <a:close/>
                <a:moveTo>
                  <a:pt x="1755" y="4133"/>
                </a:moveTo>
                <a:cubicBezTo>
                  <a:pt x="1635" y="4138"/>
                  <a:pt x="1556" y="4062"/>
                  <a:pt x="1556" y="3934"/>
                </a:cubicBezTo>
                <a:cubicBezTo>
                  <a:pt x="1556" y="3591"/>
                  <a:pt x="2031" y="3264"/>
                  <a:pt x="2390" y="3088"/>
                </a:cubicBezTo>
                <a:cubicBezTo>
                  <a:pt x="2327" y="3567"/>
                  <a:pt x="2165" y="4114"/>
                  <a:pt x="1755" y="4133"/>
                </a:cubicBezTo>
                <a:close/>
                <a:moveTo>
                  <a:pt x="3949" y="3016"/>
                </a:moveTo>
                <a:cubicBezTo>
                  <a:pt x="3678" y="3016"/>
                  <a:pt x="3470" y="3215"/>
                  <a:pt x="3470" y="3455"/>
                </a:cubicBezTo>
                <a:cubicBezTo>
                  <a:pt x="3470" y="3654"/>
                  <a:pt x="3590" y="3813"/>
                  <a:pt x="3750" y="3813"/>
                </a:cubicBezTo>
                <a:cubicBezTo>
                  <a:pt x="3806" y="3813"/>
                  <a:pt x="3861" y="3782"/>
                  <a:pt x="3861" y="3710"/>
                </a:cubicBezTo>
                <a:cubicBezTo>
                  <a:pt x="3861" y="3606"/>
                  <a:pt x="3724" y="3581"/>
                  <a:pt x="3734" y="3426"/>
                </a:cubicBezTo>
                <a:cubicBezTo>
                  <a:pt x="3741" y="3323"/>
                  <a:pt x="3837" y="3255"/>
                  <a:pt x="3933" y="3255"/>
                </a:cubicBezTo>
                <a:cubicBezTo>
                  <a:pt x="4124" y="3255"/>
                  <a:pt x="4214" y="3440"/>
                  <a:pt x="4214" y="3632"/>
                </a:cubicBezTo>
                <a:cubicBezTo>
                  <a:pt x="4206" y="3927"/>
                  <a:pt x="3989" y="4133"/>
                  <a:pt x="3734" y="4133"/>
                </a:cubicBezTo>
                <a:cubicBezTo>
                  <a:pt x="3398" y="4133"/>
                  <a:pt x="3183" y="3813"/>
                  <a:pt x="3183" y="3470"/>
                </a:cubicBezTo>
                <a:cubicBezTo>
                  <a:pt x="3183" y="2960"/>
                  <a:pt x="3518" y="2760"/>
                  <a:pt x="3694" y="2712"/>
                </a:cubicBezTo>
                <a:cubicBezTo>
                  <a:pt x="3696" y="2712"/>
                  <a:pt x="4153" y="2794"/>
                  <a:pt x="4138" y="2592"/>
                </a:cubicBezTo>
                <a:cubicBezTo>
                  <a:pt x="4132" y="2504"/>
                  <a:pt x="4000" y="2470"/>
                  <a:pt x="3905" y="2466"/>
                </a:cubicBezTo>
                <a:cubicBezTo>
                  <a:pt x="3799" y="2462"/>
                  <a:pt x="3692" y="2500"/>
                  <a:pt x="3692" y="2500"/>
                </a:cubicBezTo>
                <a:cubicBezTo>
                  <a:pt x="3636" y="2472"/>
                  <a:pt x="3598" y="2417"/>
                  <a:pt x="3574" y="2354"/>
                </a:cubicBezTo>
                <a:cubicBezTo>
                  <a:pt x="3901" y="2106"/>
                  <a:pt x="4133" y="1867"/>
                  <a:pt x="4133" y="1596"/>
                </a:cubicBezTo>
                <a:cubicBezTo>
                  <a:pt x="4133" y="1452"/>
                  <a:pt x="4037" y="1324"/>
                  <a:pt x="3853" y="1324"/>
                </a:cubicBezTo>
                <a:cubicBezTo>
                  <a:pt x="3526" y="1324"/>
                  <a:pt x="3279" y="1739"/>
                  <a:pt x="3279" y="2114"/>
                </a:cubicBezTo>
                <a:cubicBezTo>
                  <a:pt x="3279" y="2178"/>
                  <a:pt x="3279" y="2242"/>
                  <a:pt x="3295" y="2298"/>
                </a:cubicBezTo>
                <a:cubicBezTo>
                  <a:pt x="3087" y="2449"/>
                  <a:pt x="2933" y="2543"/>
                  <a:pt x="2654" y="2711"/>
                </a:cubicBezTo>
                <a:cubicBezTo>
                  <a:pt x="2654" y="2676"/>
                  <a:pt x="2661" y="2586"/>
                  <a:pt x="2685" y="2469"/>
                </a:cubicBezTo>
                <a:cubicBezTo>
                  <a:pt x="2780" y="2365"/>
                  <a:pt x="2912" y="2210"/>
                  <a:pt x="2912" y="2090"/>
                </a:cubicBezTo>
                <a:cubicBezTo>
                  <a:pt x="2912" y="2034"/>
                  <a:pt x="2880" y="1987"/>
                  <a:pt x="2816" y="1987"/>
                </a:cubicBezTo>
                <a:cubicBezTo>
                  <a:pt x="2657" y="1987"/>
                  <a:pt x="2537" y="2226"/>
                  <a:pt x="2505" y="2393"/>
                </a:cubicBezTo>
                <a:cubicBezTo>
                  <a:pt x="2433" y="2481"/>
                  <a:pt x="2290" y="2593"/>
                  <a:pt x="2170" y="2593"/>
                </a:cubicBezTo>
                <a:cubicBezTo>
                  <a:pt x="2074" y="2593"/>
                  <a:pt x="2042" y="2505"/>
                  <a:pt x="2034" y="2473"/>
                </a:cubicBezTo>
                <a:cubicBezTo>
                  <a:pt x="2338" y="2369"/>
                  <a:pt x="2712" y="1955"/>
                  <a:pt x="2712" y="1580"/>
                </a:cubicBezTo>
                <a:cubicBezTo>
                  <a:pt x="2712" y="1500"/>
                  <a:pt x="2681" y="1324"/>
                  <a:pt x="2441" y="1324"/>
                </a:cubicBezTo>
                <a:cubicBezTo>
                  <a:pt x="2082" y="1324"/>
                  <a:pt x="1779" y="1859"/>
                  <a:pt x="1779" y="2274"/>
                </a:cubicBezTo>
                <a:cubicBezTo>
                  <a:pt x="1651" y="2274"/>
                  <a:pt x="1604" y="2138"/>
                  <a:pt x="1604" y="2034"/>
                </a:cubicBezTo>
                <a:cubicBezTo>
                  <a:pt x="1604" y="1931"/>
                  <a:pt x="1643" y="1827"/>
                  <a:pt x="1643" y="1795"/>
                </a:cubicBezTo>
                <a:cubicBezTo>
                  <a:pt x="1643" y="1763"/>
                  <a:pt x="1627" y="1723"/>
                  <a:pt x="1580" y="1723"/>
                </a:cubicBezTo>
                <a:cubicBezTo>
                  <a:pt x="1460" y="1723"/>
                  <a:pt x="1388" y="1883"/>
                  <a:pt x="1388" y="2066"/>
                </a:cubicBezTo>
                <a:cubicBezTo>
                  <a:pt x="1396" y="2322"/>
                  <a:pt x="1564" y="2481"/>
                  <a:pt x="1787" y="2497"/>
                </a:cubicBezTo>
                <a:cubicBezTo>
                  <a:pt x="1819" y="2649"/>
                  <a:pt x="1955" y="2792"/>
                  <a:pt x="2122" y="2792"/>
                </a:cubicBezTo>
                <a:cubicBezTo>
                  <a:pt x="2226" y="2792"/>
                  <a:pt x="2353" y="2760"/>
                  <a:pt x="2441" y="2681"/>
                </a:cubicBezTo>
                <a:cubicBezTo>
                  <a:pt x="2433" y="2737"/>
                  <a:pt x="2425" y="2784"/>
                  <a:pt x="2417" y="2832"/>
                </a:cubicBezTo>
                <a:cubicBezTo>
                  <a:pt x="2066" y="3016"/>
                  <a:pt x="1811" y="3143"/>
                  <a:pt x="1580" y="3351"/>
                </a:cubicBezTo>
                <a:cubicBezTo>
                  <a:pt x="1396" y="3518"/>
                  <a:pt x="1292" y="3742"/>
                  <a:pt x="1292" y="3917"/>
                </a:cubicBezTo>
                <a:cubicBezTo>
                  <a:pt x="1292" y="4157"/>
                  <a:pt x="1444" y="4380"/>
                  <a:pt x="1755" y="4380"/>
                </a:cubicBezTo>
                <a:cubicBezTo>
                  <a:pt x="2122" y="4380"/>
                  <a:pt x="2401" y="4085"/>
                  <a:pt x="2537" y="3678"/>
                </a:cubicBezTo>
                <a:cubicBezTo>
                  <a:pt x="2601" y="3486"/>
                  <a:pt x="2626" y="3208"/>
                  <a:pt x="2642" y="2952"/>
                </a:cubicBezTo>
                <a:cubicBezTo>
                  <a:pt x="3009" y="2745"/>
                  <a:pt x="3183" y="2625"/>
                  <a:pt x="3374" y="2489"/>
                </a:cubicBezTo>
                <a:cubicBezTo>
                  <a:pt x="3398" y="2529"/>
                  <a:pt x="3423" y="2561"/>
                  <a:pt x="3454" y="2585"/>
                </a:cubicBezTo>
                <a:cubicBezTo>
                  <a:pt x="3287" y="2673"/>
                  <a:pt x="2888" y="2920"/>
                  <a:pt x="2888" y="3502"/>
                </a:cubicBezTo>
                <a:cubicBezTo>
                  <a:pt x="2888" y="3917"/>
                  <a:pt x="3167" y="4380"/>
                  <a:pt x="3718" y="4380"/>
                </a:cubicBezTo>
                <a:cubicBezTo>
                  <a:pt x="4172" y="4380"/>
                  <a:pt x="4484" y="4005"/>
                  <a:pt x="4484" y="3646"/>
                </a:cubicBezTo>
                <a:cubicBezTo>
                  <a:pt x="4484" y="3319"/>
                  <a:pt x="4300" y="3016"/>
                  <a:pt x="3949" y="3016"/>
                </a:cubicBezTo>
                <a:close/>
                <a:moveTo>
                  <a:pt x="5321" y="3701"/>
                </a:moveTo>
                <a:cubicBezTo>
                  <a:pt x="5319" y="3703"/>
                  <a:pt x="5315" y="3707"/>
                  <a:pt x="5306" y="3704"/>
                </a:cubicBezTo>
                <a:cubicBezTo>
                  <a:pt x="5299" y="3702"/>
                  <a:pt x="5297" y="3698"/>
                  <a:pt x="5297" y="3694"/>
                </a:cubicBezTo>
                <a:cubicBezTo>
                  <a:pt x="5298" y="3689"/>
                  <a:pt x="5394" y="3405"/>
                  <a:pt x="5393" y="3080"/>
                </a:cubicBezTo>
                <a:cubicBezTo>
                  <a:pt x="5392" y="2728"/>
                  <a:pt x="5249" y="2513"/>
                  <a:pt x="5066" y="2513"/>
                </a:cubicBezTo>
                <a:cubicBezTo>
                  <a:pt x="4954" y="2513"/>
                  <a:pt x="4874" y="2593"/>
                  <a:pt x="4874" y="2712"/>
                </a:cubicBezTo>
                <a:cubicBezTo>
                  <a:pt x="4874" y="2928"/>
                  <a:pt x="5138" y="2944"/>
                  <a:pt x="5138" y="3415"/>
                </a:cubicBezTo>
                <a:cubicBezTo>
                  <a:pt x="5138" y="3606"/>
                  <a:pt x="5098" y="3789"/>
                  <a:pt x="5034" y="3989"/>
                </a:cubicBezTo>
                <a:cubicBezTo>
                  <a:pt x="4739" y="4986"/>
                  <a:pt x="3797" y="5449"/>
                  <a:pt x="2880" y="5449"/>
                </a:cubicBezTo>
                <a:cubicBezTo>
                  <a:pt x="2457" y="5449"/>
                  <a:pt x="2157" y="5362"/>
                  <a:pt x="2067" y="5322"/>
                </a:cubicBezTo>
                <a:cubicBezTo>
                  <a:pt x="2063" y="5320"/>
                  <a:pt x="2061" y="5313"/>
                  <a:pt x="2063" y="5306"/>
                </a:cubicBezTo>
                <a:cubicBezTo>
                  <a:pt x="2065" y="5300"/>
                  <a:pt x="2072" y="5296"/>
                  <a:pt x="2075" y="5298"/>
                </a:cubicBezTo>
                <a:cubicBezTo>
                  <a:pt x="2111" y="5312"/>
                  <a:pt x="2369" y="5393"/>
                  <a:pt x="2689" y="5393"/>
                </a:cubicBezTo>
                <a:cubicBezTo>
                  <a:pt x="3040" y="5393"/>
                  <a:pt x="3247" y="5250"/>
                  <a:pt x="3247" y="5074"/>
                </a:cubicBezTo>
                <a:cubicBezTo>
                  <a:pt x="3247" y="4962"/>
                  <a:pt x="3159" y="4875"/>
                  <a:pt x="3047" y="4875"/>
                </a:cubicBezTo>
                <a:cubicBezTo>
                  <a:pt x="2832" y="4875"/>
                  <a:pt x="2816" y="5146"/>
                  <a:pt x="2353" y="5146"/>
                </a:cubicBezTo>
                <a:cubicBezTo>
                  <a:pt x="2154" y="5146"/>
                  <a:pt x="1979" y="5106"/>
                  <a:pt x="1771" y="5042"/>
                </a:cubicBezTo>
                <a:cubicBezTo>
                  <a:pt x="782" y="4739"/>
                  <a:pt x="310" y="3805"/>
                  <a:pt x="311" y="2880"/>
                </a:cubicBezTo>
                <a:cubicBezTo>
                  <a:pt x="311" y="2429"/>
                  <a:pt x="438" y="2070"/>
                  <a:pt x="440" y="2067"/>
                </a:cubicBezTo>
                <a:cubicBezTo>
                  <a:pt x="441" y="2065"/>
                  <a:pt x="447" y="2062"/>
                  <a:pt x="454" y="2065"/>
                </a:cubicBezTo>
                <a:cubicBezTo>
                  <a:pt x="461" y="2067"/>
                  <a:pt x="463" y="2073"/>
                  <a:pt x="462" y="2075"/>
                </a:cubicBezTo>
                <a:cubicBezTo>
                  <a:pt x="451" y="2112"/>
                  <a:pt x="367" y="2370"/>
                  <a:pt x="367" y="2688"/>
                </a:cubicBezTo>
                <a:cubicBezTo>
                  <a:pt x="367" y="3040"/>
                  <a:pt x="511" y="3247"/>
                  <a:pt x="694" y="3247"/>
                </a:cubicBezTo>
                <a:cubicBezTo>
                  <a:pt x="798" y="3247"/>
                  <a:pt x="885" y="3167"/>
                  <a:pt x="885" y="3056"/>
                </a:cubicBezTo>
                <a:cubicBezTo>
                  <a:pt x="885" y="2840"/>
                  <a:pt x="622" y="2816"/>
                  <a:pt x="622" y="2354"/>
                </a:cubicBezTo>
                <a:cubicBezTo>
                  <a:pt x="622" y="2154"/>
                  <a:pt x="662" y="1978"/>
                  <a:pt x="726" y="1771"/>
                </a:cubicBezTo>
                <a:cubicBezTo>
                  <a:pt x="1029" y="782"/>
                  <a:pt x="1963" y="318"/>
                  <a:pt x="2880" y="311"/>
                </a:cubicBezTo>
                <a:cubicBezTo>
                  <a:pt x="3306" y="308"/>
                  <a:pt x="3680" y="435"/>
                  <a:pt x="3694" y="447"/>
                </a:cubicBezTo>
                <a:cubicBezTo>
                  <a:pt x="3696" y="449"/>
                  <a:pt x="3699" y="455"/>
                  <a:pt x="3696" y="461"/>
                </a:cubicBezTo>
                <a:cubicBezTo>
                  <a:pt x="3693" y="468"/>
                  <a:pt x="3688" y="469"/>
                  <a:pt x="3686" y="469"/>
                </a:cubicBezTo>
                <a:cubicBezTo>
                  <a:pt x="3681" y="468"/>
                  <a:pt x="3439" y="367"/>
                  <a:pt x="3071" y="367"/>
                </a:cubicBezTo>
                <a:cubicBezTo>
                  <a:pt x="2728" y="367"/>
                  <a:pt x="2513" y="510"/>
                  <a:pt x="2513" y="694"/>
                </a:cubicBezTo>
                <a:cubicBezTo>
                  <a:pt x="2513" y="798"/>
                  <a:pt x="2593" y="885"/>
                  <a:pt x="2712" y="885"/>
                </a:cubicBezTo>
                <a:cubicBezTo>
                  <a:pt x="2928" y="885"/>
                  <a:pt x="2944" y="622"/>
                  <a:pt x="3406" y="622"/>
                </a:cubicBezTo>
                <a:cubicBezTo>
                  <a:pt x="3606" y="622"/>
                  <a:pt x="3781" y="662"/>
                  <a:pt x="3989" y="726"/>
                </a:cubicBezTo>
                <a:cubicBezTo>
                  <a:pt x="4986" y="1029"/>
                  <a:pt x="5440" y="1971"/>
                  <a:pt x="5449" y="2880"/>
                </a:cubicBezTo>
                <a:cubicBezTo>
                  <a:pt x="5453" y="3346"/>
                  <a:pt x="5322" y="3699"/>
                  <a:pt x="5321" y="3701"/>
                </a:cubicBezTo>
                <a:close/>
                <a:moveTo>
                  <a:pt x="2880" y="136"/>
                </a:moveTo>
                <a:cubicBezTo>
                  <a:pt x="1364" y="136"/>
                  <a:pt x="135" y="1364"/>
                  <a:pt x="135" y="2880"/>
                </a:cubicBezTo>
                <a:cubicBezTo>
                  <a:pt x="135" y="4396"/>
                  <a:pt x="1364" y="5624"/>
                  <a:pt x="2880" y="5624"/>
                </a:cubicBezTo>
                <a:cubicBezTo>
                  <a:pt x="4396" y="5624"/>
                  <a:pt x="5624" y="4396"/>
                  <a:pt x="5624" y="2880"/>
                </a:cubicBezTo>
                <a:cubicBezTo>
                  <a:pt x="5624" y="1372"/>
                  <a:pt x="4396" y="136"/>
                  <a:pt x="2880" y="136"/>
                </a:cubicBezTo>
                <a:close/>
                <a:moveTo>
                  <a:pt x="2880" y="5760"/>
                </a:moveTo>
                <a:cubicBezTo>
                  <a:pt x="1292" y="5760"/>
                  <a:pt x="0" y="4476"/>
                  <a:pt x="0" y="2880"/>
                </a:cubicBezTo>
                <a:cubicBezTo>
                  <a:pt x="0" y="1292"/>
                  <a:pt x="1292" y="0"/>
                  <a:pt x="2880" y="0"/>
                </a:cubicBezTo>
                <a:cubicBezTo>
                  <a:pt x="4467" y="0"/>
                  <a:pt x="5760" y="1292"/>
                  <a:pt x="5760" y="2880"/>
                </a:cubicBezTo>
                <a:cubicBezTo>
                  <a:pt x="5760" y="4476"/>
                  <a:pt x="4467" y="5760"/>
                  <a:pt x="2880" y="5760"/>
                </a:cubicBezTo>
                <a:close/>
              </a:path>
            </a:pathLst>
          </a:custGeom>
          <a:solidFill>
            <a:srgbClr val="57575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TextBox 21">
            <a:extLst>
              <a:ext uri="{FF2B5EF4-FFF2-40B4-BE49-F238E27FC236}">
                <a16:creationId xmlns:a16="http://schemas.microsoft.com/office/drawing/2014/main" id="{5602B6FB-99AD-4265-9644-929CC889F5A8}"/>
              </a:ext>
            </a:extLst>
          </p:cNvPr>
          <p:cNvSpPr txBox="1"/>
          <p:nvPr userDrawn="1"/>
        </p:nvSpPr>
        <p:spPr>
          <a:xfrm>
            <a:off x="3834300" y="6565680"/>
            <a:ext cx="4540651" cy="18288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63666A"/>
                </a:solidFill>
                <a:effectLst/>
                <a:uLnTx/>
                <a:uFillTx/>
                <a:latin typeface="GE Inspira Sans"/>
                <a:ea typeface="+mn-ea"/>
                <a:cs typeface="+mn-cs"/>
              </a:rPr>
              <a:t>© 2020 General Electric Company. Proprietary.  All Rights Reserved.</a:t>
            </a:r>
            <a:endParaRPr kumimoji="0" lang="en-CA" sz="900" b="0" i="0" u="none" strike="noStrike" kern="1200" cap="none" spc="0" normalizeH="0" baseline="0" noProof="0" dirty="0">
              <a:ln>
                <a:noFill/>
              </a:ln>
              <a:solidFill>
                <a:srgbClr val="63666A"/>
              </a:solidFill>
              <a:effectLst/>
              <a:uLnTx/>
              <a:uFillTx/>
              <a:latin typeface="GE Inspira Sans"/>
              <a:ea typeface="+mn-ea"/>
              <a:cs typeface="+mn-cs"/>
            </a:endParaRPr>
          </a:p>
        </p:txBody>
      </p:sp>
    </p:spTree>
    <p:extLst>
      <p:ext uri="{BB962C8B-B14F-4D97-AF65-F5344CB8AC3E}">
        <p14:creationId xmlns:p14="http://schemas.microsoft.com/office/powerpoint/2010/main" val="9779158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Lst>
  <p:hf hdr="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95000"/>
        </a:lnSpc>
        <a:spcBef>
          <a:spcPts val="1200"/>
        </a:spcBef>
        <a:spcAft>
          <a:spcPts val="0"/>
        </a:spcAft>
        <a:buFont typeface="Arial" panose="020B0604020202020204" pitchFamily="34" charset="0"/>
        <a:buNone/>
        <a:defRPr sz="2800" kern="1200">
          <a:solidFill>
            <a:schemeClr val="accent2"/>
          </a:solidFill>
          <a:latin typeface="+mn-lt"/>
          <a:ea typeface="+mn-ea"/>
          <a:cs typeface="+mn-cs"/>
        </a:defRPr>
      </a:lvl1pPr>
      <a:lvl2pPr marL="219456" indent="-168275" algn="l" defTabSz="914400" rtl="0" eaLnBrk="1" latinLnBrk="0" hangingPunct="1">
        <a:lnSpc>
          <a:spcPct val="95000"/>
        </a:lnSpc>
        <a:spcBef>
          <a:spcPts val="700"/>
        </a:spcBef>
        <a:spcAft>
          <a:spcPts val="0"/>
        </a:spcAft>
        <a:buFont typeface="Arial" panose="020B0604020202020204" pitchFamily="34" charset="0"/>
        <a:buChar char="•"/>
        <a:defRPr sz="2400" kern="1200">
          <a:solidFill>
            <a:schemeClr val="accent2"/>
          </a:solidFill>
          <a:latin typeface="+mn-lt"/>
          <a:ea typeface="+mn-ea"/>
          <a:cs typeface="+mn-cs"/>
        </a:defRPr>
      </a:lvl2pPr>
      <a:lvl3pPr marL="461963" indent="-192024" algn="l" defTabSz="914400" rtl="0" eaLnBrk="1" latinLnBrk="0" hangingPunct="1">
        <a:lnSpc>
          <a:spcPct val="95000"/>
        </a:lnSpc>
        <a:spcBef>
          <a:spcPts val="600"/>
        </a:spcBef>
        <a:spcAft>
          <a:spcPts val="0"/>
        </a:spcAft>
        <a:buSzPct val="100000"/>
        <a:buFontTx/>
        <a:buChar char="–"/>
        <a:defRPr sz="2000" kern="1200">
          <a:solidFill>
            <a:schemeClr val="accent2"/>
          </a:solidFill>
          <a:latin typeface="+mn-lt"/>
          <a:ea typeface="+mn-ea"/>
          <a:cs typeface="+mn-cs"/>
        </a:defRPr>
      </a:lvl3pPr>
      <a:lvl4pPr marL="682625" indent="-173038" algn="l" defTabSz="914400" rtl="0" eaLnBrk="1" latinLnBrk="0" hangingPunct="1">
        <a:lnSpc>
          <a:spcPct val="95000"/>
        </a:lnSpc>
        <a:spcBef>
          <a:spcPts val="600"/>
        </a:spcBef>
        <a:spcAft>
          <a:spcPts val="0"/>
        </a:spcAft>
        <a:buFont typeface="Arial" panose="020B0604020202020204" pitchFamily="34" charset="0"/>
        <a:buChar char="•"/>
        <a:defRPr sz="1600" kern="1200">
          <a:solidFill>
            <a:schemeClr val="accent2"/>
          </a:solidFill>
          <a:latin typeface="+mn-lt"/>
          <a:ea typeface="+mn-ea"/>
          <a:cs typeface="+mn-cs"/>
        </a:defRPr>
      </a:lvl4pPr>
      <a:lvl5pPr marL="914400" indent="-173038" algn="l" defTabSz="914400" rtl="0" eaLnBrk="1" latinLnBrk="0" hangingPunct="1">
        <a:lnSpc>
          <a:spcPct val="95000"/>
        </a:lnSpc>
        <a:spcBef>
          <a:spcPts val="600"/>
        </a:spcBef>
        <a:spcAft>
          <a:spcPts val="0"/>
        </a:spcAft>
        <a:buClr>
          <a:schemeClr val="tx1"/>
        </a:buClr>
        <a:buSzPct val="100000"/>
        <a:buFontTx/>
        <a:buChar char="–"/>
        <a:defRPr sz="14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
          <p15:clr>
            <a:srgbClr val="F26B43"/>
          </p15:clr>
        </p15:guide>
        <p15:guide id="3" pos="7368">
          <p15:clr>
            <a:srgbClr val="F26B43"/>
          </p15:clr>
        </p15:guide>
        <p15:guide id="4" orient="horz" pos="4200">
          <p15:clr>
            <a:srgbClr val="F26B43"/>
          </p15:clr>
        </p15:guide>
        <p15:guide id="5" orient="horz" pos="384">
          <p15:clr>
            <a:srgbClr val="F26B43"/>
          </p15:clr>
        </p15:guide>
        <p15:guide id="6" orient="horz" pos="1176">
          <p15:clr>
            <a:srgbClr val="F26B43"/>
          </p15:clr>
        </p15:guide>
        <p15:guide id="7"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85.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26.emf"/><Relationship Id="rId4" Type="http://schemas.openxmlformats.org/officeDocument/2006/relationships/oleObject" Target="../embeddings/oleObject28.bin"/></Relationships>
</file>

<file path=ppt/slides/_rels/slide1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xml"/><Relationship Id="rId1" Type="http://schemas.openxmlformats.org/officeDocument/2006/relationships/slideLayout" Target="../slideLayouts/slideLayout85.xml"/><Relationship Id="rId5" Type="http://schemas.openxmlformats.org/officeDocument/2006/relationships/image" Target="../media/image29.jpeg"/><Relationship Id="rId4" Type="http://schemas.openxmlformats.org/officeDocument/2006/relationships/image" Target="../media/image28.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0.xml"/></Relationships>
</file>

<file path=ppt/slides/_rels/slide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0.xml"/></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0.xml"/><Relationship Id="rId4" Type="http://schemas.openxmlformats.org/officeDocument/2006/relationships/image" Target="../media/image36.png"/></Relationships>
</file>

<file path=ppt/slides/_rels/slide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image" Target="../media/image44.emf"/><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emf"/><Relationship Id="rId12" Type="http://schemas.openxmlformats.org/officeDocument/2006/relationships/image" Target="../media/image48.jpeg"/><Relationship Id="rId2" Type="http://schemas.openxmlformats.org/officeDocument/2006/relationships/image" Target="../media/image38.jpeg"/><Relationship Id="rId1" Type="http://schemas.openxmlformats.org/officeDocument/2006/relationships/slideLayout" Target="../slideLayouts/slideLayout50.xml"/><Relationship Id="rId6" Type="http://schemas.openxmlformats.org/officeDocument/2006/relationships/image" Target="../media/image42.emf"/><Relationship Id="rId11" Type="http://schemas.openxmlformats.org/officeDocument/2006/relationships/image" Target="../media/image47.jpeg"/><Relationship Id="rId5" Type="http://schemas.openxmlformats.org/officeDocument/2006/relationships/image" Target="../media/image41.emf"/><Relationship Id="rId10" Type="http://schemas.openxmlformats.org/officeDocument/2006/relationships/image" Target="../media/image46.emf"/><Relationship Id="rId4" Type="http://schemas.openxmlformats.org/officeDocument/2006/relationships/image" Target="../media/image40.png"/><Relationship Id="rId9" Type="http://schemas.openxmlformats.org/officeDocument/2006/relationships/image" Target="../media/image45.emf"/><Relationship Id="rId14" Type="http://schemas.openxmlformats.org/officeDocument/2006/relationships/image" Target="../media/image50.png"/></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50.xml"/><Relationship Id="rId5" Type="http://schemas.openxmlformats.org/officeDocument/2006/relationships/image" Target="../media/image54.png"/><Relationship Id="rId4" Type="http://schemas.openxmlformats.org/officeDocument/2006/relationships/image" Target="../media/image53.png"/></Relationships>
</file>

<file path=ppt/slides/_rels/slide22.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slideLayout" Target="../slideLayouts/slideLayout50.xml"/><Relationship Id="rId7" Type="http://schemas.openxmlformats.org/officeDocument/2006/relationships/image" Target="../media/image55.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26.emf"/><Relationship Id="rId11" Type="http://schemas.openxmlformats.org/officeDocument/2006/relationships/image" Target="../media/image59.jpeg"/><Relationship Id="rId5" Type="http://schemas.openxmlformats.org/officeDocument/2006/relationships/oleObject" Target="../embeddings/oleObject29.bin"/><Relationship Id="rId10" Type="http://schemas.openxmlformats.org/officeDocument/2006/relationships/image" Target="../media/image58.jpeg"/><Relationship Id="rId4" Type="http://schemas.openxmlformats.org/officeDocument/2006/relationships/notesSlide" Target="../notesSlides/notesSlide4.xml"/><Relationship Id="rId9" Type="http://schemas.openxmlformats.org/officeDocument/2006/relationships/image" Target="../media/image5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1.xml"/><Relationship Id="rId7" Type="http://schemas.openxmlformats.org/officeDocument/2006/relationships/image" Target="../media/image15.png"/><Relationship Id="rId2" Type="http://schemas.openxmlformats.org/officeDocument/2006/relationships/slideLayout" Target="../slideLayouts/slideLayout60.xml"/><Relationship Id="rId1" Type="http://schemas.openxmlformats.org/officeDocument/2006/relationships/tags" Target="../tags/tag97.xml"/><Relationship Id="rId6" Type="http://schemas.openxmlformats.org/officeDocument/2006/relationships/image" Target="../media/image14.jpeg"/><Relationship Id="rId5" Type="http://schemas.openxmlformats.org/officeDocument/2006/relationships/image" Target="../media/image10.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0.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0.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630553" y="1649412"/>
            <a:ext cx="9960556" cy="1779587"/>
          </a:xfrm>
        </p:spPr>
        <p:txBody>
          <a:bodyPr/>
          <a:lstStyle/>
          <a:p>
            <a:pPr algn="ctr"/>
            <a:r>
              <a:rPr lang="en-US" sz="4000" dirty="0"/>
              <a:t>Value and Use Cases for Energy Storage in Southern Africa</a:t>
            </a:r>
          </a:p>
        </p:txBody>
      </p:sp>
      <p:sp>
        <p:nvSpPr>
          <p:cNvPr id="3" name="Date Placeholder 2"/>
          <p:cNvSpPr>
            <a:spLocks noGrp="1"/>
          </p:cNvSpPr>
          <p:nvPr>
            <p:ph type="dt" sz="half" idx="10"/>
          </p:nvPr>
        </p:nvSpPr>
        <p:spPr/>
        <p:txBody>
          <a:bodyPr/>
          <a:lstStyle/>
          <a:p>
            <a:fld id="{1231F193-6ACC-4172-BA49-2053DDF904EA}" type="datetime4">
              <a:rPr lang="en-US" smtClean="0"/>
              <a:t>October 18, 2021</a:t>
            </a:fld>
            <a:endParaRPr lang="en-US" dirty="0"/>
          </a:p>
        </p:txBody>
      </p:sp>
    </p:spTree>
    <p:extLst>
      <p:ext uri="{BB962C8B-B14F-4D97-AF65-F5344CB8AC3E}">
        <p14:creationId xmlns:p14="http://schemas.microsoft.com/office/powerpoint/2010/main" val="41636127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DA556A55-567D-4F3F-B11A-94CF116679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5" name="Objet 4" hidden="1">
                        <a:extLst>
                          <a:ext uri="{FF2B5EF4-FFF2-40B4-BE49-F238E27FC236}">
                            <a16:creationId xmlns:a16="http://schemas.microsoft.com/office/drawing/2014/main" id="{DA556A55-567D-4F3F-B11A-94CF116679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14530BD-7C12-4570-94C3-539E75F46B6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GE Inspira Sans" panose="020B0503060000000003" pitchFamily="34" charset="0"/>
              <a:ea typeface="+mn-ea"/>
              <a:cs typeface="+mn-cs"/>
              <a:sym typeface="GE Inspira Sans" panose="020B0503060000000003" pitchFamily="34" charset="0"/>
            </a:endParaRPr>
          </a:p>
        </p:txBody>
      </p:sp>
      <p:sp>
        <p:nvSpPr>
          <p:cNvPr id="77" name="Title 2">
            <a:extLst>
              <a:ext uri="{FF2B5EF4-FFF2-40B4-BE49-F238E27FC236}">
                <a16:creationId xmlns:a16="http://schemas.microsoft.com/office/drawing/2014/main" id="{CFE49FCF-7252-422A-8475-A1109FBF6936}"/>
              </a:ext>
            </a:extLst>
          </p:cNvPr>
          <p:cNvSpPr>
            <a:spLocks noGrp="1"/>
          </p:cNvSpPr>
          <p:nvPr>
            <p:ph type="title"/>
          </p:nvPr>
        </p:nvSpPr>
        <p:spPr/>
        <p:txBody>
          <a:bodyPr/>
          <a:lstStyle/>
          <a:p>
            <a:r>
              <a:rPr lang="en-US" dirty="0"/>
              <a:t>Integrated System Planning Studies are key to unlocking resiliency for tomorrow’s grid…</a:t>
            </a:r>
          </a:p>
        </p:txBody>
      </p:sp>
      <p:sp>
        <p:nvSpPr>
          <p:cNvPr id="113" name="Rectangle 112">
            <a:extLst>
              <a:ext uri="{FF2B5EF4-FFF2-40B4-BE49-F238E27FC236}">
                <a16:creationId xmlns:a16="http://schemas.microsoft.com/office/drawing/2014/main" id="{6271B27D-5441-4C0F-9A00-09149C3AB8FE}"/>
              </a:ext>
            </a:extLst>
          </p:cNvPr>
          <p:cNvSpPr/>
          <p:nvPr/>
        </p:nvSpPr>
        <p:spPr>
          <a:xfrm>
            <a:off x="1782834" y="1116108"/>
            <a:ext cx="8647412"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B5E2"/>
                </a:solidFill>
                <a:effectLst/>
                <a:uLnTx/>
                <a:uFillTx/>
                <a:latin typeface="GE Inspira Sans" panose="020B0503060000000003" pitchFamily="34" charset="0"/>
                <a:ea typeface="+mn-ea"/>
                <a:cs typeface="+mn-cs"/>
              </a:rPr>
              <a:t>EVERY STUDY INCREASED INDUSTRY’S VIEW OF WHAT’S POSSIBLE</a:t>
            </a:r>
            <a:endParaRPr kumimoji="0" lang="en-US" sz="2000" b="1" i="0" u="none" strike="noStrike" kern="1200" cap="none" spc="0" normalizeH="0" baseline="0" noProof="0" dirty="0">
              <a:ln>
                <a:noFill/>
              </a:ln>
              <a:solidFill>
                <a:srgbClr val="00B5E2"/>
              </a:solidFill>
              <a:effectLst/>
              <a:uLnTx/>
              <a:uFillTx/>
              <a:latin typeface="GE Inspira Sans"/>
              <a:ea typeface="+mn-ea"/>
              <a:cs typeface="+mn-cs"/>
            </a:endParaRPr>
          </a:p>
        </p:txBody>
      </p:sp>
      <p:sp>
        <p:nvSpPr>
          <p:cNvPr id="115" name="Slide Number Placeholder 5">
            <a:extLst>
              <a:ext uri="{FF2B5EF4-FFF2-40B4-BE49-F238E27FC236}">
                <a16:creationId xmlns:a16="http://schemas.microsoft.com/office/drawing/2014/main" id="{9923F129-2445-46ED-B449-C6E764EB043C}"/>
              </a:ext>
            </a:extLst>
          </p:cNvPr>
          <p:cNvSpPr txBox="1">
            <a:spLocks/>
          </p:cNvSpPr>
          <p:nvPr/>
        </p:nvSpPr>
        <p:spPr>
          <a:xfrm>
            <a:off x="11371032" y="6553226"/>
            <a:ext cx="329636" cy="182880"/>
          </a:xfrm>
          <a:prstGeom prst="rect">
            <a:avLst/>
          </a:prstGeom>
        </p:spPr>
        <p:txBody>
          <a:bodyPr vert="horz" lIns="0" tIns="0" rIns="0" bIns="0" rtlCol="0" anchor="t" anchorCtr="0">
            <a:noAutofit/>
          </a:bodyPr>
          <a:lstStyle>
            <a:defPPr>
              <a:defRPr lang="en-US"/>
            </a:defPPr>
            <a:lvl1pPr marL="0" algn="r" defTabSz="914400" rtl="0" eaLnBrk="1" latinLnBrk="0" hangingPunct="1">
              <a:defRPr sz="10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0E6A5BD-C011-4A45-AA3A-201790FB7F2B}" type="slidenum">
              <a:rPr kumimoji="0" lang="en-US" sz="1000" b="0" i="0" u="none" strike="noStrike" kern="1200" cap="none" spc="0" normalizeH="0" baseline="0" noProof="0" smtClean="0">
                <a:ln>
                  <a:noFill/>
                </a:ln>
                <a:solidFill>
                  <a:srgbClr val="63666A"/>
                </a:solidFill>
                <a:effectLst/>
                <a:uLnTx/>
                <a:uFillTx/>
                <a:latin typeface="GE Inspira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dirty="0">
              <a:ln>
                <a:noFill/>
              </a:ln>
              <a:solidFill>
                <a:srgbClr val="63666A"/>
              </a:solidFill>
              <a:effectLst/>
              <a:uLnTx/>
              <a:uFillTx/>
              <a:latin typeface="GE Inspira Sans"/>
              <a:ea typeface="+mn-ea"/>
              <a:cs typeface="+mn-cs"/>
            </a:endParaRPr>
          </a:p>
        </p:txBody>
      </p:sp>
      <p:sp>
        <p:nvSpPr>
          <p:cNvPr id="112" name="Freeform: Shape 77">
            <a:extLst>
              <a:ext uri="{FF2B5EF4-FFF2-40B4-BE49-F238E27FC236}">
                <a16:creationId xmlns:a16="http://schemas.microsoft.com/office/drawing/2014/main" id="{76B1C38B-00A0-4D94-97F6-5F90F55BA501}"/>
              </a:ext>
            </a:extLst>
          </p:cNvPr>
          <p:cNvSpPr/>
          <p:nvPr/>
        </p:nvSpPr>
        <p:spPr>
          <a:xfrm rot="2752524" flipV="1">
            <a:off x="1552520" y="-1435138"/>
            <a:ext cx="9010697" cy="8195492"/>
          </a:xfrm>
          <a:custGeom>
            <a:avLst/>
            <a:gdLst>
              <a:gd name="connsiteX0" fmla="*/ 468186 w 6629995"/>
              <a:gd name="connsiteY0" fmla="*/ 0 h 4489005"/>
              <a:gd name="connsiteX1" fmla="*/ 904605 w 6629995"/>
              <a:gd name="connsiteY1" fmla="*/ 332510 h 4489005"/>
              <a:gd name="connsiteX2" fmla="*/ 1018905 w 6629995"/>
              <a:gd name="connsiteY2" fmla="*/ 1153391 h 4489005"/>
              <a:gd name="connsiteX3" fmla="*/ 208414 w 6629995"/>
              <a:gd name="connsiteY3" fmla="*/ 1465119 h 4489005"/>
              <a:gd name="connsiteX4" fmla="*/ 114895 w 6629995"/>
              <a:gd name="connsiteY4" fmla="*/ 1059873 h 4489005"/>
              <a:gd name="connsiteX5" fmla="*/ 1631968 w 6629995"/>
              <a:gd name="connsiteY5" fmla="*/ 706582 h 4489005"/>
              <a:gd name="connsiteX6" fmla="*/ 3003568 w 6629995"/>
              <a:gd name="connsiteY6" fmla="*/ 748146 h 4489005"/>
              <a:gd name="connsiteX7" fmla="*/ 3388032 w 6629995"/>
              <a:gd name="connsiteY7" fmla="*/ 1319646 h 4489005"/>
              <a:gd name="connsiteX8" fmla="*/ 3668586 w 6629995"/>
              <a:gd name="connsiteY8" fmla="*/ 2317173 h 4489005"/>
              <a:gd name="connsiteX9" fmla="*/ 4167350 w 6629995"/>
              <a:gd name="connsiteY9" fmla="*/ 2982191 h 4489005"/>
              <a:gd name="connsiteX10" fmla="*/ 3803668 w 6629995"/>
              <a:gd name="connsiteY10" fmla="*/ 4187537 h 4489005"/>
              <a:gd name="connsiteX11" fmla="*/ 5881850 w 6629995"/>
              <a:gd name="connsiteY11" fmla="*/ 4488873 h 4489005"/>
              <a:gd name="connsiteX12" fmla="*/ 6629995 w 6629995"/>
              <a:gd name="connsiteY12" fmla="*/ 4229100 h 4489005"/>
              <a:gd name="connsiteX13" fmla="*/ 6629995 w 6629995"/>
              <a:gd name="connsiteY13" fmla="*/ 4229100 h 4489005"/>
              <a:gd name="connsiteX0" fmla="*/ 468186 w 6629995"/>
              <a:gd name="connsiteY0" fmla="*/ 0 h 4489005"/>
              <a:gd name="connsiteX1" fmla="*/ 904605 w 6629995"/>
              <a:gd name="connsiteY1" fmla="*/ 332510 h 4489005"/>
              <a:gd name="connsiteX2" fmla="*/ 1018905 w 6629995"/>
              <a:gd name="connsiteY2" fmla="*/ 1153391 h 4489005"/>
              <a:gd name="connsiteX3" fmla="*/ 208414 w 6629995"/>
              <a:gd name="connsiteY3" fmla="*/ 1465119 h 4489005"/>
              <a:gd name="connsiteX4" fmla="*/ 114895 w 6629995"/>
              <a:gd name="connsiteY4" fmla="*/ 1059873 h 4489005"/>
              <a:gd name="connsiteX5" fmla="*/ 1631968 w 6629995"/>
              <a:gd name="connsiteY5" fmla="*/ 706582 h 4489005"/>
              <a:gd name="connsiteX6" fmla="*/ 3003568 w 6629995"/>
              <a:gd name="connsiteY6" fmla="*/ 748146 h 4489005"/>
              <a:gd name="connsiteX7" fmla="*/ 3388032 w 6629995"/>
              <a:gd name="connsiteY7" fmla="*/ 1319646 h 4489005"/>
              <a:gd name="connsiteX8" fmla="*/ 2781895 w 6629995"/>
              <a:gd name="connsiteY8" fmla="*/ 2275610 h 4489005"/>
              <a:gd name="connsiteX9" fmla="*/ 4167350 w 6629995"/>
              <a:gd name="connsiteY9" fmla="*/ 2982191 h 4489005"/>
              <a:gd name="connsiteX10" fmla="*/ 3803668 w 6629995"/>
              <a:gd name="connsiteY10" fmla="*/ 4187537 h 4489005"/>
              <a:gd name="connsiteX11" fmla="*/ 5881850 w 6629995"/>
              <a:gd name="connsiteY11" fmla="*/ 4488873 h 4489005"/>
              <a:gd name="connsiteX12" fmla="*/ 6629995 w 6629995"/>
              <a:gd name="connsiteY12" fmla="*/ 4229100 h 4489005"/>
              <a:gd name="connsiteX13" fmla="*/ 6629995 w 6629995"/>
              <a:gd name="connsiteY13" fmla="*/ 4229100 h 4489005"/>
              <a:gd name="connsiteX0" fmla="*/ 468186 w 6629995"/>
              <a:gd name="connsiteY0" fmla="*/ 0 h 4489005"/>
              <a:gd name="connsiteX1" fmla="*/ 904605 w 6629995"/>
              <a:gd name="connsiteY1" fmla="*/ 332510 h 4489005"/>
              <a:gd name="connsiteX2" fmla="*/ 1018905 w 6629995"/>
              <a:gd name="connsiteY2" fmla="*/ 1153391 h 4489005"/>
              <a:gd name="connsiteX3" fmla="*/ 208414 w 6629995"/>
              <a:gd name="connsiteY3" fmla="*/ 1465119 h 4489005"/>
              <a:gd name="connsiteX4" fmla="*/ 114895 w 6629995"/>
              <a:gd name="connsiteY4" fmla="*/ 1059873 h 4489005"/>
              <a:gd name="connsiteX5" fmla="*/ 1631968 w 6629995"/>
              <a:gd name="connsiteY5" fmla="*/ 706582 h 4489005"/>
              <a:gd name="connsiteX6" fmla="*/ 3003568 w 6629995"/>
              <a:gd name="connsiteY6" fmla="*/ 748146 h 4489005"/>
              <a:gd name="connsiteX7" fmla="*/ 3388032 w 6629995"/>
              <a:gd name="connsiteY7" fmla="*/ 1319646 h 4489005"/>
              <a:gd name="connsiteX8" fmla="*/ 2781895 w 6629995"/>
              <a:gd name="connsiteY8" fmla="*/ 2275610 h 4489005"/>
              <a:gd name="connsiteX9" fmla="*/ 4444441 w 6629995"/>
              <a:gd name="connsiteY9" fmla="*/ 2926773 h 4489005"/>
              <a:gd name="connsiteX10" fmla="*/ 3803668 w 6629995"/>
              <a:gd name="connsiteY10" fmla="*/ 4187537 h 4489005"/>
              <a:gd name="connsiteX11" fmla="*/ 5881850 w 6629995"/>
              <a:gd name="connsiteY11" fmla="*/ 4488873 h 4489005"/>
              <a:gd name="connsiteX12" fmla="*/ 6629995 w 6629995"/>
              <a:gd name="connsiteY12" fmla="*/ 4229100 h 4489005"/>
              <a:gd name="connsiteX13" fmla="*/ 6629995 w 6629995"/>
              <a:gd name="connsiteY13" fmla="*/ 4229100 h 4489005"/>
              <a:gd name="connsiteX0" fmla="*/ 469854 w 6631663"/>
              <a:gd name="connsiteY0" fmla="*/ 0 h 4489005"/>
              <a:gd name="connsiteX1" fmla="*/ 906273 w 6631663"/>
              <a:gd name="connsiteY1" fmla="*/ 332510 h 4489005"/>
              <a:gd name="connsiteX2" fmla="*/ 1062137 w 6631663"/>
              <a:gd name="connsiteY2" fmla="*/ 1305791 h 4489005"/>
              <a:gd name="connsiteX3" fmla="*/ 210082 w 6631663"/>
              <a:gd name="connsiteY3" fmla="*/ 1465119 h 4489005"/>
              <a:gd name="connsiteX4" fmla="*/ 116563 w 6631663"/>
              <a:gd name="connsiteY4" fmla="*/ 1059873 h 4489005"/>
              <a:gd name="connsiteX5" fmla="*/ 1633636 w 6631663"/>
              <a:gd name="connsiteY5" fmla="*/ 706582 h 4489005"/>
              <a:gd name="connsiteX6" fmla="*/ 3005236 w 6631663"/>
              <a:gd name="connsiteY6" fmla="*/ 748146 h 4489005"/>
              <a:gd name="connsiteX7" fmla="*/ 3389700 w 6631663"/>
              <a:gd name="connsiteY7" fmla="*/ 1319646 h 4489005"/>
              <a:gd name="connsiteX8" fmla="*/ 2783563 w 6631663"/>
              <a:gd name="connsiteY8" fmla="*/ 2275610 h 4489005"/>
              <a:gd name="connsiteX9" fmla="*/ 4446109 w 6631663"/>
              <a:gd name="connsiteY9" fmla="*/ 2926773 h 4489005"/>
              <a:gd name="connsiteX10" fmla="*/ 3805336 w 6631663"/>
              <a:gd name="connsiteY10" fmla="*/ 4187537 h 4489005"/>
              <a:gd name="connsiteX11" fmla="*/ 5883518 w 6631663"/>
              <a:gd name="connsiteY11" fmla="*/ 4488873 h 4489005"/>
              <a:gd name="connsiteX12" fmla="*/ 6631663 w 6631663"/>
              <a:gd name="connsiteY12" fmla="*/ 4229100 h 4489005"/>
              <a:gd name="connsiteX13" fmla="*/ 6631663 w 6631663"/>
              <a:gd name="connsiteY13" fmla="*/ 4229100 h 4489005"/>
              <a:gd name="connsiteX0" fmla="*/ 464962 w 6626771"/>
              <a:gd name="connsiteY0" fmla="*/ 0 h 4489005"/>
              <a:gd name="connsiteX1" fmla="*/ 901381 w 6626771"/>
              <a:gd name="connsiteY1" fmla="*/ 332510 h 4489005"/>
              <a:gd name="connsiteX2" fmla="*/ 1057245 w 6626771"/>
              <a:gd name="connsiteY2" fmla="*/ 1305791 h 4489005"/>
              <a:gd name="connsiteX3" fmla="*/ 219044 w 6626771"/>
              <a:gd name="connsiteY3" fmla="*/ 1603665 h 4489005"/>
              <a:gd name="connsiteX4" fmla="*/ 111671 w 6626771"/>
              <a:gd name="connsiteY4" fmla="*/ 1059873 h 4489005"/>
              <a:gd name="connsiteX5" fmla="*/ 1628744 w 6626771"/>
              <a:gd name="connsiteY5" fmla="*/ 706582 h 4489005"/>
              <a:gd name="connsiteX6" fmla="*/ 3000344 w 6626771"/>
              <a:gd name="connsiteY6" fmla="*/ 748146 h 4489005"/>
              <a:gd name="connsiteX7" fmla="*/ 3384808 w 6626771"/>
              <a:gd name="connsiteY7" fmla="*/ 1319646 h 4489005"/>
              <a:gd name="connsiteX8" fmla="*/ 2778671 w 6626771"/>
              <a:gd name="connsiteY8" fmla="*/ 2275610 h 4489005"/>
              <a:gd name="connsiteX9" fmla="*/ 4441217 w 6626771"/>
              <a:gd name="connsiteY9" fmla="*/ 2926773 h 4489005"/>
              <a:gd name="connsiteX10" fmla="*/ 3800444 w 6626771"/>
              <a:gd name="connsiteY10" fmla="*/ 4187537 h 4489005"/>
              <a:gd name="connsiteX11" fmla="*/ 5878626 w 6626771"/>
              <a:gd name="connsiteY11" fmla="*/ 4488873 h 4489005"/>
              <a:gd name="connsiteX12" fmla="*/ 6626771 w 6626771"/>
              <a:gd name="connsiteY12" fmla="*/ 4229100 h 4489005"/>
              <a:gd name="connsiteX13" fmla="*/ 6626771 w 6626771"/>
              <a:gd name="connsiteY13" fmla="*/ 4229100 h 4489005"/>
              <a:gd name="connsiteX0" fmla="*/ 521095 w 6682904"/>
              <a:gd name="connsiteY0" fmla="*/ 0 h 4489005"/>
              <a:gd name="connsiteX1" fmla="*/ 957514 w 6682904"/>
              <a:gd name="connsiteY1" fmla="*/ 332510 h 4489005"/>
              <a:gd name="connsiteX2" fmla="*/ 1113378 w 6682904"/>
              <a:gd name="connsiteY2" fmla="*/ 1305791 h 4489005"/>
              <a:gd name="connsiteX3" fmla="*/ 275177 w 6682904"/>
              <a:gd name="connsiteY3" fmla="*/ 1603665 h 4489005"/>
              <a:gd name="connsiteX4" fmla="*/ 167804 w 6682904"/>
              <a:gd name="connsiteY4" fmla="*/ 1059873 h 4489005"/>
              <a:gd name="connsiteX5" fmla="*/ 1684877 w 6682904"/>
              <a:gd name="connsiteY5" fmla="*/ 706582 h 4489005"/>
              <a:gd name="connsiteX6" fmla="*/ 3056477 w 6682904"/>
              <a:gd name="connsiteY6" fmla="*/ 748146 h 4489005"/>
              <a:gd name="connsiteX7" fmla="*/ 3440941 w 6682904"/>
              <a:gd name="connsiteY7" fmla="*/ 1319646 h 4489005"/>
              <a:gd name="connsiteX8" fmla="*/ 2834804 w 6682904"/>
              <a:gd name="connsiteY8" fmla="*/ 2275610 h 4489005"/>
              <a:gd name="connsiteX9" fmla="*/ 4497350 w 6682904"/>
              <a:gd name="connsiteY9" fmla="*/ 2926773 h 4489005"/>
              <a:gd name="connsiteX10" fmla="*/ 3856577 w 6682904"/>
              <a:gd name="connsiteY10" fmla="*/ 4187537 h 4489005"/>
              <a:gd name="connsiteX11" fmla="*/ 5934759 w 6682904"/>
              <a:gd name="connsiteY11" fmla="*/ 4488873 h 4489005"/>
              <a:gd name="connsiteX12" fmla="*/ 6682904 w 6682904"/>
              <a:gd name="connsiteY12" fmla="*/ 4229100 h 4489005"/>
              <a:gd name="connsiteX13" fmla="*/ 6682904 w 6682904"/>
              <a:gd name="connsiteY13" fmla="*/ 4229100 h 4489005"/>
              <a:gd name="connsiteX0" fmla="*/ 521095 w 6682904"/>
              <a:gd name="connsiteY0" fmla="*/ 0 h 4489005"/>
              <a:gd name="connsiteX1" fmla="*/ 957514 w 6682904"/>
              <a:gd name="connsiteY1" fmla="*/ 332510 h 4489005"/>
              <a:gd name="connsiteX2" fmla="*/ 1113378 w 6682904"/>
              <a:gd name="connsiteY2" fmla="*/ 1305791 h 4489005"/>
              <a:gd name="connsiteX3" fmla="*/ 275177 w 6682904"/>
              <a:gd name="connsiteY3" fmla="*/ 1603665 h 4489005"/>
              <a:gd name="connsiteX4" fmla="*/ 167804 w 6682904"/>
              <a:gd name="connsiteY4" fmla="*/ 1059873 h 4489005"/>
              <a:gd name="connsiteX5" fmla="*/ 1684877 w 6682904"/>
              <a:gd name="connsiteY5" fmla="*/ 706582 h 4489005"/>
              <a:gd name="connsiteX6" fmla="*/ 3056477 w 6682904"/>
              <a:gd name="connsiteY6" fmla="*/ 748146 h 4489005"/>
              <a:gd name="connsiteX7" fmla="*/ 3440941 w 6682904"/>
              <a:gd name="connsiteY7" fmla="*/ 1319646 h 4489005"/>
              <a:gd name="connsiteX8" fmla="*/ 2834804 w 6682904"/>
              <a:gd name="connsiteY8" fmla="*/ 2275610 h 4489005"/>
              <a:gd name="connsiteX9" fmla="*/ 4372659 w 6682904"/>
              <a:gd name="connsiteY9" fmla="*/ 2926773 h 4489005"/>
              <a:gd name="connsiteX10" fmla="*/ 3856577 w 6682904"/>
              <a:gd name="connsiteY10" fmla="*/ 4187537 h 4489005"/>
              <a:gd name="connsiteX11" fmla="*/ 5934759 w 6682904"/>
              <a:gd name="connsiteY11" fmla="*/ 4488873 h 4489005"/>
              <a:gd name="connsiteX12" fmla="*/ 6682904 w 6682904"/>
              <a:gd name="connsiteY12" fmla="*/ 4229100 h 4489005"/>
              <a:gd name="connsiteX13" fmla="*/ 6682904 w 6682904"/>
              <a:gd name="connsiteY13" fmla="*/ 4229100 h 4489005"/>
              <a:gd name="connsiteX0" fmla="*/ 360269 w 6522078"/>
              <a:gd name="connsiteY0" fmla="*/ 0 h 4489005"/>
              <a:gd name="connsiteX1" fmla="*/ 796688 w 6522078"/>
              <a:gd name="connsiteY1" fmla="*/ 332510 h 4489005"/>
              <a:gd name="connsiteX2" fmla="*/ 952552 w 6522078"/>
              <a:gd name="connsiteY2" fmla="*/ 1305791 h 4489005"/>
              <a:gd name="connsiteX3" fmla="*/ 6978 w 6522078"/>
              <a:gd name="connsiteY3" fmla="*/ 1059873 h 4489005"/>
              <a:gd name="connsiteX4" fmla="*/ 1524051 w 6522078"/>
              <a:gd name="connsiteY4" fmla="*/ 706582 h 4489005"/>
              <a:gd name="connsiteX5" fmla="*/ 2895651 w 6522078"/>
              <a:gd name="connsiteY5" fmla="*/ 748146 h 4489005"/>
              <a:gd name="connsiteX6" fmla="*/ 3280115 w 6522078"/>
              <a:gd name="connsiteY6" fmla="*/ 1319646 h 4489005"/>
              <a:gd name="connsiteX7" fmla="*/ 2673978 w 6522078"/>
              <a:gd name="connsiteY7" fmla="*/ 2275610 h 4489005"/>
              <a:gd name="connsiteX8" fmla="*/ 4211833 w 6522078"/>
              <a:gd name="connsiteY8" fmla="*/ 2926773 h 4489005"/>
              <a:gd name="connsiteX9" fmla="*/ 3695751 w 6522078"/>
              <a:gd name="connsiteY9" fmla="*/ 4187537 h 4489005"/>
              <a:gd name="connsiteX10" fmla="*/ 5773933 w 6522078"/>
              <a:gd name="connsiteY10" fmla="*/ 4488873 h 4489005"/>
              <a:gd name="connsiteX11" fmla="*/ 6522078 w 6522078"/>
              <a:gd name="connsiteY11" fmla="*/ 4229100 h 4489005"/>
              <a:gd name="connsiteX12" fmla="*/ 6522078 w 6522078"/>
              <a:gd name="connsiteY12" fmla="*/ 4229100 h 4489005"/>
              <a:gd name="connsiteX0" fmla="*/ 0 w 6161809"/>
              <a:gd name="connsiteY0" fmla="*/ 0 h 4489005"/>
              <a:gd name="connsiteX1" fmla="*/ 436419 w 6161809"/>
              <a:gd name="connsiteY1" fmla="*/ 332510 h 4489005"/>
              <a:gd name="connsiteX2" fmla="*/ 592283 w 6161809"/>
              <a:gd name="connsiteY2" fmla="*/ 1305791 h 4489005"/>
              <a:gd name="connsiteX3" fmla="*/ 1163782 w 6161809"/>
              <a:gd name="connsiteY3" fmla="*/ 706582 h 4489005"/>
              <a:gd name="connsiteX4" fmla="*/ 2535382 w 6161809"/>
              <a:gd name="connsiteY4" fmla="*/ 748146 h 4489005"/>
              <a:gd name="connsiteX5" fmla="*/ 2919846 w 6161809"/>
              <a:gd name="connsiteY5" fmla="*/ 1319646 h 4489005"/>
              <a:gd name="connsiteX6" fmla="*/ 2313709 w 6161809"/>
              <a:gd name="connsiteY6" fmla="*/ 2275610 h 4489005"/>
              <a:gd name="connsiteX7" fmla="*/ 3851564 w 6161809"/>
              <a:gd name="connsiteY7" fmla="*/ 2926773 h 4489005"/>
              <a:gd name="connsiteX8" fmla="*/ 3335482 w 6161809"/>
              <a:gd name="connsiteY8" fmla="*/ 4187537 h 4489005"/>
              <a:gd name="connsiteX9" fmla="*/ 5413664 w 6161809"/>
              <a:gd name="connsiteY9" fmla="*/ 4488873 h 4489005"/>
              <a:gd name="connsiteX10" fmla="*/ 6161809 w 6161809"/>
              <a:gd name="connsiteY10" fmla="*/ 4229100 h 4489005"/>
              <a:gd name="connsiteX11" fmla="*/ 6161809 w 6161809"/>
              <a:gd name="connsiteY11" fmla="*/ 4229100 h 4489005"/>
              <a:gd name="connsiteX0" fmla="*/ 0 w 6161809"/>
              <a:gd name="connsiteY0" fmla="*/ 0 h 4489005"/>
              <a:gd name="connsiteX1" fmla="*/ 436419 w 6161809"/>
              <a:gd name="connsiteY1" fmla="*/ 332510 h 4489005"/>
              <a:gd name="connsiteX2" fmla="*/ 1163782 w 6161809"/>
              <a:gd name="connsiteY2" fmla="*/ 706582 h 4489005"/>
              <a:gd name="connsiteX3" fmla="*/ 2535382 w 6161809"/>
              <a:gd name="connsiteY3" fmla="*/ 748146 h 4489005"/>
              <a:gd name="connsiteX4" fmla="*/ 2919846 w 6161809"/>
              <a:gd name="connsiteY4" fmla="*/ 1319646 h 4489005"/>
              <a:gd name="connsiteX5" fmla="*/ 2313709 w 6161809"/>
              <a:gd name="connsiteY5" fmla="*/ 2275610 h 4489005"/>
              <a:gd name="connsiteX6" fmla="*/ 3851564 w 6161809"/>
              <a:gd name="connsiteY6" fmla="*/ 2926773 h 4489005"/>
              <a:gd name="connsiteX7" fmla="*/ 3335482 w 6161809"/>
              <a:gd name="connsiteY7" fmla="*/ 4187537 h 4489005"/>
              <a:gd name="connsiteX8" fmla="*/ 5413664 w 6161809"/>
              <a:gd name="connsiteY8" fmla="*/ 4488873 h 4489005"/>
              <a:gd name="connsiteX9" fmla="*/ 6161809 w 6161809"/>
              <a:gd name="connsiteY9" fmla="*/ 4229100 h 4489005"/>
              <a:gd name="connsiteX10" fmla="*/ 6161809 w 6161809"/>
              <a:gd name="connsiteY10" fmla="*/ 4229100 h 4489005"/>
              <a:gd name="connsiteX0" fmla="*/ 0 w 6161809"/>
              <a:gd name="connsiteY0" fmla="*/ 0 h 4479616"/>
              <a:gd name="connsiteX1" fmla="*/ 436419 w 6161809"/>
              <a:gd name="connsiteY1" fmla="*/ 332510 h 4479616"/>
              <a:gd name="connsiteX2" fmla="*/ 1163782 w 6161809"/>
              <a:gd name="connsiteY2" fmla="*/ 706582 h 4479616"/>
              <a:gd name="connsiteX3" fmla="*/ 2535382 w 6161809"/>
              <a:gd name="connsiteY3" fmla="*/ 748146 h 4479616"/>
              <a:gd name="connsiteX4" fmla="*/ 2919846 w 6161809"/>
              <a:gd name="connsiteY4" fmla="*/ 1319646 h 4479616"/>
              <a:gd name="connsiteX5" fmla="*/ 2313709 w 6161809"/>
              <a:gd name="connsiteY5" fmla="*/ 2275610 h 4479616"/>
              <a:gd name="connsiteX6" fmla="*/ 3851564 w 6161809"/>
              <a:gd name="connsiteY6" fmla="*/ 2926773 h 4479616"/>
              <a:gd name="connsiteX7" fmla="*/ 3335482 w 6161809"/>
              <a:gd name="connsiteY7" fmla="*/ 4187537 h 4479616"/>
              <a:gd name="connsiteX8" fmla="*/ 4767620 w 6161809"/>
              <a:gd name="connsiteY8" fmla="*/ 4479479 h 4479616"/>
              <a:gd name="connsiteX9" fmla="*/ 6161809 w 6161809"/>
              <a:gd name="connsiteY9" fmla="*/ 4229100 h 4479616"/>
              <a:gd name="connsiteX10" fmla="*/ 6161809 w 6161809"/>
              <a:gd name="connsiteY10" fmla="*/ 4229100 h 4479616"/>
              <a:gd name="connsiteX0" fmla="*/ 0 w 6161809"/>
              <a:gd name="connsiteY0" fmla="*/ 0 h 4479616"/>
              <a:gd name="connsiteX1" fmla="*/ 436419 w 6161809"/>
              <a:gd name="connsiteY1" fmla="*/ 332510 h 4479616"/>
              <a:gd name="connsiteX2" fmla="*/ 1163782 w 6161809"/>
              <a:gd name="connsiteY2" fmla="*/ 706582 h 4479616"/>
              <a:gd name="connsiteX3" fmla="*/ 2535382 w 6161809"/>
              <a:gd name="connsiteY3" fmla="*/ 748146 h 4479616"/>
              <a:gd name="connsiteX4" fmla="*/ 2329755 w 6161809"/>
              <a:gd name="connsiteY4" fmla="*/ 1231675 h 4479616"/>
              <a:gd name="connsiteX5" fmla="*/ 2313709 w 6161809"/>
              <a:gd name="connsiteY5" fmla="*/ 2275610 h 4479616"/>
              <a:gd name="connsiteX6" fmla="*/ 3851564 w 6161809"/>
              <a:gd name="connsiteY6" fmla="*/ 2926773 h 4479616"/>
              <a:gd name="connsiteX7" fmla="*/ 3335482 w 6161809"/>
              <a:gd name="connsiteY7" fmla="*/ 4187537 h 4479616"/>
              <a:gd name="connsiteX8" fmla="*/ 4767620 w 6161809"/>
              <a:gd name="connsiteY8" fmla="*/ 4479479 h 4479616"/>
              <a:gd name="connsiteX9" fmla="*/ 6161809 w 6161809"/>
              <a:gd name="connsiteY9" fmla="*/ 4229100 h 4479616"/>
              <a:gd name="connsiteX10" fmla="*/ 6161809 w 6161809"/>
              <a:gd name="connsiteY10" fmla="*/ 4229100 h 4479616"/>
              <a:gd name="connsiteX0" fmla="*/ 0 w 6161809"/>
              <a:gd name="connsiteY0" fmla="*/ 0 h 4479616"/>
              <a:gd name="connsiteX1" fmla="*/ 436419 w 6161809"/>
              <a:gd name="connsiteY1" fmla="*/ 332510 h 4479616"/>
              <a:gd name="connsiteX2" fmla="*/ 1163782 w 6161809"/>
              <a:gd name="connsiteY2" fmla="*/ 706582 h 4479616"/>
              <a:gd name="connsiteX3" fmla="*/ 1824277 w 6161809"/>
              <a:gd name="connsiteY3" fmla="*/ 970173 h 4479616"/>
              <a:gd name="connsiteX4" fmla="*/ 2329755 w 6161809"/>
              <a:gd name="connsiteY4" fmla="*/ 1231675 h 4479616"/>
              <a:gd name="connsiteX5" fmla="*/ 2313709 w 6161809"/>
              <a:gd name="connsiteY5" fmla="*/ 2275610 h 4479616"/>
              <a:gd name="connsiteX6" fmla="*/ 3851564 w 6161809"/>
              <a:gd name="connsiteY6" fmla="*/ 2926773 h 4479616"/>
              <a:gd name="connsiteX7" fmla="*/ 3335482 w 6161809"/>
              <a:gd name="connsiteY7" fmla="*/ 4187537 h 4479616"/>
              <a:gd name="connsiteX8" fmla="*/ 4767620 w 6161809"/>
              <a:gd name="connsiteY8" fmla="*/ 4479479 h 4479616"/>
              <a:gd name="connsiteX9" fmla="*/ 6161809 w 6161809"/>
              <a:gd name="connsiteY9" fmla="*/ 4229100 h 4479616"/>
              <a:gd name="connsiteX10" fmla="*/ 6161809 w 6161809"/>
              <a:gd name="connsiteY10" fmla="*/ 4229100 h 4479616"/>
              <a:gd name="connsiteX0" fmla="*/ 0 w 6161809"/>
              <a:gd name="connsiteY0" fmla="*/ 0 h 4479616"/>
              <a:gd name="connsiteX1" fmla="*/ 436419 w 6161809"/>
              <a:gd name="connsiteY1" fmla="*/ 332510 h 4479616"/>
              <a:gd name="connsiteX2" fmla="*/ 1163782 w 6161809"/>
              <a:gd name="connsiteY2" fmla="*/ 706582 h 4479616"/>
              <a:gd name="connsiteX3" fmla="*/ 1824277 w 6161809"/>
              <a:gd name="connsiteY3" fmla="*/ 970173 h 4479616"/>
              <a:gd name="connsiteX4" fmla="*/ 2329755 w 6161809"/>
              <a:gd name="connsiteY4" fmla="*/ 1231675 h 4479616"/>
              <a:gd name="connsiteX5" fmla="*/ 2313709 w 6161809"/>
              <a:gd name="connsiteY5" fmla="*/ 2275610 h 4479616"/>
              <a:gd name="connsiteX6" fmla="*/ 3170201 w 6161809"/>
              <a:gd name="connsiteY6" fmla="*/ 3030457 h 4479616"/>
              <a:gd name="connsiteX7" fmla="*/ 3335482 w 6161809"/>
              <a:gd name="connsiteY7" fmla="*/ 4187537 h 4479616"/>
              <a:gd name="connsiteX8" fmla="*/ 4767620 w 6161809"/>
              <a:gd name="connsiteY8" fmla="*/ 4479479 h 4479616"/>
              <a:gd name="connsiteX9" fmla="*/ 6161809 w 6161809"/>
              <a:gd name="connsiteY9" fmla="*/ 4229100 h 4479616"/>
              <a:gd name="connsiteX10" fmla="*/ 6161809 w 6161809"/>
              <a:gd name="connsiteY10" fmla="*/ 4229100 h 4479616"/>
              <a:gd name="connsiteX0" fmla="*/ 0 w 6161809"/>
              <a:gd name="connsiteY0" fmla="*/ 0 h 4524341"/>
              <a:gd name="connsiteX1" fmla="*/ 436419 w 6161809"/>
              <a:gd name="connsiteY1" fmla="*/ 332510 h 4524341"/>
              <a:gd name="connsiteX2" fmla="*/ 1163782 w 6161809"/>
              <a:gd name="connsiteY2" fmla="*/ 706582 h 4524341"/>
              <a:gd name="connsiteX3" fmla="*/ 1824277 w 6161809"/>
              <a:gd name="connsiteY3" fmla="*/ 970173 h 4524341"/>
              <a:gd name="connsiteX4" fmla="*/ 2329755 w 6161809"/>
              <a:gd name="connsiteY4" fmla="*/ 1231675 h 4524341"/>
              <a:gd name="connsiteX5" fmla="*/ 2313709 w 6161809"/>
              <a:gd name="connsiteY5" fmla="*/ 2275610 h 4524341"/>
              <a:gd name="connsiteX6" fmla="*/ 3170201 w 6161809"/>
              <a:gd name="connsiteY6" fmla="*/ 3030457 h 4524341"/>
              <a:gd name="connsiteX7" fmla="*/ 4009843 w 6161809"/>
              <a:gd name="connsiteY7" fmla="*/ 4370412 h 4524341"/>
              <a:gd name="connsiteX8" fmla="*/ 4767620 w 6161809"/>
              <a:gd name="connsiteY8" fmla="*/ 4479479 h 4524341"/>
              <a:gd name="connsiteX9" fmla="*/ 6161809 w 6161809"/>
              <a:gd name="connsiteY9" fmla="*/ 4229100 h 4524341"/>
              <a:gd name="connsiteX10" fmla="*/ 6161809 w 6161809"/>
              <a:gd name="connsiteY10" fmla="*/ 4229100 h 4524341"/>
              <a:gd name="connsiteX0" fmla="*/ 0 w 6161809"/>
              <a:gd name="connsiteY0" fmla="*/ 0 h 4544897"/>
              <a:gd name="connsiteX1" fmla="*/ 436419 w 6161809"/>
              <a:gd name="connsiteY1" fmla="*/ 332510 h 4544897"/>
              <a:gd name="connsiteX2" fmla="*/ 1163782 w 6161809"/>
              <a:gd name="connsiteY2" fmla="*/ 706582 h 4544897"/>
              <a:gd name="connsiteX3" fmla="*/ 1824277 w 6161809"/>
              <a:gd name="connsiteY3" fmla="*/ 970173 h 4544897"/>
              <a:gd name="connsiteX4" fmla="*/ 2329755 w 6161809"/>
              <a:gd name="connsiteY4" fmla="*/ 1231675 h 4544897"/>
              <a:gd name="connsiteX5" fmla="*/ 2313709 w 6161809"/>
              <a:gd name="connsiteY5" fmla="*/ 2275610 h 4544897"/>
              <a:gd name="connsiteX6" fmla="*/ 3263616 w 6161809"/>
              <a:gd name="connsiteY6" fmla="*/ 2713999 h 4544897"/>
              <a:gd name="connsiteX7" fmla="*/ 4009843 w 6161809"/>
              <a:gd name="connsiteY7" fmla="*/ 4370412 h 4544897"/>
              <a:gd name="connsiteX8" fmla="*/ 4767620 w 6161809"/>
              <a:gd name="connsiteY8" fmla="*/ 4479479 h 4544897"/>
              <a:gd name="connsiteX9" fmla="*/ 6161809 w 6161809"/>
              <a:gd name="connsiteY9" fmla="*/ 4229100 h 4544897"/>
              <a:gd name="connsiteX10" fmla="*/ 6161809 w 6161809"/>
              <a:gd name="connsiteY10" fmla="*/ 4229100 h 4544897"/>
              <a:gd name="connsiteX0" fmla="*/ 0 w 6161809"/>
              <a:gd name="connsiteY0" fmla="*/ 0 h 4544897"/>
              <a:gd name="connsiteX1" fmla="*/ 436419 w 6161809"/>
              <a:gd name="connsiteY1" fmla="*/ 332510 h 4544897"/>
              <a:gd name="connsiteX2" fmla="*/ 839060 w 6161809"/>
              <a:gd name="connsiteY2" fmla="*/ 1019032 h 4544897"/>
              <a:gd name="connsiteX3" fmla="*/ 1824277 w 6161809"/>
              <a:gd name="connsiteY3" fmla="*/ 970173 h 4544897"/>
              <a:gd name="connsiteX4" fmla="*/ 2329755 w 6161809"/>
              <a:gd name="connsiteY4" fmla="*/ 1231675 h 4544897"/>
              <a:gd name="connsiteX5" fmla="*/ 2313709 w 6161809"/>
              <a:gd name="connsiteY5" fmla="*/ 2275610 h 4544897"/>
              <a:gd name="connsiteX6" fmla="*/ 3263616 w 6161809"/>
              <a:gd name="connsiteY6" fmla="*/ 2713999 h 4544897"/>
              <a:gd name="connsiteX7" fmla="*/ 4009843 w 6161809"/>
              <a:gd name="connsiteY7" fmla="*/ 4370412 h 4544897"/>
              <a:gd name="connsiteX8" fmla="*/ 4767620 w 6161809"/>
              <a:gd name="connsiteY8" fmla="*/ 4479479 h 4544897"/>
              <a:gd name="connsiteX9" fmla="*/ 6161809 w 6161809"/>
              <a:gd name="connsiteY9" fmla="*/ 4229100 h 4544897"/>
              <a:gd name="connsiteX10" fmla="*/ 6161809 w 6161809"/>
              <a:gd name="connsiteY10" fmla="*/ 4229100 h 4544897"/>
              <a:gd name="connsiteX0" fmla="*/ 0 w 6161809"/>
              <a:gd name="connsiteY0" fmla="*/ 0 h 4509628"/>
              <a:gd name="connsiteX1" fmla="*/ 436419 w 6161809"/>
              <a:gd name="connsiteY1" fmla="*/ 332510 h 4509628"/>
              <a:gd name="connsiteX2" fmla="*/ 839060 w 6161809"/>
              <a:gd name="connsiteY2" fmla="*/ 1019032 h 4509628"/>
              <a:gd name="connsiteX3" fmla="*/ 1824277 w 6161809"/>
              <a:gd name="connsiteY3" fmla="*/ 970173 h 4509628"/>
              <a:gd name="connsiteX4" fmla="*/ 2329755 w 6161809"/>
              <a:gd name="connsiteY4" fmla="*/ 1231675 h 4509628"/>
              <a:gd name="connsiteX5" fmla="*/ 2313709 w 6161809"/>
              <a:gd name="connsiteY5" fmla="*/ 2275610 h 4509628"/>
              <a:gd name="connsiteX6" fmla="*/ 3263616 w 6161809"/>
              <a:gd name="connsiteY6" fmla="*/ 2713999 h 4509628"/>
              <a:gd name="connsiteX7" fmla="*/ 4025251 w 6161809"/>
              <a:gd name="connsiteY7" fmla="*/ 3277920 h 4509628"/>
              <a:gd name="connsiteX8" fmla="*/ 4009843 w 6161809"/>
              <a:gd name="connsiteY8" fmla="*/ 4370412 h 4509628"/>
              <a:gd name="connsiteX9" fmla="*/ 4767620 w 6161809"/>
              <a:gd name="connsiteY9" fmla="*/ 4479479 h 4509628"/>
              <a:gd name="connsiteX10" fmla="*/ 6161809 w 6161809"/>
              <a:gd name="connsiteY10" fmla="*/ 4229100 h 4509628"/>
              <a:gd name="connsiteX11" fmla="*/ 6161809 w 6161809"/>
              <a:gd name="connsiteY11" fmla="*/ 4229100 h 4509628"/>
              <a:gd name="connsiteX0" fmla="*/ 0 w 6161809"/>
              <a:gd name="connsiteY0" fmla="*/ 0 h 4681544"/>
              <a:gd name="connsiteX1" fmla="*/ 436419 w 6161809"/>
              <a:gd name="connsiteY1" fmla="*/ 332510 h 4681544"/>
              <a:gd name="connsiteX2" fmla="*/ 839060 w 6161809"/>
              <a:gd name="connsiteY2" fmla="*/ 1019032 h 4681544"/>
              <a:gd name="connsiteX3" fmla="*/ 1824277 w 6161809"/>
              <a:gd name="connsiteY3" fmla="*/ 970173 h 4681544"/>
              <a:gd name="connsiteX4" fmla="*/ 2329755 w 6161809"/>
              <a:gd name="connsiteY4" fmla="*/ 1231675 h 4681544"/>
              <a:gd name="connsiteX5" fmla="*/ 2313709 w 6161809"/>
              <a:gd name="connsiteY5" fmla="*/ 2275610 h 4681544"/>
              <a:gd name="connsiteX6" fmla="*/ 3263616 w 6161809"/>
              <a:gd name="connsiteY6" fmla="*/ 2713999 h 4681544"/>
              <a:gd name="connsiteX7" fmla="*/ 4025251 w 6161809"/>
              <a:gd name="connsiteY7" fmla="*/ 3277920 h 4681544"/>
              <a:gd name="connsiteX8" fmla="*/ 4329270 w 6161809"/>
              <a:gd name="connsiteY8" fmla="*/ 4608059 h 4681544"/>
              <a:gd name="connsiteX9" fmla="*/ 4767620 w 6161809"/>
              <a:gd name="connsiteY9" fmla="*/ 4479479 h 4681544"/>
              <a:gd name="connsiteX10" fmla="*/ 6161809 w 6161809"/>
              <a:gd name="connsiteY10" fmla="*/ 4229100 h 4681544"/>
              <a:gd name="connsiteX11" fmla="*/ 6161809 w 6161809"/>
              <a:gd name="connsiteY11" fmla="*/ 4229100 h 4681544"/>
              <a:gd name="connsiteX0" fmla="*/ 0 w 6161809"/>
              <a:gd name="connsiteY0" fmla="*/ 0 h 4726990"/>
              <a:gd name="connsiteX1" fmla="*/ 436419 w 6161809"/>
              <a:gd name="connsiteY1" fmla="*/ 332510 h 4726990"/>
              <a:gd name="connsiteX2" fmla="*/ 839060 w 6161809"/>
              <a:gd name="connsiteY2" fmla="*/ 1019032 h 4726990"/>
              <a:gd name="connsiteX3" fmla="*/ 1824277 w 6161809"/>
              <a:gd name="connsiteY3" fmla="*/ 970173 h 4726990"/>
              <a:gd name="connsiteX4" fmla="*/ 2329755 w 6161809"/>
              <a:gd name="connsiteY4" fmla="*/ 1231675 h 4726990"/>
              <a:gd name="connsiteX5" fmla="*/ 2313709 w 6161809"/>
              <a:gd name="connsiteY5" fmla="*/ 2275610 h 4726990"/>
              <a:gd name="connsiteX6" fmla="*/ 3263616 w 6161809"/>
              <a:gd name="connsiteY6" fmla="*/ 2713999 h 4726990"/>
              <a:gd name="connsiteX7" fmla="*/ 4025251 w 6161809"/>
              <a:gd name="connsiteY7" fmla="*/ 3277920 h 4726990"/>
              <a:gd name="connsiteX8" fmla="*/ 4329270 w 6161809"/>
              <a:gd name="connsiteY8" fmla="*/ 4608059 h 4726990"/>
              <a:gd name="connsiteX9" fmla="*/ 5206487 w 6161809"/>
              <a:gd name="connsiteY9" fmla="*/ 4619774 h 4726990"/>
              <a:gd name="connsiteX10" fmla="*/ 6161809 w 6161809"/>
              <a:gd name="connsiteY10" fmla="*/ 4229100 h 4726990"/>
              <a:gd name="connsiteX11" fmla="*/ 6161809 w 6161809"/>
              <a:gd name="connsiteY11" fmla="*/ 4229100 h 4726990"/>
              <a:gd name="connsiteX0" fmla="*/ 0 w 6161809"/>
              <a:gd name="connsiteY0" fmla="*/ 0 h 4620242"/>
              <a:gd name="connsiteX1" fmla="*/ 436419 w 6161809"/>
              <a:gd name="connsiteY1" fmla="*/ 332510 h 4620242"/>
              <a:gd name="connsiteX2" fmla="*/ 839060 w 6161809"/>
              <a:gd name="connsiteY2" fmla="*/ 1019032 h 4620242"/>
              <a:gd name="connsiteX3" fmla="*/ 1824277 w 6161809"/>
              <a:gd name="connsiteY3" fmla="*/ 970173 h 4620242"/>
              <a:gd name="connsiteX4" fmla="*/ 2329755 w 6161809"/>
              <a:gd name="connsiteY4" fmla="*/ 1231675 h 4620242"/>
              <a:gd name="connsiteX5" fmla="*/ 2313709 w 6161809"/>
              <a:gd name="connsiteY5" fmla="*/ 2275610 h 4620242"/>
              <a:gd name="connsiteX6" fmla="*/ 3263616 w 6161809"/>
              <a:gd name="connsiteY6" fmla="*/ 2713999 h 4620242"/>
              <a:gd name="connsiteX7" fmla="*/ 4025251 w 6161809"/>
              <a:gd name="connsiteY7" fmla="*/ 3277920 h 4620242"/>
              <a:gd name="connsiteX8" fmla="*/ 4654898 w 6161809"/>
              <a:gd name="connsiteY8" fmla="*/ 4283292 h 4620242"/>
              <a:gd name="connsiteX9" fmla="*/ 5206487 w 6161809"/>
              <a:gd name="connsiteY9" fmla="*/ 4619774 h 4620242"/>
              <a:gd name="connsiteX10" fmla="*/ 6161809 w 6161809"/>
              <a:gd name="connsiteY10" fmla="*/ 4229100 h 4620242"/>
              <a:gd name="connsiteX11" fmla="*/ 6161809 w 6161809"/>
              <a:gd name="connsiteY11" fmla="*/ 4229100 h 4620242"/>
              <a:gd name="connsiteX0" fmla="*/ 0 w 6161809"/>
              <a:gd name="connsiteY0" fmla="*/ 0 h 4637188"/>
              <a:gd name="connsiteX1" fmla="*/ 436419 w 6161809"/>
              <a:gd name="connsiteY1" fmla="*/ 332510 h 4637188"/>
              <a:gd name="connsiteX2" fmla="*/ 839060 w 6161809"/>
              <a:gd name="connsiteY2" fmla="*/ 1019032 h 4637188"/>
              <a:gd name="connsiteX3" fmla="*/ 1824277 w 6161809"/>
              <a:gd name="connsiteY3" fmla="*/ 970173 h 4637188"/>
              <a:gd name="connsiteX4" fmla="*/ 2329755 w 6161809"/>
              <a:gd name="connsiteY4" fmla="*/ 1231675 h 4637188"/>
              <a:gd name="connsiteX5" fmla="*/ 2313709 w 6161809"/>
              <a:gd name="connsiteY5" fmla="*/ 2275610 h 4637188"/>
              <a:gd name="connsiteX6" fmla="*/ 3263616 w 6161809"/>
              <a:gd name="connsiteY6" fmla="*/ 2713999 h 4637188"/>
              <a:gd name="connsiteX7" fmla="*/ 4025251 w 6161809"/>
              <a:gd name="connsiteY7" fmla="*/ 3277920 h 4637188"/>
              <a:gd name="connsiteX8" fmla="*/ 4913773 w 6161809"/>
              <a:gd name="connsiteY8" fmla="*/ 3529403 h 4637188"/>
              <a:gd name="connsiteX9" fmla="*/ 5206487 w 6161809"/>
              <a:gd name="connsiteY9" fmla="*/ 4619774 h 4637188"/>
              <a:gd name="connsiteX10" fmla="*/ 6161809 w 6161809"/>
              <a:gd name="connsiteY10" fmla="*/ 4229100 h 4637188"/>
              <a:gd name="connsiteX11" fmla="*/ 6161809 w 6161809"/>
              <a:gd name="connsiteY11" fmla="*/ 4229100 h 4637188"/>
              <a:gd name="connsiteX0" fmla="*/ 0 w 6161809"/>
              <a:gd name="connsiteY0" fmla="*/ 0 h 6240690"/>
              <a:gd name="connsiteX1" fmla="*/ 436419 w 6161809"/>
              <a:gd name="connsiteY1" fmla="*/ 332510 h 6240690"/>
              <a:gd name="connsiteX2" fmla="*/ 839060 w 6161809"/>
              <a:gd name="connsiteY2" fmla="*/ 1019032 h 6240690"/>
              <a:gd name="connsiteX3" fmla="*/ 1824277 w 6161809"/>
              <a:gd name="connsiteY3" fmla="*/ 970173 h 6240690"/>
              <a:gd name="connsiteX4" fmla="*/ 2329755 w 6161809"/>
              <a:gd name="connsiteY4" fmla="*/ 1231675 h 6240690"/>
              <a:gd name="connsiteX5" fmla="*/ 2313709 w 6161809"/>
              <a:gd name="connsiteY5" fmla="*/ 2275610 h 6240690"/>
              <a:gd name="connsiteX6" fmla="*/ 3263616 w 6161809"/>
              <a:gd name="connsiteY6" fmla="*/ 2713999 h 6240690"/>
              <a:gd name="connsiteX7" fmla="*/ 4025251 w 6161809"/>
              <a:gd name="connsiteY7" fmla="*/ 3277920 h 6240690"/>
              <a:gd name="connsiteX8" fmla="*/ 4913773 w 6161809"/>
              <a:gd name="connsiteY8" fmla="*/ 3529403 h 6240690"/>
              <a:gd name="connsiteX9" fmla="*/ 5206487 w 6161809"/>
              <a:gd name="connsiteY9" fmla="*/ 4619774 h 6240690"/>
              <a:gd name="connsiteX10" fmla="*/ 6161809 w 6161809"/>
              <a:gd name="connsiteY10" fmla="*/ 4229100 h 6240690"/>
              <a:gd name="connsiteX11" fmla="*/ 5922893 w 6161809"/>
              <a:gd name="connsiteY11" fmla="*/ 6240691 h 6240690"/>
              <a:gd name="connsiteX0" fmla="*/ 0 w 6161809"/>
              <a:gd name="connsiteY0" fmla="*/ 0 h 6240691"/>
              <a:gd name="connsiteX1" fmla="*/ 436419 w 6161809"/>
              <a:gd name="connsiteY1" fmla="*/ 332510 h 6240691"/>
              <a:gd name="connsiteX2" fmla="*/ 839060 w 6161809"/>
              <a:gd name="connsiteY2" fmla="*/ 1019032 h 6240691"/>
              <a:gd name="connsiteX3" fmla="*/ 1824277 w 6161809"/>
              <a:gd name="connsiteY3" fmla="*/ 970173 h 6240691"/>
              <a:gd name="connsiteX4" fmla="*/ 2329755 w 6161809"/>
              <a:gd name="connsiteY4" fmla="*/ 1231675 h 6240691"/>
              <a:gd name="connsiteX5" fmla="*/ 2313709 w 6161809"/>
              <a:gd name="connsiteY5" fmla="*/ 2275610 h 6240691"/>
              <a:gd name="connsiteX6" fmla="*/ 3263616 w 6161809"/>
              <a:gd name="connsiteY6" fmla="*/ 2713999 h 6240691"/>
              <a:gd name="connsiteX7" fmla="*/ 4025251 w 6161809"/>
              <a:gd name="connsiteY7" fmla="*/ 3277920 h 6240691"/>
              <a:gd name="connsiteX8" fmla="*/ 4913773 w 6161809"/>
              <a:gd name="connsiteY8" fmla="*/ 3529403 h 6240691"/>
              <a:gd name="connsiteX9" fmla="*/ 6161809 w 6161809"/>
              <a:gd name="connsiteY9" fmla="*/ 4229100 h 6240691"/>
              <a:gd name="connsiteX10" fmla="*/ 5922893 w 6161809"/>
              <a:gd name="connsiteY10" fmla="*/ 6240691 h 6240691"/>
              <a:gd name="connsiteX0" fmla="*/ 0 w 5922893"/>
              <a:gd name="connsiteY0" fmla="*/ 0 h 6240691"/>
              <a:gd name="connsiteX1" fmla="*/ 436419 w 5922893"/>
              <a:gd name="connsiteY1" fmla="*/ 332510 h 6240691"/>
              <a:gd name="connsiteX2" fmla="*/ 839060 w 5922893"/>
              <a:gd name="connsiteY2" fmla="*/ 1019032 h 6240691"/>
              <a:gd name="connsiteX3" fmla="*/ 1824277 w 5922893"/>
              <a:gd name="connsiteY3" fmla="*/ 970173 h 6240691"/>
              <a:gd name="connsiteX4" fmla="*/ 2329755 w 5922893"/>
              <a:gd name="connsiteY4" fmla="*/ 1231675 h 6240691"/>
              <a:gd name="connsiteX5" fmla="*/ 2313709 w 5922893"/>
              <a:gd name="connsiteY5" fmla="*/ 2275610 h 6240691"/>
              <a:gd name="connsiteX6" fmla="*/ 3263616 w 5922893"/>
              <a:gd name="connsiteY6" fmla="*/ 2713999 h 6240691"/>
              <a:gd name="connsiteX7" fmla="*/ 4025251 w 5922893"/>
              <a:gd name="connsiteY7" fmla="*/ 3277920 h 6240691"/>
              <a:gd name="connsiteX8" fmla="*/ 4913773 w 5922893"/>
              <a:gd name="connsiteY8" fmla="*/ 3529403 h 6240691"/>
              <a:gd name="connsiteX9" fmla="*/ 5547300 w 5922893"/>
              <a:gd name="connsiteY9" fmla="*/ 4473735 h 6240691"/>
              <a:gd name="connsiteX10" fmla="*/ 5922893 w 5922893"/>
              <a:gd name="connsiteY10" fmla="*/ 6240691 h 6240691"/>
              <a:gd name="connsiteX0" fmla="*/ 0 w 5922893"/>
              <a:gd name="connsiteY0" fmla="*/ 0 h 6240691"/>
              <a:gd name="connsiteX1" fmla="*/ 436419 w 5922893"/>
              <a:gd name="connsiteY1" fmla="*/ 332510 h 6240691"/>
              <a:gd name="connsiteX2" fmla="*/ 839060 w 5922893"/>
              <a:gd name="connsiteY2" fmla="*/ 1019032 h 6240691"/>
              <a:gd name="connsiteX3" fmla="*/ 1824277 w 5922893"/>
              <a:gd name="connsiteY3" fmla="*/ 970173 h 6240691"/>
              <a:gd name="connsiteX4" fmla="*/ 2329755 w 5922893"/>
              <a:gd name="connsiteY4" fmla="*/ 1231675 h 6240691"/>
              <a:gd name="connsiteX5" fmla="*/ 2313709 w 5922893"/>
              <a:gd name="connsiteY5" fmla="*/ 2275610 h 6240691"/>
              <a:gd name="connsiteX6" fmla="*/ 3263616 w 5922893"/>
              <a:gd name="connsiteY6" fmla="*/ 2713999 h 6240691"/>
              <a:gd name="connsiteX7" fmla="*/ 4025251 w 5922893"/>
              <a:gd name="connsiteY7" fmla="*/ 3277920 h 6240691"/>
              <a:gd name="connsiteX8" fmla="*/ 4913773 w 5922893"/>
              <a:gd name="connsiteY8" fmla="*/ 3529403 h 6240691"/>
              <a:gd name="connsiteX9" fmla="*/ 5092958 w 5922893"/>
              <a:gd name="connsiteY9" fmla="*/ 4831033 h 6240691"/>
              <a:gd name="connsiteX10" fmla="*/ 5922893 w 5922893"/>
              <a:gd name="connsiteY10" fmla="*/ 6240691 h 6240691"/>
              <a:gd name="connsiteX0" fmla="*/ 0 w 5922893"/>
              <a:gd name="connsiteY0" fmla="*/ 0 h 6240691"/>
              <a:gd name="connsiteX1" fmla="*/ 436419 w 5922893"/>
              <a:gd name="connsiteY1" fmla="*/ 332510 h 6240691"/>
              <a:gd name="connsiteX2" fmla="*/ 839060 w 5922893"/>
              <a:gd name="connsiteY2" fmla="*/ 1019032 h 6240691"/>
              <a:gd name="connsiteX3" fmla="*/ 1824277 w 5922893"/>
              <a:gd name="connsiteY3" fmla="*/ 970173 h 6240691"/>
              <a:gd name="connsiteX4" fmla="*/ 2329755 w 5922893"/>
              <a:gd name="connsiteY4" fmla="*/ 1231675 h 6240691"/>
              <a:gd name="connsiteX5" fmla="*/ 2313709 w 5922893"/>
              <a:gd name="connsiteY5" fmla="*/ 2275610 h 6240691"/>
              <a:gd name="connsiteX6" fmla="*/ 3263616 w 5922893"/>
              <a:gd name="connsiteY6" fmla="*/ 2713999 h 6240691"/>
              <a:gd name="connsiteX7" fmla="*/ 4219448 w 5922893"/>
              <a:gd name="connsiteY7" fmla="*/ 3022640 h 6240691"/>
              <a:gd name="connsiteX8" fmla="*/ 4913773 w 5922893"/>
              <a:gd name="connsiteY8" fmla="*/ 3529403 h 6240691"/>
              <a:gd name="connsiteX9" fmla="*/ 5092958 w 5922893"/>
              <a:gd name="connsiteY9" fmla="*/ 4831033 h 6240691"/>
              <a:gd name="connsiteX10" fmla="*/ 5922893 w 5922893"/>
              <a:gd name="connsiteY10" fmla="*/ 6240691 h 6240691"/>
              <a:gd name="connsiteX0" fmla="*/ 0 w 5922893"/>
              <a:gd name="connsiteY0" fmla="*/ 0 h 6240691"/>
              <a:gd name="connsiteX1" fmla="*/ 436419 w 5922893"/>
              <a:gd name="connsiteY1" fmla="*/ 332510 h 6240691"/>
              <a:gd name="connsiteX2" fmla="*/ 839060 w 5922893"/>
              <a:gd name="connsiteY2" fmla="*/ 1019032 h 6240691"/>
              <a:gd name="connsiteX3" fmla="*/ 1824277 w 5922893"/>
              <a:gd name="connsiteY3" fmla="*/ 970173 h 6240691"/>
              <a:gd name="connsiteX4" fmla="*/ 2329755 w 5922893"/>
              <a:gd name="connsiteY4" fmla="*/ 1231675 h 6240691"/>
              <a:gd name="connsiteX5" fmla="*/ 2313709 w 5922893"/>
              <a:gd name="connsiteY5" fmla="*/ 2275610 h 6240691"/>
              <a:gd name="connsiteX6" fmla="*/ 3479784 w 5922893"/>
              <a:gd name="connsiteY6" fmla="*/ 3115435 h 6240691"/>
              <a:gd name="connsiteX7" fmla="*/ 4219448 w 5922893"/>
              <a:gd name="connsiteY7" fmla="*/ 3022640 h 6240691"/>
              <a:gd name="connsiteX8" fmla="*/ 4913773 w 5922893"/>
              <a:gd name="connsiteY8" fmla="*/ 3529403 h 6240691"/>
              <a:gd name="connsiteX9" fmla="*/ 5092958 w 5922893"/>
              <a:gd name="connsiteY9" fmla="*/ 4831033 h 6240691"/>
              <a:gd name="connsiteX10" fmla="*/ 5922893 w 5922893"/>
              <a:gd name="connsiteY10" fmla="*/ 6240691 h 6240691"/>
              <a:gd name="connsiteX0" fmla="*/ 0 w 5922893"/>
              <a:gd name="connsiteY0" fmla="*/ 0 h 6240691"/>
              <a:gd name="connsiteX1" fmla="*/ 436419 w 5922893"/>
              <a:gd name="connsiteY1" fmla="*/ 332510 h 6240691"/>
              <a:gd name="connsiteX2" fmla="*/ 839060 w 5922893"/>
              <a:gd name="connsiteY2" fmla="*/ 1019032 h 6240691"/>
              <a:gd name="connsiteX3" fmla="*/ 1824277 w 5922893"/>
              <a:gd name="connsiteY3" fmla="*/ 970173 h 6240691"/>
              <a:gd name="connsiteX4" fmla="*/ 2329755 w 5922893"/>
              <a:gd name="connsiteY4" fmla="*/ 1231675 h 6240691"/>
              <a:gd name="connsiteX5" fmla="*/ 2587655 w 5922893"/>
              <a:gd name="connsiteY5" fmla="*/ 2176825 h 6240691"/>
              <a:gd name="connsiteX6" fmla="*/ 3479784 w 5922893"/>
              <a:gd name="connsiteY6" fmla="*/ 3115435 h 6240691"/>
              <a:gd name="connsiteX7" fmla="*/ 4219448 w 5922893"/>
              <a:gd name="connsiteY7" fmla="*/ 3022640 h 6240691"/>
              <a:gd name="connsiteX8" fmla="*/ 4913773 w 5922893"/>
              <a:gd name="connsiteY8" fmla="*/ 3529403 h 6240691"/>
              <a:gd name="connsiteX9" fmla="*/ 5092958 w 5922893"/>
              <a:gd name="connsiteY9" fmla="*/ 4831033 h 6240691"/>
              <a:gd name="connsiteX10" fmla="*/ 5922893 w 5922893"/>
              <a:gd name="connsiteY10" fmla="*/ 6240691 h 6240691"/>
              <a:gd name="connsiteX0" fmla="*/ 0 w 6236793"/>
              <a:gd name="connsiteY0" fmla="*/ 0 h 6840425"/>
              <a:gd name="connsiteX1" fmla="*/ 750319 w 6236793"/>
              <a:gd name="connsiteY1" fmla="*/ 932244 h 6840425"/>
              <a:gd name="connsiteX2" fmla="*/ 1152960 w 6236793"/>
              <a:gd name="connsiteY2" fmla="*/ 1618766 h 6840425"/>
              <a:gd name="connsiteX3" fmla="*/ 2138177 w 6236793"/>
              <a:gd name="connsiteY3" fmla="*/ 1569907 h 6840425"/>
              <a:gd name="connsiteX4" fmla="*/ 2643655 w 6236793"/>
              <a:gd name="connsiteY4" fmla="*/ 1831409 h 6840425"/>
              <a:gd name="connsiteX5" fmla="*/ 2901555 w 6236793"/>
              <a:gd name="connsiteY5" fmla="*/ 2776559 h 6840425"/>
              <a:gd name="connsiteX6" fmla="*/ 3793684 w 6236793"/>
              <a:gd name="connsiteY6" fmla="*/ 3715169 h 6840425"/>
              <a:gd name="connsiteX7" fmla="*/ 4533348 w 6236793"/>
              <a:gd name="connsiteY7" fmla="*/ 3622374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236793"/>
              <a:gd name="connsiteY0" fmla="*/ 0 h 6840425"/>
              <a:gd name="connsiteX1" fmla="*/ 834861 w 6236793"/>
              <a:gd name="connsiteY1" fmla="*/ 685252 h 6840425"/>
              <a:gd name="connsiteX2" fmla="*/ 1152960 w 6236793"/>
              <a:gd name="connsiteY2" fmla="*/ 1618766 h 6840425"/>
              <a:gd name="connsiteX3" fmla="*/ 2138177 w 6236793"/>
              <a:gd name="connsiteY3" fmla="*/ 1569907 h 6840425"/>
              <a:gd name="connsiteX4" fmla="*/ 2643655 w 6236793"/>
              <a:gd name="connsiteY4" fmla="*/ 1831409 h 6840425"/>
              <a:gd name="connsiteX5" fmla="*/ 2901555 w 6236793"/>
              <a:gd name="connsiteY5" fmla="*/ 2776559 h 6840425"/>
              <a:gd name="connsiteX6" fmla="*/ 3793684 w 6236793"/>
              <a:gd name="connsiteY6" fmla="*/ 3715169 h 6840425"/>
              <a:gd name="connsiteX7" fmla="*/ 4533348 w 6236793"/>
              <a:gd name="connsiteY7" fmla="*/ 3622374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236793"/>
              <a:gd name="connsiteY0" fmla="*/ 0 h 6840425"/>
              <a:gd name="connsiteX1" fmla="*/ 834861 w 6236793"/>
              <a:gd name="connsiteY1" fmla="*/ 685252 h 6840425"/>
              <a:gd name="connsiteX2" fmla="*/ 1152960 w 6236793"/>
              <a:gd name="connsiteY2" fmla="*/ 1618766 h 6840425"/>
              <a:gd name="connsiteX3" fmla="*/ 2050545 w 6236793"/>
              <a:gd name="connsiteY3" fmla="*/ 1519757 h 6840425"/>
              <a:gd name="connsiteX4" fmla="*/ 2643655 w 6236793"/>
              <a:gd name="connsiteY4" fmla="*/ 1831409 h 6840425"/>
              <a:gd name="connsiteX5" fmla="*/ 2901555 w 6236793"/>
              <a:gd name="connsiteY5" fmla="*/ 2776559 h 6840425"/>
              <a:gd name="connsiteX6" fmla="*/ 3793684 w 6236793"/>
              <a:gd name="connsiteY6" fmla="*/ 3715169 h 6840425"/>
              <a:gd name="connsiteX7" fmla="*/ 4533348 w 6236793"/>
              <a:gd name="connsiteY7" fmla="*/ 3622374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236793"/>
              <a:gd name="connsiteY0" fmla="*/ 0 h 6840425"/>
              <a:gd name="connsiteX1" fmla="*/ 834861 w 6236793"/>
              <a:gd name="connsiteY1" fmla="*/ 685252 h 6840425"/>
              <a:gd name="connsiteX2" fmla="*/ 1152960 w 6236793"/>
              <a:gd name="connsiteY2" fmla="*/ 1618766 h 6840425"/>
              <a:gd name="connsiteX3" fmla="*/ 2050545 w 6236793"/>
              <a:gd name="connsiteY3" fmla="*/ 1519757 h 6840425"/>
              <a:gd name="connsiteX4" fmla="*/ 2547864 w 6236793"/>
              <a:gd name="connsiteY4" fmla="*/ 1779351 h 6840425"/>
              <a:gd name="connsiteX5" fmla="*/ 2901555 w 6236793"/>
              <a:gd name="connsiteY5" fmla="*/ 2776559 h 6840425"/>
              <a:gd name="connsiteX6" fmla="*/ 3793684 w 6236793"/>
              <a:gd name="connsiteY6" fmla="*/ 3715169 h 6840425"/>
              <a:gd name="connsiteX7" fmla="*/ 4533348 w 6236793"/>
              <a:gd name="connsiteY7" fmla="*/ 3622374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236793"/>
              <a:gd name="connsiteY0" fmla="*/ 0 h 6840425"/>
              <a:gd name="connsiteX1" fmla="*/ 834861 w 6236793"/>
              <a:gd name="connsiteY1" fmla="*/ 685252 h 6840425"/>
              <a:gd name="connsiteX2" fmla="*/ 1152960 w 6236793"/>
              <a:gd name="connsiteY2" fmla="*/ 1618766 h 6840425"/>
              <a:gd name="connsiteX3" fmla="*/ 2050545 w 6236793"/>
              <a:gd name="connsiteY3" fmla="*/ 1519757 h 6840425"/>
              <a:gd name="connsiteX4" fmla="*/ 2547864 w 6236793"/>
              <a:gd name="connsiteY4" fmla="*/ 1779351 h 6840425"/>
              <a:gd name="connsiteX5" fmla="*/ 2852193 w 6236793"/>
              <a:gd name="connsiteY5" fmla="*/ 2883572 h 6840425"/>
              <a:gd name="connsiteX6" fmla="*/ 3793684 w 6236793"/>
              <a:gd name="connsiteY6" fmla="*/ 3715169 h 6840425"/>
              <a:gd name="connsiteX7" fmla="*/ 4533348 w 6236793"/>
              <a:gd name="connsiteY7" fmla="*/ 3622374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236793"/>
              <a:gd name="connsiteY0" fmla="*/ 0 h 6840425"/>
              <a:gd name="connsiteX1" fmla="*/ 834861 w 6236793"/>
              <a:gd name="connsiteY1" fmla="*/ 685252 h 6840425"/>
              <a:gd name="connsiteX2" fmla="*/ 1152960 w 6236793"/>
              <a:gd name="connsiteY2" fmla="*/ 1618766 h 6840425"/>
              <a:gd name="connsiteX3" fmla="*/ 2050545 w 6236793"/>
              <a:gd name="connsiteY3" fmla="*/ 1519757 h 6840425"/>
              <a:gd name="connsiteX4" fmla="*/ 2547864 w 6236793"/>
              <a:gd name="connsiteY4" fmla="*/ 1779351 h 6840425"/>
              <a:gd name="connsiteX5" fmla="*/ 2852193 w 6236793"/>
              <a:gd name="connsiteY5" fmla="*/ 2883572 h 6840425"/>
              <a:gd name="connsiteX6" fmla="*/ 3452115 w 6236793"/>
              <a:gd name="connsiteY6" fmla="*/ 3279536 h 6840425"/>
              <a:gd name="connsiteX7" fmla="*/ 4533348 w 6236793"/>
              <a:gd name="connsiteY7" fmla="*/ 3622374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236793"/>
              <a:gd name="connsiteY0" fmla="*/ 0 h 6840425"/>
              <a:gd name="connsiteX1" fmla="*/ 834861 w 6236793"/>
              <a:gd name="connsiteY1" fmla="*/ 685252 h 6840425"/>
              <a:gd name="connsiteX2" fmla="*/ 1152960 w 6236793"/>
              <a:gd name="connsiteY2" fmla="*/ 1618766 h 6840425"/>
              <a:gd name="connsiteX3" fmla="*/ 2050545 w 6236793"/>
              <a:gd name="connsiteY3" fmla="*/ 1519757 h 6840425"/>
              <a:gd name="connsiteX4" fmla="*/ 2547864 w 6236793"/>
              <a:gd name="connsiteY4" fmla="*/ 1779351 h 6840425"/>
              <a:gd name="connsiteX5" fmla="*/ 2852193 w 6236793"/>
              <a:gd name="connsiteY5" fmla="*/ 2883572 h 6840425"/>
              <a:gd name="connsiteX6" fmla="*/ 3452115 w 6236793"/>
              <a:gd name="connsiteY6" fmla="*/ 3279536 h 6840425"/>
              <a:gd name="connsiteX7" fmla="*/ 4346993 w 6236793"/>
              <a:gd name="connsiteY7" fmla="*/ 3786255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236793"/>
              <a:gd name="connsiteY0" fmla="*/ 0 h 6840425"/>
              <a:gd name="connsiteX1" fmla="*/ 834861 w 6236793"/>
              <a:gd name="connsiteY1" fmla="*/ 685252 h 6840425"/>
              <a:gd name="connsiteX2" fmla="*/ 1152960 w 6236793"/>
              <a:gd name="connsiteY2" fmla="*/ 1618766 h 6840425"/>
              <a:gd name="connsiteX3" fmla="*/ 2050545 w 6236793"/>
              <a:gd name="connsiteY3" fmla="*/ 1519757 h 6840425"/>
              <a:gd name="connsiteX4" fmla="*/ 2547864 w 6236793"/>
              <a:gd name="connsiteY4" fmla="*/ 1779351 h 6840425"/>
              <a:gd name="connsiteX5" fmla="*/ 2852193 w 6236793"/>
              <a:gd name="connsiteY5" fmla="*/ 2883572 h 6840425"/>
              <a:gd name="connsiteX6" fmla="*/ 3586296 w 6236793"/>
              <a:gd name="connsiteY6" fmla="*/ 3147909 h 6840425"/>
              <a:gd name="connsiteX7" fmla="*/ 4346993 w 6236793"/>
              <a:gd name="connsiteY7" fmla="*/ 3786255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236793"/>
              <a:gd name="connsiteY0" fmla="*/ 0 h 6840425"/>
              <a:gd name="connsiteX1" fmla="*/ 834861 w 6236793"/>
              <a:gd name="connsiteY1" fmla="*/ 685252 h 6840425"/>
              <a:gd name="connsiteX2" fmla="*/ 1152960 w 6236793"/>
              <a:gd name="connsiteY2" fmla="*/ 1618766 h 6840425"/>
              <a:gd name="connsiteX3" fmla="*/ 2050545 w 6236793"/>
              <a:gd name="connsiteY3" fmla="*/ 1519757 h 6840425"/>
              <a:gd name="connsiteX4" fmla="*/ 2547864 w 6236793"/>
              <a:gd name="connsiteY4" fmla="*/ 1779351 h 6840425"/>
              <a:gd name="connsiteX5" fmla="*/ 2852193 w 6236793"/>
              <a:gd name="connsiteY5" fmla="*/ 2883572 h 6840425"/>
              <a:gd name="connsiteX6" fmla="*/ 3586296 w 6236793"/>
              <a:gd name="connsiteY6" fmla="*/ 3147909 h 6840425"/>
              <a:gd name="connsiteX7" fmla="*/ 4230204 w 6236793"/>
              <a:gd name="connsiteY7" fmla="*/ 3907136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236793"/>
              <a:gd name="connsiteY0" fmla="*/ 0 h 6840425"/>
              <a:gd name="connsiteX1" fmla="*/ 834861 w 6236793"/>
              <a:gd name="connsiteY1" fmla="*/ 685252 h 6840425"/>
              <a:gd name="connsiteX2" fmla="*/ 1152960 w 6236793"/>
              <a:gd name="connsiteY2" fmla="*/ 1618766 h 6840425"/>
              <a:gd name="connsiteX3" fmla="*/ 2050545 w 6236793"/>
              <a:gd name="connsiteY3" fmla="*/ 1519757 h 6840425"/>
              <a:gd name="connsiteX4" fmla="*/ 2547864 w 6236793"/>
              <a:gd name="connsiteY4" fmla="*/ 1779351 h 6840425"/>
              <a:gd name="connsiteX5" fmla="*/ 2852193 w 6236793"/>
              <a:gd name="connsiteY5" fmla="*/ 2883572 h 6840425"/>
              <a:gd name="connsiteX6" fmla="*/ 3684624 w 6236793"/>
              <a:gd name="connsiteY6" fmla="*/ 3052352 h 6840425"/>
              <a:gd name="connsiteX7" fmla="*/ 4230204 w 6236793"/>
              <a:gd name="connsiteY7" fmla="*/ 3907136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358457"/>
              <a:gd name="connsiteY0" fmla="*/ 0 h 6600705"/>
              <a:gd name="connsiteX1" fmla="*/ 956525 w 6358457"/>
              <a:gd name="connsiteY1" fmla="*/ 445532 h 6600705"/>
              <a:gd name="connsiteX2" fmla="*/ 1274624 w 6358457"/>
              <a:gd name="connsiteY2" fmla="*/ 1379046 h 6600705"/>
              <a:gd name="connsiteX3" fmla="*/ 2172209 w 6358457"/>
              <a:gd name="connsiteY3" fmla="*/ 1280037 h 6600705"/>
              <a:gd name="connsiteX4" fmla="*/ 2669528 w 6358457"/>
              <a:gd name="connsiteY4" fmla="*/ 1539631 h 6600705"/>
              <a:gd name="connsiteX5" fmla="*/ 2973857 w 6358457"/>
              <a:gd name="connsiteY5" fmla="*/ 2643852 h 6600705"/>
              <a:gd name="connsiteX6" fmla="*/ 3806288 w 6358457"/>
              <a:gd name="connsiteY6" fmla="*/ 2812632 h 6600705"/>
              <a:gd name="connsiteX7" fmla="*/ 4351868 w 6358457"/>
              <a:gd name="connsiteY7" fmla="*/ 3667416 h 6600705"/>
              <a:gd name="connsiteX8" fmla="*/ 5349337 w 6358457"/>
              <a:gd name="connsiteY8" fmla="*/ 3889417 h 6600705"/>
              <a:gd name="connsiteX9" fmla="*/ 5528522 w 6358457"/>
              <a:gd name="connsiteY9" fmla="*/ 5191047 h 6600705"/>
              <a:gd name="connsiteX10" fmla="*/ 6358457 w 6358457"/>
              <a:gd name="connsiteY10" fmla="*/ 6600705 h 6600705"/>
              <a:gd name="connsiteX0" fmla="*/ 0 w 6358457"/>
              <a:gd name="connsiteY0" fmla="*/ 0 h 6600705"/>
              <a:gd name="connsiteX1" fmla="*/ 993791 w 6358457"/>
              <a:gd name="connsiteY1" fmla="*/ 354333 h 6600705"/>
              <a:gd name="connsiteX2" fmla="*/ 1274624 w 6358457"/>
              <a:gd name="connsiteY2" fmla="*/ 1379046 h 6600705"/>
              <a:gd name="connsiteX3" fmla="*/ 2172209 w 6358457"/>
              <a:gd name="connsiteY3" fmla="*/ 1280037 h 6600705"/>
              <a:gd name="connsiteX4" fmla="*/ 2669528 w 6358457"/>
              <a:gd name="connsiteY4" fmla="*/ 1539631 h 6600705"/>
              <a:gd name="connsiteX5" fmla="*/ 2973857 w 6358457"/>
              <a:gd name="connsiteY5" fmla="*/ 2643852 h 6600705"/>
              <a:gd name="connsiteX6" fmla="*/ 3806288 w 6358457"/>
              <a:gd name="connsiteY6" fmla="*/ 2812632 h 6600705"/>
              <a:gd name="connsiteX7" fmla="*/ 4351868 w 6358457"/>
              <a:gd name="connsiteY7" fmla="*/ 3667416 h 6600705"/>
              <a:gd name="connsiteX8" fmla="*/ 5349337 w 6358457"/>
              <a:gd name="connsiteY8" fmla="*/ 3889417 h 6600705"/>
              <a:gd name="connsiteX9" fmla="*/ 5528522 w 6358457"/>
              <a:gd name="connsiteY9" fmla="*/ 5191047 h 6600705"/>
              <a:gd name="connsiteX10" fmla="*/ 6358457 w 6358457"/>
              <a:gd name="connsiteY10" fmla="*/ 6600705 h 6600705"/>
              <a:gd name="connsiteX0" fmla="*/ 0 w 6358457"/>
              <a:gd name="connsiteY0" fmla="*/ 0 h 6600705"/>
              <a:gd name="connsiteX1" fmla="*/ 993791 w 6358457"/>
              <a:gd name="connsiteY1" fmla="*/ 354333 h 6600705"/>
              <a:gd name="connsiteX2" fmla="*/ 1483998 w 6358457"/>
              <a:gd name="connsiteY2" fmla="*/ 1330826 h 6600705"/>
              <a:gd name="connsiteX3" fmla="*/ 2172209 w 6358457"/>
              <a:gd name="connsiteY3" fmla="*/ 1280037 h 6600705"/>
              <a:gd name="connsiteX4" fmla="*/ 2669528 w 6358457"/>
              <a:gd name="connsiteY4" fmla="*/ 1539631 h 6600705"/>
              <a:gd name="connsiteX5" fmla="*/ 2973857 w 6358457"/>
              <a:gd name="connsiteY5" fmla="*/ 2643852 h 6600705"/>
              <a:gd name="connsiteX6" fmla="*/ 3806288 w 6358457"/>
              <a:gd name="connsiteY6" fmla="*/ 2812632 h 6600705"/>
              <a:gd name="connsiteX7" fmla="*/ 4351868 w 6358457"/>
              <a:gd name="connsiteY7" fmla="*/ 3667416 h 6600705"/>
              <a:gd name="connsiteX8" fmla="*/ 5349337 w 6358457"/>
              <a:gd name="connsiteY8" fmla="*/ 3889417 h 6600705"/>
              <a:gd name="connsiteX9" fmla="*/ 5528522 w 6358457"/>
              <a:gd name="connsiteY9" fmla="*/ 5191047 h 6600705"/>
              <a:gd name="connsiteX10" fmla="*/ 6358457 w 6358457"/>
              <a:gd name="connsiteY10" fmla="*/ 6600705 h 6600705"/>
              <a:gd name="connsiteX0" fmla="*/ 0 w 6358457"/>
              <a:gd name="connsiteY0" fmla="*/ 0 h 6600705"/>
              <a:gd name="connsiteX1" fmla="*/ 993791 w 6358457"/>
              <a:gd name="connsiteY1" fmla="*/ 354333 h 6600705"/>
              <a:gd name="connsiteX2" fmla="*/ 1483998 w 6358457"/>
              <a:gd name="connsiteY2" fmla="*/ 1330826 h 6600705"/>
              <a:gd name="connsiteX3" fmla="*/ 2330944 w 6358457"/>
              <a:gd name="connsiteY3" fmla="*/ 1320930 h 6600705"/>
              <a:gd name="connsiteX4" fmla="*/ 2669528 w 6358457"/>
              <a:gd name="connsiteY4" fmla="*/ 1539631 h 6600705"/>
              <a:gd name="connsiteX5" fmla="*/ 2973857 w 6358457"/>
              <a:gd name="connsiteY5" fmla="*/ 2643852 h 6600705"/>
              <a:gd name="connsiteX6" fmla="*/ 3806288 w 6358457"/>
              <a:gd name="connsiteY6" fmla="*/ 2812632 h 6600705"/>
              <a:gd name="connsiteX7" fmla="*/ 4351868 w 6358457"/>
              <a:gd name="connsiteY7" fmla="*/ 3667416 h 6600705"/>
              <a:gd name="connsiteX8" fmla="*/ 5349337 w 6358457"/>
              <a:gd name="connsiteY8" fmla="*/ 3889417 h 6600705"/>
              <a:gd name="connsiteX9" fmla="*/ 5528522 w 6358457"/>
              <a:gd name="connsiteY9" fmla="*/ 5191047 h 6600705"/>
              <a:gd name="connsiteX10" fmla="*/ 6358457 w 6358457"/>
              <a:gd name="connsiteY10" fmla="*/ 6600705 h 6600705"/>
              <a:gd name="connsiteX0" fmla="*/ 0 w 6686511"/>
              <a:gd name="connsiteY0" fmla="*/ -1 h 6576232"/>
              <a:gd name="connsiteX1" fmla="*/ 1321845 w 6686511"/>
              <a:gd name="connsiteY1" fmla="*/ 329860 h 6576232"/>
              <a:gd name="connsiteX2" fmla="*/ 1812052 w 6686511"/>
              <a:gd name="connsiteY2" fmla="*/ 1306353 h 6576232"/>
              <a:gd name="connsiteX3" fmla="*/ 2658998 w 6686511"/>
              <a:gd name="connsiteY3" fmla="*/ 1296457 h 6576232"/>
              <a:gd name="connsiteX4" fmla="*/ 2997582 w 6686511"/>
              <a:gd name="connsiteY4" fmla="*/ 1515158 h 6576232"/>
              <a:gd name="connsiteX5" fmla="*/ 3301911 w 6686511"/>
              <a:gd name="connsiteY5" fmla="*/ 2619379 h 6576232"/>
              <a:gd name="connsiteX6" fmla="*/ 4134342 w 6686511"/>
              <a:gd name="connsiteY6" fmla="*/ 2788159 h 6576232"/>
              <a:gd name="connsiteX7" fmla="*/ 4679922 w 6686511"/>
              <a:gd name="connsiteY7" fmla="*/ 3642943 h 6576232"/>
              <a:gd name="connsiteX8" fmla="*/ 5677391 w 6686511"/>
              <a:gd name="connsiteY8" fmla="*/ 3864944 h 6576232"/>
              <a:gd name="connsiteX9" fmla="*/ 5856576 w 6686511"/>
              <a:gd name="connsiteY9" fmla="*/ 5166574 h 6576232"/>
              <a:gd name="connsiteX10" fmla="*/ 6686511 w 6686511"/>
              <a:gd name="connsiteY10" fmla="*/ 6576232 h 6576232"/>
              <a:gd name="connsiteX0" fmla="*/ 24146 w 6710657"/>
              <a:gd name="connsiteY0" fmla="*/ 0 h 6576233"/>
              <a:gd name="connsiteX1" fmla="*/ 1345991 w 6710657"/>
              <a:gd name="connsiteY1" fmla="*/ 329861 h 6576233"/>
              <a:gd name="connsiteX2" fmla="*/ 1836198 w 6710657"/>
              <a:gd name="connsiteY2" fmla="*/ 1306354 h 6576233"/>
              <a:gd name="connsiteX3" fmla="*/ 2683144 w 6710657"/>
              <a:gd name="connsiteY3" fmla="*/ 1296458 h 6576233"/>
              <a:gd name="connsiteX4" fmla="*/ 3021728 w 6710657"/>
              <a:gd name="connsiteY4" fmla="*/ 1515159 h 6576233"/>
              <a:gd name="connsiteX5" fmla="*/ 3326057 w 6710657"/>
              <a:gd name="connsiteY5" fmla="*/ 2619380 h 6576233"/>
              <a:gd name="connsiteX6" fmla="*/ 4158488 w 6710657"/>
              <a:gd name="connsiteY6" fmla="*/ 2788160 h 6576233"/>
              <a:gd name="connsiteX7" fmla="*/ 4704068 w 6710657"/>
              <a:gd name="connsiteY7" fmla="*/ 3642944 h 6576233"/>
              <a:gd name="connsiteX8" fmla="*/ 5701537 w 6710657"/>
              <a:gd name="connsiteY8" fmla="*/ 3864945 h 6576233"/>
              <a:gd name="connsiteX9" fmla="*/ 5880722 w 6710657"/>
              <a:gd name="connsiteY9" fmla="*/ 5166575 h 6576233"/>
              <a:gd name="connsiteX10" fmla="*/ 6710657 w 6710657"/>
              <a:gd name="connsiteY10" fmla="*/ 6576233 h 6576233"/>
              <a:gd name="connsiteX0" fmla="*/ 24146 w 7477787"/>
              <a:gd name="connsiteY0" fmla="*/ 0 h 5166575"/>
              <a:gd name="connsiteX1" fmla="*/ 1345991 w 7477787"/>
              <a:gd name="connsiteY1" fmla="*/ 329861 h 5166575"/>
              <a:gd name="connsiteX2" fmla="*/ 1836198 w 7477787"/>
              <a:gd name="connsiteY2" fmla="*/ 1306354 h 5166575"/>
              <a:gd name="connsiteX3" fmla="*/ 2683144 w 7477787"/>
              <a:gd name="connsiteY3" fmla="*/ 1296458 h 5166575"/>
              <a:gd name="connsiteX4" fmla="*/ 3021728 w 7477787"/>
              <a:gd name="connsiteY4" fmla="*/ 1515159 h 5166575"/>
              <a:gd name="connsiteX5" fmla="*/ 3326057 w 7477787"/>
              <a:gd name="connsiteY5" fmla="*/ 2619380 h 5166575"/>
              <a:gd name="connsiteX6" fmla="*/ 4158488 w 7477787"/>
              <a:gd name="connsiteY6" fmla="*/ 2788160 h 5166575"/>
              <a:gd name="connsiteX7" fmla="*/ 4704068 w 7477787"/>
              <a:gd name="connsiteY7" fmla="*/ 3642944 h 5166575"/>
              <a:gd name="connsiteX8" fmla="*/ 5701537 w 7477787"/>
              <a:gd name="connsiteY8" fmla="*/ 3864945 h 5166575"/>
              <a:gd name="connsiteX9" fmla="*/ 5880722 w 7477787"/>
              <a:gd name="connsiteY9" fmla="*/ 5166575 h 5166575"/>
              <a:gd name="connsiteX10" fmla="*/ 7477787 w 7477787"/>
              <a:gd name="connsiteY10" fmla="*/ 4411504 h 5166575"/>
              <a:gd name="connsiteX0" fmla="*/ 24146 w 7477787"/>
              <a:gd name="connsiteY0" fmla="*/ 0 h 4411504"/>
              <a:gd name="connsiteX1" fmla="*/ 1345991 w 7477787"/>
              <a:gd name="connsiteY1" fmla="*/ 329861 h 4411504"/>
              <a:gd name="connsiteX2" fmla="*/ 1836198 w 7477787"/>
              <a:gd name="connsiteY2" fmla="*/ 1306354 h 4411504"/>
              <a:gd name="connsiteX3" fmla="*/ 2683144 w 7477787"/>
              <a:gd name="connsiteY3" fmla="*/ 1296458 h 4411504"/>
              <a:gd name="connsiteX4" fmla="*/ 3021728 w 7477787"/>
              <a:gd name="connsiteY4" fmla="*/ 1515159 h 4411504"/>
              <a:gd name="connsiteX5" fmla="*/ 3326057 w 7477787"/>
              <a:gd name="connsiteY5" fmla="*/ 2619380 h 4411504"/>
              <a:gd name="connsiteX6" fmla="*/ 4158488 w 7477787"/>
              <a:gd name="connsiteY6" fmla="*/ 2788160 h 4411504"/>
              <a:gd name="connsiteX7" fmla="*/ 4704068 w 7477787"/>
              <a:gd name="connsiteY7" fmla="*/ 3642944 h 4411504"/>
              <a:gd name="connsiteX8" fmla="*/ 5701537 w 7477787"/>
              <a:gd name="connsiteY8" fmla="*/ 3864945 h 4411504"/>
              <a:gd name="connsiteX9" fmla="*/ 6194997 w 7477787"/>
              <a:gd name="connsiteY9" fmla="*/ 4140441 h 4411504"/>
              <a:gd name="connsiteX10" fmla="*/ 7477787 w 7477787"/>
              <a:gd name="connsiteY10" fmla="*/ 4411504 h 4411504"/>
              <a:gd name="connsiteX0" fmla="*/ 24146 w 7477787"/>
              <a:gd name="connsiteY0" fmla="*/ 0 h 4574757"/>
              <a:gd name="connsiteX1" fmla="*/ 1345991 w 7477787"/>
              <a:gd name="connsiteY1" fmla="*/ 329861 h 4574757"/>
              <a:gd name="connsiteX2" fmla="*/ 1836198 w 7477787"/>
              <a:gd name="connsiteY2" fmla="*/ 1306354 h 4574757"/>
              <a:gd name="connsiteX3" fmla="*/ 2683144 w 7477787"/>
              <a:gd name="connsiteY3" fmla="*/ 1296458 h 4574757"/>
              <a:gd name="connsiteX4" fmla="*/ 3021728 w 7477787"/>
              <a:gd name="connsiteY4" fmla="*/ 1515159 h 4574757"/>
              <a:gd name="connsiteX5" fmla="*/ 3326057 w 7477787"/>
              <a:gd name="connsiteY5" fmla="*/ 2619380 h 4574757"/>
              <a:gd name="connsiteX6" fmla="*/ 4158488 w 7477787"/>
              <a:gd name="connsiteY6" fmla="*/ 2788160 h 4574757"/>
              <a:gd name="connsiteX7" fmla="*/ 4704068 w 7477787"/>
              <a:gd name="connsiteY7" fmla="*/ 3642944 h 4574757"/>
              <a:gd name="connsiteX8" fmla="*/ 5701537 w 7477787"/>
              <a:gd name="connsiteY8" fmla="*/ 3864945 h 4574757"/>
              <a:gd name="connsiteX9" fmla="*/ 6194997 w 7477787"/>
              <a:gd name="connsiteY9" fmla="*/ 4140441 h 4574757"/>
              <a:gd name="connsiteX10" fmla="*/ 6500175 w 7477787"/>
              <a:gd name="connsiteY10" fmla="*/ 4574756 h 4574757"/>
              <a:gd name="connsiteX11" fmla="*/ 7477787 w 7477787"/>
              <a:gd name="connsiteY11" fmla="*/ 4411504 h 4574757"/>
              <a:gd name="connsiteX0" fmla="*/ 24146 w 7738965"/>
              <a:gd name="connsiteY0" fmla="*/ 0 h 5319841"/>
              <a:gd name="connsiteX1" fmla="*/ 1345991 w 7738965"/>
              <a:gd name="connsiteY1" fmla="*/ 329861 h 5319841"/>
              <a:gd name="connsiteX2" fmla="*/ 1836198 w 7738965"/>
              <a:gd name="connsiteY2" fmla="*/ 1306354 h 5319841"/>
              <a:gd name="connsiteX3" fmla="*/ 2683144 w 7738965"/>
              <a:gd name="connsiteY3" fmla="*/ 1296458 h 5319841"/>
              <a:gd name="connsiteX4" fmla="*/ 3021728 w 7738965"/>
              <a:gd name="connsiteY4" fmla="*/ 1515159 h 5319841"/>
              <a:gd name="connsiteX5" fmla="*/ 3326057 w 7738965"/>
              <a:gd name="connsiteY5" fmla="*/ 2619380 h 5319841"/>
              <a:gd name="connsiteX6" fmla="*/ 4158488 w 7738965"/>
              <a:gd name="connsiteY6" fmla="*/ 2788160 h 5319841"/>
              <a:gd name="connsiteX7" fmla="*/ 4704068 w 7738965"/>
              <a:gd name="connsiteY7" fmla="*/ 3642944 h 5319841"/>
              <a:gd name="connsiteX8" fmla="*/ 5701537 w 7738965"/>
              <a:gd name="connsiteY8" fmla="*/ 3864945 h 5319841"/>
              <a:gd name="connsiteX9" fmla="*/ 6194997 w 7738965"/>
              <a:gd name="connsiteY9" fmla="*/ 4140441 h 5319841"/>
              <a:gd name="connsiteX10" fmla="*/ 6500175 w 7738965"/>
              <a:gd name="connsiteY10" fmla="*/ 4574756 h 5319841"/>
              <a:gd name="connsiteX11" fmla="*/ 7738965 w 7738965"/>
              <a:gd name="connsiteY11" fmla="*/ 5319841 h 5319841"/>
              <a:gd name="connsiteX0" fmla="*/ 24146 w 7738965"/>
              <a:gd name="connsiteY0" fmla="*/ 0 h 5319841"/>
              <a:gd name="connsiteX1" fmla="*/ 1345991 w 7738965"/>
              <a:gd name="connsiteY1" fmla="*/ 329861 h 5319841"/>
              <a:gd name="connsiteX2" fmla="*/ 1836198 w 7738965"/>
              <a:gd name="connsiteY2" fmla="*/ 1306354 h 5319841"/>
              <a:gd name="connsiteX3" fmla="*/ 2683144 w 7738965"/>
              <a:gd name="connsiteY3" fmla="*/ 1296458 h 5319841"/>
              <a:gd name="connsiteX4" fmla="*/ 3021728 w 7738965"/>
              <a:gd name="connsiteY4" fmla="*/ 1515159 h 5319841"/>
              <a:gd name="connsiteX5" fmla="*/ 3326057 w 7738965"/>
              <a:gd name="connsiteY5" fmla="*/ 2619380 h 5319841"/>
              <a:gd name="connsiteX6" fmla="*/ 4158488 w 7738965"/>
              <a:gd name="connsiteY6" fmla="*/ 2788160 h 5319841"/>
              <a:gd name="connsiteX7" fmla="*/ 4704068 w 7738965"/>
              <a:gd name="connsiteY7" fmla="*/ 3642944 h 5319841"/>
              <a:gd name="connsiteX8" fmla="*/ 5718860 w 7738965"/>
              <a:gd name="connsiteY8" fmla="*/ 3850889 h 5319841"/>
              <a:gd name="connsiteX9" fmla="*/ 6194997 w 7738965"/>
              <a:gd name="connsiteY9" fmla="*/ 4140441 h 5319841"/>
              <a:gd name="connsiteX10" fmla="*/ 6500175 w 7738965"/>
              <a:gd name="connsiteY10" fmla="*/ 4574756 h 5319841"/>
              <a:gd name="connsiteX11" fmla="*/ 7738965 w 7738965"/>
              <a:gd name="connsiteY11" fmla="*/ 5319841 h 5319841"/>
              <a:gd name="connsiteX0" fmla="*/ 24146 w 7738965"/>
              <a:gd name="connsiteY0" fmla="*/ 0 h 5319841"/>
              <a:gd name="connsiteX1" fmla="*/ 1345991 w 7738965"/>
              <a:gd name="connsiteY1" fmla="*/ 329861 h 5319841"/>
              <a:gd name="connsiteX2" fmla="*/ 1836198 w 7738965"/>
              <a:gd name="connsiteY2" fmla="*/ 1306354 h 5319841"/>
              <a:gd name="connsiteX3" fmla="*/ 2683144 w 7738965"/>
              <a:gd name="connsiteY3" fmla="*/ 1296458 h 5319841"/>
              <a:gd name="connsiteX4" fmla="*/ 3021728 w 7738965"/>
              <a:gd name="connsiteY4" fmla="*/ 1515159 h 5319841"/>
              <a:gd name="connsiteX5" fmla="*/ 3326057 w 7738965"/>
              <a:gd name="connsiteY5" fmla="*/ 2619380 h 5319841"/>
              <a:gd name="connsiteX6" fmla="*/ 4158488 w 7738965"/>
              <a:gd name="connsiteY6" fmla="*/ 2788160 h 5319841"/>
              <a:gd name="connsiteX7" fmla="*/ 4704068 w 7738965"/>
              <a:gd name="connsiteY7" fmla="*/ 3642944 h 5319841"/>
              <a:gd name="connsiteX8" fmla="*/ 5718860 w 7738965"/>
              <a:gd name="connsiteY8" fmla="*/ 3850889 h 5319841"/>
              <a:gd name="connsiteX9" fmla="*/ 6194997 w 7738965"/>
              <a:gd name="connsiteY9" fmla="*/ 4140441 h 5319841"/>
              <a:gd name="connsiteX10" fmla="*/ 6436160 w 7738965"/>
              <a:gd name="connsiteY10" fmla="*/ 4713996 h 5319841"/>
              <a:gd name="connsiteX11" fmla="*/ 7738965 w 7738965"/>
              <a:gd name="connsiteY11" fmla="*/ 5319841 h 5319841"/>
              <a:gd name="connsiteX0" fmla="*/ 24146 w 8872090"/>
              <a:gd name="connsiteY0" fmla="*/ 0 h 5855221"/>
              <a:gd name="connsiteX1" fmla="*/ 1345991 w 8872090"/>
              <a:gd name="connsiteY1" fmla="*/ 329861 h 5855221"/>
              <a:gd name="connsiteX2" fmla="*/ 1836198 w 8872090"/>
              <a:gd name="connsiteY2" fmla="*/ 1306354 h 5855221"/>
              <a:gd name="connsiteX3" fmla="*/ 2683144 w 8872090"/>
              <a:gd name="connsiteY3" fmla="*/ 1296458 h 5855221"/>
              <a:gd name="connsiteX4" fmla="*/ 3021728 w 8872090"/>
              <a:gd name="connsiteY4" fmla="*/ 1515159 h 5855221"/>
              <a:gd name="connsiteX5" fmla="*/ 3326057 w 8872090"/>
              <a:gd name="connsiteY5" fmla="*/ 2619380 h 5855221"/>
              <a:gd name="connsiteX6" fmla="*/ 4158488 w 8872090"/>
              <a:gd name="connsiteY6" fmla="*/ 2788160 h 5855221"/>
              <a:gd name="connsiteX7" fmla="*/ 4704068 w 8872090"/>
              <a:gd name="connsiteY7" fmla="*/ 3642944 h 5855221"/>
              <a:gd name="connsiteX8" fmla="*/ 5718860 w 8872090"/>
              <a:gd name="connsiteY8" fmla="*/ 3850889 h 5855221"/>
              <a:gd name="connsiteX9" fmla="*/ 6194997 w 8872090"/>
              <a:gd name="connsiteY9" fmla="*/ 4140441 h 5855221"/>
              <a:gd name="connsiteX10" fmla="*/ 6436160 w 8872090"/>
              <a:gd name="connsiteY10" fmla="*/ 4713996 h 5855221"/>
              <a:gd name="connsiteX11" fmla="*/ 8872091 w 8872090"/>
              <a:gd name="connsiteY11" fmla="*/ 5855221 h 5855221"/>
              <a:gd name="connsiteX0" fmla="*/ 24146 w 9134757"/>
              <a:gd name="connsiteY0" fmla="*/ 0 h 6500465"/>
              <a:gd name="connsiteX1" fmla="*/ 1345991 w 9134757"/>
              <a:gd name="connsiteY1" fmla="*/ 329861 h 6500465"/>
              <a:gd name="connsiteX2" fmla="*/ 1836198 w 9134757"/>
              <a:gd name="connsiteY2" fmla="*/ 1306354 h 6500465"/>
              <a:gd name="connsiteX3" fmla="*/ 2683144 w 9134757"/>
              <a:gd name="connsiteY3" fmla="*/ 1296458 h 6500465"/>
              <a:gd name="connsiteX4" fmla="*/ 3021728 w 9134757"/>
              <a:gd name="connsiteY4" fmla="*/ 1515159 h 6500465"/>
              <a:gd name="connsiteX5" fmla="*/ 3326057 w 9134757"/>
              <a:gd name="connsiteY5" fmla="*/ 2619380 h 6500465"/>
              <a:gd name="connsiteX6" fmla="*/ 4158488 w 9134757"/>
              <a:gd name="connsiteY6" fmla="*/ 2788160 h 6500465"/>
              <a:gd name="connsiteX7" fmla="*/ 4704068 w 9134757"/>
              <a:gd name="connsiteY7" fmla="*/ 3642944 h 6500465"/>
              <a:gd name="connsiteX8" fmla="*/ 5718860 w 9134757"/>
              <a:gd name="connsiteY8" fmla="*/ 3850889 h 6500465"/>
              <a:gd name="connsiteX9" fmla="*/ 6194997 w 9134757"/>
              <a:gd name="connsiteY9" fmla="*/ 4140441 h 6500465"/>
              <a:gd name="connsiteX10" fmla="*/ 6436160 w 9134757"/>
              <a:gd name="connsiteY10" fmla="*/ 4713996 h 6500465"/>
              <a:gd name="connsiteX11" fmla="*/ 9134758 w 9134757"/>
              <a:gd name="connsiteY11" fmla="*/ 6500464 h 6500465"/>
              <a:gd name="connsiteX0" fmla="*/ 24146 w 9134758"/>
              <a:gd name="connsiteY0" fmla="*/ 0 h 6500464"/>
              <a:gd name="connsiteX1" fmla="*/ 1345991 w 9134758"/>
              <a:gd name="connsiteY1" fmla="*/ 329861 h 6500464"/>
              <a:gd name="connsiteX2" fmla="*/ 1836198 w 9134758"/>
              <a:gd name="connsiteY2" fmla="*/ 1306354 h 6500464"/>
              <a:gd name="connsiteX3" fmla="*/ 2683144 w 9134758"/>
              <a:gd name="connsiteY3" fmla="*/ 1296458 h 6500464"/>
              <a:gd name="connsiteX4" fmla="*/ 3021728 w 9134758"/>
              <a:gd name="connsiteY4" fmla="*/ 1515159 h 6500464"/>
              <a:gd name="connsiteX5" fmla="*/ 3326057 w 9134758"/>
              <a:gd name="connsiteY5" fmla="*/ 2619380 h 6500464"/>
              <a:gd name="connsiteX6" fmla="*/ 4158488 w 9134758"/>
              <a:gd name="connsiteY6" fmla="*/ 2788160 h 6500464"/>
              <a:gd name="connsiteX7" fmla="*/ 4704068 w 9134758"/>
              <a:gd name="connsiteY7" fmla="*/ 3642944 h 6500464"/>
              <a:gd name="connsiteX8" fmla="*/ 5718860 w 9134758"/>
              <a:gd name="connsiteY8" fmla="*/ 3850889 h 6500464"/>
              <a:gd name="connsiteX9" fmla="*/ 6194997 w 9134758"/>
              <a:gd name="connsiteY9" fmla="*/ 4140441 h 6500464"/>
              <a:gd name="connsiteX10" fmla="*/ 6436160 w 9134758"/>
              <a:gd name="connsiteY10" fmla="*/ 4713996 h 6500464"/>
              <a:gd name="connsiteX11" fmla="*/ 8339823 w 9134758"/>
              <a:gd name="connsiteY11" fmla="*/ 5191502 h 6500464"/>
              <a:gd name="connsiteX12" fmla="*/ 9134758 w 9134758"/>
              <a:gd name="connsiteY12" fmla="*/ 6500464 h 6500464"/>
              <a:gd name="connsiteX0" fmla="*/ 24146 w 9134758"/>
              <a:gd name="connsiteY0" fmla="*/ 0 h 6500464"/>
              <a:gd name="connsiteX1" fmla="*/ 1345991 w 9134758"/>
              <a:gd name="connsiteY1" fmla="*/ 329861 h 6500464"/>
              <a:gd name="connsiteX2" fmla="*/ 1836198 w 9134758"/>
              <a:gd name="connsiteY2" fmla="*/ 1306354 h 6500464"/>
              <a:gd name="connsiteX3" fmla="*/ 2683144 w 9134758"/>
              <a:gd name="connsiteY3" fmla="*/ 1296458 h 6500464"/>
              <a:gd name="connsiteX4" fmla="*/ 3021728 w 9134758"/>
              <a:gd name="connsiteY4" fmla="*/ 1515159 h 6500464"/>
              <a:gd name="connsiteX5" fmla="*/ 3326057 w 9134758"/>
              <a:gd name="connsiteY5" fmla="*/ 2619380 h 6500464"/>
              <a:gd name="connsiteX6" fmla="*/ 4158488 w 9134758"/>
              <a:gd name="connsiteY6" fmla="*/ 2788160 h 6500464"/>
              <a:gd name="connsiteX7" fmla="*/ 4704068 w 9134758"/>
              <a:gd name="connsiteY7" fmla="*/ 3642944 h 6500464"/>
              <a:gd name="connsiteX8" fmla="*/ 5375895 w 9134758"/>
              <a:gd name="connsiteY8" fmla="*/ 3852770 h 6500464"/>
              <a:gd name="connsiteX9" fmla="*/ 6194997 w 9134758"/>
              <a:gd name="connsiteY9" fmla="*/ 4140441 h 6500464"/>
              <a:gd name="connsiteX10" fmla="*/ 6436160 w 9134758"/>
              <a:gd name="connsiteY10" fmla="*/ 4713996 h 6500464"/>
              <a:gd name="connsiteX11" fmla="*/ 8339823 w 9134758"/>
              <a:gd name="connsiteY11" fmla="*/ 5191502 h 6500464"/>
              <a:gd name="connsiteX12" fmla="*/ 9134758 w 9134758"/>
              <a:gd name="connsiteY12" fmla="*/ 6500464 h 6500464"/>
              <a:gd name="connsiteX0" fmla="*/ 24146 w 9134758"/>
              <a:gd name="connsiteY0" fmla="*/ 0 h 6500464"/>
              <a:gd name="connsiteX1" fmla="*/ 1345991 w 9134758"/>
              <a:gd name="connsiteY1" fmla="*/ 329861 h 6500464"/>
              <a:gd name="connsiteX2" fmla="*/ 1836198 w 9134758"/>
              <a:gd name="connsiteY2" fmla="*/ 1306354 h 6500464"/>
              <a:gd name="connsiteX3" fmla="*/ 2683144 w 9134758"/>
              <a:gd name="connsiteY3" fmla="*/ 1296458 h 6500464"/>
              <a:gd name="connsiteX4" fmla="*/ 3021728 w 9134758"/>
              <a:gd name="connsiteY4" fmla="*/ 1515159 h 6500464"/>
              <a:gd name="connsiteX5" fmla="*/ 3326057 w 9134758"/>
              <a:gd name="connsiteY5" fmla="*/ 2619380 h 6500464"/>
              <a:gd name="connsiteX6" fmla="*/ 4158488 w 9134758"/>
              <a:gd name="connsiteY6" fmla="*/ 2788160 h 6500464"/>
              <a:gd name="connsiteX7" fmla="*/ 4704068 w 9134758"/>
              <a:gd name="connsiteY7" fmla="*/ 3642944 h 6500464"/>
              <a:gd name="connsiteX8" fmla="*/ 5375895 w 9134758"/>
              <a:gd name="connsiteY8" fmla="*/ 3852770 h 6500464"/>
              <a:gd name="connsiteX9" fmla="*/ 5908014 w 9134758"/>
              <a:gd name="connsiteY9" fmla="*/ 4067793 h 6500464"/>
              <a:gd name="connsiteX10" fmla="*/ 6436160 w 9134758"/>
              <a:gd name="connsiteY10" fmla="*/ 4713996 h 6500464"/>
              <a:gd name="connsiteX11" fmla="*/ 8339823 w 9134758"/>
              <a:gd name="connsiteY11" fmla="*/ 5191502 h 6500464"/>
              <a:gd name="connsiteX12" fmla="*/ 9134758 w 9134758"/>
              <a:gd name="connsiteY12" fmla="*/ 6500464 h 6500464"/>
              <a:gd name="connsiteX0" fmla="*/ 24146 w 9134758"/>
              <a:gd name="connsiteY0" fmla="*/ 0 h 6500464"/>
              <a:gd name="connsiteX1" fmla="*/ 1345991 w 9134758"/>
              <a:gd name="connsiteY1" fmla="*/ 329861 h 6500464"/>
              <a:gd name="connsiteX2" fmla="*/ 1836198 w 9134758"/>
              <a:gd name="connsiteY2" fmla="*/ 1306354 h 6500464"/>
              <a:gd name="connsiteX3" fmla="*/ 2683144 w 9134758"/>
              <a:gd name="connsiteY3" fmla="*/ 1296458 h 6500464"/>
              <a:gd name="connsiteX4" fmla="*/ 3021728 w 9134758"/>
              <a:gd name="connsiteY4" fmla="*/ 1515159 h 6500464"/>
              <a:gd name="connsiteX5" fmla="*/ 3326057 w 9134758"/>
              <a:gd name="connsiteY5" fmla="*/ 2619380 h 6500464"/>
              <a:gd name="connsiteX6" fmla="*/ 4158488 w 9134758"/>
              <a:gd name="connsiteY6" fmla="*/ 2788160 h 6500464"/>
              <a:gd name="connsiteX7" fmla="*/ 4704068 w 9134758"/>
              <a:gd name="connsiteY7" fmla="*/ 3642944 h 6500464"/>
              <a:gd name="connsiteX8" fmla="*/ 5375895 w 9134758"/>
              <a:gd name="connsiteY8" fmla="*/ 3852770 h 6500464"/>
              <a:gd name="connsiteX9" fmla="*/ 5908014 w 9134758"/>
              <a:gd name="connsiteY9" fmla="*/ 4067793 h 6500464"/>
              <a:gd name="connsiteX10" fmla="*/ 6074610 w 9134758"/>
              <a:gd name="connsiteY10" fmla="*/ 4614570 h 6500464"/>
              <a:gd name="connsiteX11" fmla="*/ 8339823 w 9134758"/>
              <a:gd name="connsiteY11" fmla="*/ 5191502 h 6500464"/>
              <a:gd name="connsiteX12" fmla="*/ 9134758 w 9134758"/>
              <a:gd name="connsiteY12" fmla="*/ 6500464 h 6500464"/>
              <a:gd name="connsiteX0" fmla="*/ 24146 w 9134758"/>
              <a:gd name="connsiteY0" fmla="*/ 0 h 6500464"/>
              <a:gd name="connsiteX1" fmla="*/ 1345991 w 9134758"/>
              <a:gd name="connsiteY1" fmla="*/ 329861 h 6500464"/>
              <a:gd name="connsiteX2" fmla="*/ 1836198 w 9134758"/>
              <a:gd name="connsiteY2" fmla="*/ 1306354 h 6500464"/>
              <a:gd name="connsiteX3" fmla="*/ 2683144 w 9134758"/>
              <a:gd name="connsiteY3" fmla="*/ 1296458 h 6500464"/>
              <a:gd name="connsiteX4" fmla="*/ 3021728 w 9134758"/>
              <a:gd name="connsiteY4" fmla="*/ 1515159 h 6500464"/>
              <a:gd name="connsiteX5" fmla="*/ 3326057 w 9134758"/>
              <a:gd name="connsiteY5" fmla="*/ 2619380 h 6500464"/>
              <a:gd name="connsiteX6" fmla="*/ 4158488 w 9134758"/>
              <a:gd name="connsiteY6" fmla="*/ 2788160 h 6500464"/>
              <a:gd name="connsiteX7" fmla="*/ 4704068 w 9134758"/>
              <a:gd name="connsiteY7" fmla="*/ 3642944 h 6500464"/>
              <a:gd name="connsiteX8" fmla="*/ 5263409 w 9134758"/>
              <a:gd name="connsiteY8" fmla="*/ 3754915 h 6500464"/>
              <a:gd name="connsiteX9" fmla="*/ 5908014 w 9134758"/>
              <a:gd name="connsiteY9" fmla="*/ 4067793 h 6500464"/>
              <a:gd name="connsiteX10" fmla="*/ 6074610 w 9134758"/>
              <a:gd name="connsiteY10" fmla="*/ 4614570 h 6500464"/>
              <a:gd name="connsiteX11" fmla="*/ 8339823 w 9134758"/>
              <a:gd name="connsiteY11" fmla="*/ 5191502 h 6500464"/>
              <a:gd name="connsiteX12" fmla="*/ 9134758 w 9134758"/>
              <a:gd name="connsiteY12" fmla="*/ 6500464 h 6500464"/>
              <a:gd name="connsiteX0" fmla="*/ 24146 w 9134758"/>
              <a:gd name="connsiteY0" fmla="*/ 0 h 6500464"/>
              <a:gd name="connsiteX1" fmla="*/ 1345991 w 9134758"/>
              <a:gd name="connsiteY1" fmla="*/ 329861 h 6500464"/>
              <a:gd name="connsiteX2" fmla="*/ 1836198 w 9134758"/>
              <a:gd name="connsiteY2" fmla="*/ 1306354 h 6500464"/>
              <a:gd name="connsiteX3" fmla="*/ 2683144 w 9134758"/>
              <a:gd name="connsiteY3" fmla="*/ 1296458 h 6500464"/>
              <a:gd name="connsiteX4" fmla="*/ 3021728 w 9134758"/>
              <a:gd name="connsiteY4" fmla="*/ 1515159 h 6500464"/>
              <a:gd name="connsiteX5" fmla="*/ 3326057 w 9134758"/>
              <a:gd name="connsiteY5" fmla="*/ 2619380 h 6500464"/>
              <a:gd name="connsiteX6" fmla="*/ 4158488 w 9134758"/>
              <a:gd name="connsiteY6" fmla="*/ 2788160 h 6500464"/>
              <a:gd name="connsiteX7" fmla="*/ 4704068 w 9134758"/>
              <a:gd name="connsiteY7" fmla="*/ 3642944 h 6500464"/>
              <a:gd name="connsiteX8" fmla="*/ 5263409 w 9134758"/>
              <a:gd name="connsiteY8" fmla="*/ 3754915 h 6500464"/>
              <a:gd name="connsiteX9" fmla="*/ 5741550 w 9134758"/>
              <a:gd name="connsiteY9" fmla="*/ 4028290 h 6500464"/>
              <a:gd name="connsiteX10" fmla="*/ 6074610 w 9134758"/>
              <a:gd name="connsiteY10" fmla="*/ 4614570 h 6500464"/>
              <a:gd name="connsiteX11" fmla="*/ 8339823 w 9134758"/>
              <a:gd name="connsiteY11" fmla="*/ 5191502 h 6500464"/>
              <a:gd name="connsiteX12" fmla="*/ 9134758 w 9134758"/>
              <a:gd name="connsiteY12" fmla="*/ 6500464 h 6500464"/>
              <a:gd name="connsiteX0" fmla="*/ 24146 w 9134758"/>
              <a:gd name="connsiteY0" fmla="*/ 0 h 6500464"/>
              <a:gd name="connsiteX1" fmla="*/ 1345991 w 9134758"/>
              <a:gd name="connsiteY1" fmla="*/ 329861 h 6500464"/>
              <a:gd name="connsiteX2" fmla="*/ 1836198 w 9134758"/>
              <a:gd name="connsiteY2" fmla="*/ 1306354 h 6500464"/>
              <a:gd name="connsiteX3" fmla="*/ 2683144 w 9134758"/>
              <a:gd name="connsiteY3" fmla="*/ 1296458 h 6500464"/>
              <a:gd name="connsiteX4" fmla="*/ 3021728 w 9134758"/>
              <a:gd name="connsiteY4" fmla="*/ 1515159 h 6500464"/>
              <a:gd name="connsiteX5" fmla="*/ 3326057 w 9134758"/>
              <a:gd name="connsiteY5" fmla="*/ 2619380 h 6500464"/>
              <a:gd name="connsiteX6" fmla="*/ 4158488 w 9134758"/>
              <a:gd name="connsiteY6" fmla="*/ 2788160 h 6500464"/>
              <a:gd name="connsiteX7" fmla="*/ 4704068 w 9134758"/>
              <a:gd name="connsiteY7" fmla="*/ 3642944 h 6500464"/>
              <a:gd name="connsiteX8" fmla="*/ 5263409 w 9134758"/>
              <a:gd name="connsiteY8" fmla="*/ 3754915 h 6500464"/>
              <a:gd name="connsiteX9" fmla="*/ 5741550 w 9134758"/>
              <a:gd name="connsiteY9" fmla="*/ 4028290 h 6500464"/>
              <a:gd name="connsiteX10" fmla="*/ 6074610 w 9134758"/>
              <a:gd name="connsiteY10" fmla="*/ 4614570 h 6500464"/>
              <a:gd name="connsiteX11" fmla="*/ 7928312 w 9134758"/>
              <a:gd name="connsiteY11" fmla="*/ 5118069 h 6500464"/>
              <a:gd name="connsiteX12" fmla="*/ 9134758 w 9134758"/>
              <a:gd name="connsiteY12" fmla="*/ 6500464 h 6500464"/>
              <a:gd name="connsiteX0" fmla="*/ 24146 w 8847031"/>
              <a:gd name="connsiteY0" fmla="*/ 0 h 6559364"/>
              <a:gd name="connsiteX1" fmla="*/ 1345991 w 8847031"/>
              <a:gd name="connsiteY1" fmla="*/ 329861 h 6559364"/>
              <a:gd name="connsiteX2" fmla="*/ 1836198 w 8847031"/>
              <a:gd name="connsiteY2" fmla="*/ 1306354 h 6559364"/>
              <a:gd name="connsiteX3" fmla="*/ 2683144 w 8847031"/>
              <a:gd name="connsiteY3" fmla="*/ 1296458 h 6559364"/>
              <a:gd name="connsiteX4" fmla="*/ 3021728 w 8847031"/>
              <a:gd name="connsiteY4" fmla="*/ 1515159 h 6559364"/>
              <a:gd name="connsiteX5" fmla="*/ 3326057 w 8847031"/>
              <a:gd name="connsiteY5" fmla="*/ 2619380 h 6559364"/>
              <a:gd name="connsiteX6" fmla="*/ 4158488 w 8847031"/>
              <a:gd name="connsiteY6" fmla="*/ 2788160 h 6559364"/>
              <a:gd name="connsiteX7" fmla="*/ 4704068 w 8847031"/>
              <a:gd name="connsiteY7" fmla="*/ 3642944 h 6559364"/>
              <a:gd name="connsiteX8" fmla="*/ 5263409 w 8847031"/>
              <a:gd name="connsiteY8" fmla="*/ 3754915 h 6559364"/>
              <a:gd name="connsiteX9" fmla="*/ 5741550 w 8847031"/>
              <a:gd name="connsiteY9" fmla="*/ 4028290 h 6559364"/>
              <a:gd name="connsiteX10" fmla="*/ 6074610 w 8847031"/>
              <a:gd name="connsiteY10" fmla="*/ 4614570 h 6559364"/>
              <a:gd name="connsiteX11" fmla="*/ 7928312 w 8847031"/>
              <a:gd name="connsiteY11" fmla="*/ 5118069 h 6559364"/>
              <a:gd name="connsiteX12" fmla="*/ 8847032 w 8847031"/>
              <a:gd name="connsiteY12"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704068 w 8847032"/>
              <a:gd name="connsiteY7" fmla="*/ 3642944 h 6559364"/>
              <a:gd name="connsiteX8" fmla="*/ 5263409 w 8847032"/>
              <a:gd name="connsiteY8" fmla="*/ 3754915 h 6559364"/>
              <a:gd name="connsiteX9" fmla="*/ 5741550 w 8847032"/>
              <a:gd name="connsiteY9" fmla="*/ 4028290 h 6559364"/>
              <a:gd name="connsiteX10" fmla="*/ 6074610 w 8847032"/>
              <a:gd name="connsiteY10" fmla="*/ 4614570 h 6559364"/>
              <a:gd name="connsiteX11" fmla="*/ 7928312 w 8847032"/>
              <a:gd name="connsiteY11" fmla="*/ 5118069 h 6559364"/>
              <a:gd name="connsiteX12" fmla="*/ 8228374 w 8847032"/>
              <a:gd name="connsiteY12" fmla="*/ 5587474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704068 w 8847032"/>
              <a:gd name="connsiteY7" fmla="*/ 3642944 h 6559364"/>
              <a:gd name="connsiteX8" fmla="*/ 5263409 w 8847032"/>
              <a:gd name="connsiteY8" fmla="*/ 3754915 h 6559364"/>
              <a:gd name="connsiteX9" fmla="*/ 5741550 w 8847032"/>
              <a:gd name="connsiteY9" fmla="*/ 4028290 h 6559364"/>
              <a:gd name="connsiteX10" fmla="*/ 6074610 w 8847032"/>
              <a:gd name="connsiteY10" fmla="*/ 4614570 h 6559364"/>
              <a:gd name="connsiteX11" fmla="*/ 7928312 w 8847032"/>
              <a:gd name="connsiteY11" fmla="*/ 5118069 h 6559364"/>
              <a:gd name="connsiteX12" fmla="*/ 8426213 w 8847032"/>
              <a:gd name="connsiteY12" fmla="*/ 5499673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704068 w 8847032"/>
              <a:gd name="connsiteY7" fmla="*/ 3642944 h 6559364"/>
              <a:gd name="connsiteX8" fmla="*/ 5263409 w 8847032"/>
              <a:gd name="connsiteY8" fmla="*/ 3754915 h 6559364"/>
              <a:gd name="connsiteX9" fmla="*/ 5741550 w 8847032"/>
              <a:gd name="connsiteY9" fmla="*/ 4028290 h 6559364"/>
              <a:gd name="connsiteX10" fmla="*/ 6074610 w 8847032"/>
              <a:gd name="connsiteY10" fmla="*/ 4614570 h 6559364"/>
              <a:gd name="connsiteX11" fmla="*/ 7928312 w 8847032"/>
              <a:gd name="connsiteY11" fmla="*/ 5118069 h 6559364"/>
              <a:gd name="connsiteX12" fmla="*/ 8376252 w 8847032"/>
              <a:gd name="connsiteY12" fmla="*/ 5525668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704068 w 8847032"/>
              <a:gd name="connsiteY7" fmla="*/ 3642944 h 6559364"/>
              <a:gd name="connsiteX8" fmla="*/ 5263409 w 8847032"/>
              <a:gd name="connsiteY8" fmla="*/ 3754915 h 6559364"/>
              <a:gd name="connsiteX9" fmla="*/ 5741550 w 8847032"/>
              <a:gd name="connsiteY9" fmla="*/ 4028290 h 6559364"/>
              <a:gd name="connsiteX10" fmla="*/ 6074610 w 8847032"/>
              <a:gd name="connsiteY10" fmla="*/ 4614570 h 6559364"/>
              <a:gd name="connsiteX11" fmla="*/ 7928312 w 8847032"/>
              <a:gd name="connsiteY11" fmla="*/ 5118069 h 6559364"/>
              <a:gd name="connsiteX12" fmla="*/ 8376252 w 8847032"/>
              <a:gd name="connsiteY12" fmla="*/ 5525668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704068 w 8847032"/>
              <a:gd name="connsiteY7" fmla="*/ 3642944 h 6559364"/>
              <a:gd name="connsiteX8" fmla="*/ 5263409 w 8847032"/>
              <a:gd name="connsiteY8" fmla="*/ 3754915 h 6559364"/>
              <a:gd name="connsiteX9" fmla="*/ 5741550 w 8847032"/>
              <a:gd name="connsiteY9" fmla="*/ 4028290 h 6559364"/>
              <a:gd name="connsiteX10" fmla="*/ 6074610 w 8847032"/>
              <a:gd name="connsiteY10" fmla="*/ 4614570 h 6559364"/>
              <a:gd name="connsiteX11" fmla="*/ 7928312 w 8847032"/>
              <a:gd name="connsiteY11" fmla="*/ 5118069 h 6559364"/>
              <a:gd name="connsiteX12" fmla="*/ 8376252 w 8847032"/>
              <a:gd name="connsiteY12" fmla="*/ 5525668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704068 w 8847032"/>
              <a:gd name="connsiteY7" fmla="*/ 3642944 h 6559364"/>
              <a:gd name="connsiteX8" fmla="*/ 5263409 w 8847032"/>
              <a:gd name="connsiteY8" fmla="*/ 3754915 h 6559364"/>
              <a:gd name="connsiteX9" fmla="*/ 5741550 w 8847032"/>
              <a:gd name="connsiteY9" fmla="*/ 4028290 h 6559364"/>
              <a:gd name="connsiteX10" fmla="*/ 6275721 w 8847032"/>
              <a:gd name="connsiteY10" fmla="*/ 4625957 h 6559364"/>
              <a:gd name="connsiteX11" fmla="*/ 7928312 w 8847032"/>
              <a:gd name="connsiteY11" fmla="*/ 5118069 h 6559364"/>
              <a:gd name="connsiteX12" fmla="*/ 8376252 w 8847032"/>
              <a:gd name="connsiteY12" fmla="*/ 5525668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704068 w 8847032"/>
              <a:gd name="connsiteY7" fmla="*/ 3642944 h 6559364"/>
              <a:gd name="connsiteX8" fmla="*/ 5556412 w 8847032"/>
              <a:gd name="connsiteY8" fmla="*/ 3779025 h 6559364"/>
              <a:gd name="connsiteX9" fmla="*/ 5741550 w 8847032"/>
              <a:gd name="connsiteY9" fmla="*/ 4028290 h 6559364"/>
              <a:gd name="connsiteX10" fmla="*/ 6275721 w 8847032"/>
              <a:gd name="connsiteY10" fmla="*/ 4625957 h 6559364"/>
              <a:gd name="connsiteX11" fmla="*/ 7928312 w 8847032"/>
              <a:gd name="connsiteY11" fmla="*/ 5118069 h 6559364"/>
              <a:gd name="connsiteX12" fmla="*/ 8376252 w 8847032"/>
              <a:gd name="connsiteY12" fmla="*/ 5525668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556412 w 8847032"/>
              <a:gd name="connsiteY9" fmla="*/ 3779025 h 6559364"/>
              <a:gd name="connsiteX10" fmla="*/ 5741550 w 8847032"/>
              <a:gd name="connsiteY10" fmla="*/ 4028290 h 6559364"/>
              <a:gd name="connsiteX11" fmla="*/ 6275721 w 8847032"/>
              <a:gd name="connsiteY11" fmla="*/ 4625957 h 6559364"/>
              <a:gd name="connsiteX12" fmla="*/ 7928312 w 8847032"/>
              <a:gd name="connsiteY12" fmla="*/ 5118069 h 6559364"/>
              <a:gd name="connsiteX13" fmla="*/ 8376252 w 8847032"/>
              <a:gd name="connsiteY13" fmla="*/ 5525668 h 6559364"/>
              <a:gd name="connsiteX14" fmla="*/ 8847032 w 8847032"/>
              <a:gd name="connsiteY14"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187502 w 8847032"/>
              <a:gd name="connsiteY9" fmla="*/ 3603115 h 6559364"/>
              <a:gd name="connsiteX10" fmla="*/ 5556412 w 8847032"/>
              <a:gd name="connsiteY10" fmla="*/ 3779025 h 6559364"/>
              <a:gd name="connsiteX11" fmla="*/ 5741550 w 8847032"/>
              <a:gd name="connsiteY11" fmla="*/ 4028290 h 6559364"/>
              <a:gd name="connsiteX12" fmla="*/ 6275721 w 8847032"/>
              <a:gd name="connsiteY12" fmla="*/ 4625957 h 6559364"/>
              <a:gd name="connsiteX13" fmla="*/ 7928312 w 8847032"/>
              <a:gd name="connsiteY13" fmla="*/ 5118069 h 6559364"/>
              <a:gd name="connsiteX14" fmla="*/ 8376252 w 8847032"/>
              <a:gd name="connsiteY14" fmla="*/ 5525668 h 6559364"/>
              <a:gd name="connsiteX15" fmla="*/ 8847032 w 8847032"/>
              <a:gd name="connsiteY15"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187502 w 8847032"/>
              <a:gd name="connsiteY9" fmla="*/ 3603115 h 6559364"/>
              <a:gd name="connsiteX10" fmla="*/ 5556412 w 8847032"/>
              <a:gd name="connsiteY10" fmla="*/ 3779025 h 6559364"/>
              <a:gd name="connsiteX11" fmla="*/ 5741550 w 8847032"/>
              <a:gd name="connsiteY11" fmla="*/ 4028290 h 6559364"/>
              <a:gd name="connsiteX12" fmla="*/ 6275721 w 8847032"/>
              <a:gd name="connsiteY12" fmla="*/ 4625957 h 6559364"/>
              <a:gd name="connsiteX13" fmla="*/ 7928312 w 8847032"/>
              <a:gd name="connsiteY13" fmla="*/ 5118069 h 6559364"/>
              <a:gd name="connsiteX14" fmla="*/ 8376252 w 8847032"/>
              <a:gd name="connsiteY14" fmla="*/ 5525668 h 6559364"/>
              <a:gd name="connsiteX15" fmla="*/ 8847032 w 8847032"/>
              <a:gd name="connsiteY15"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269359 w 8847032"/>
              <a:gd name="connsiteY9" fmla="*/ 3696729 h 6559364"/>
              <a:gd name="connsiteX10" fmla="*/ 5556412 w 8847032"/>
              <a:gd name="connsiteY10" fmla="*/ 3779025 h 6559364"/>
              <a:gd name="connsiteX11" fmla="*/ 5741550 w 8847032"/>
              <a:gd name="connsiteY11" fmla="*/ 4028290 h 6559364"/>
              <a:gd name="connsiteX12" fmla="*/ 6275721 w 8847032"/>
              <a:gd name="connsiteY12" fmla="*/ 4625957 h 6559364"/>
              <a:gd name="connsiteX13" fmla="*/ 7928312 w 8847032"/>
              <a:gd name="connsiteY13" fmla="*/ 5118069 h 6559364"/>
              <a:gd name="connsiteX14" fmla="*/ 8376252 w 8847032"/>
              <a:gd name="connsiteY14" fmla="*/ 5525668 h 6559364"/>
              <a:gd name="connsiteX15" fmla="*/ 8847032 w 8847032"/>
              <a:gd name="connsiteY15"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269359 w 8847032"/>
              <a:gd name="connsiteY9" fmla="*/ 3696729 h 6559364"/>
              <a:gd name="connsiteX10" fmla="*/ 5556412 w 8847032"/>
              <a:gd name="connsiteY10" fmla="*/ 3779025 h 6559364"/>
              <a:gd name="connsiteX11" fmla="*/ 5744077 w 8847032"/>
              <a:gd name="connsiteY11" fmla="*/ 4259026 h 6559364"/>
              <a:gd name="connsiteX12" fmla="*/ 6275721 w 8847032"/>
              <a:gd name="connsiteY12" fmla="*/ 4625957 h 6559364"/>
              <a:gd name="connsiteX13" fmla="*/ 7928312 w 8847032"/>
              <a:gd name="connsiteY13" fmla="*/ 5118069 h 6559364"/>
              <a:gd name="connsiteX14" fmla="*/ 8376252 w 8847032"/>
              <a:gd name="connsiteY14" fmla="*/ 5525668 h 6559364"/>
              <a:gd name="connsiteX15" fmla="*/ 8847032 w 8847032"/>
              <a:gd name="connsiteY15"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269359 w 8847032"/>
              <a:gd name="connsiteY9" fmla="*/ 3696729 h 6559364"/>
              <a:gd name="connsiteX10" fmla="*/ 5556412 w 8847032"/>
              <a:gd name="connsiteY10" fmla="*/ 3779025 h 6559364"/>
              <a:gd name="connsiteX11" fmla="*/ 5744077 w 8847032"/>
              <a:gd name="connsiteY11" fmla="*/ 4259026 h 6559364"/>
              <a:gd name="connsiteX12" fmla="*/ 6022642 w 8847032"/>
              <a:gd name="connsiteY12" fmla="*/ 4656742 h 6559364"/>
              <a:gd name="connsiteX13" fmla="*/ 7928312 w 8847032"/>
              <a:gd name="connsiteY13" fmla="*/ 5118069 h 6559364"/>
              <a:gd name="connsiteX14" fmla="*/ 8376252 w 8847032"/>
              <a:gd name="connsiteY14" fmla="*/ 5525668 h 6559364"/>
              <a:gd name="connsiteX15" fmla="*/ 8847032 w 8847032"/>
              <a:gd name="connsiteY15"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098881 w 8847032"/>
              <a:gd name="connsiteY9" fmla="*/ 3689579 h 6559364"/>
              <a:gd name="connsiteX10" fmla="*/ 5556412 w 8847032"/>
              <a:gd name="connsiteY10" fmla="*/ 3779025 h 6559364"/>
              <a:gd name="connsiteX11" fmla="*/ 5744077 w 8847032"/>
              <a:gd name="connsiteY11" fmla="*/ 4259026 h 6559364"/>
              <a:gd name="connsiteX12" fmla="*/ 6022642 w 8847032"/>
              <a:gd name="connsiteY12" fmla="*/ 4656742 h 6559364"/>
              <a:gd name="connsiteX13" fmla="*/ 7928312 w 8847032"/>
              <a:gd name="connsiteY13" fmla="*/ 5118069 h 6559364"/>
              <a:gd name="connsiteX14" fmla="*/ 8376252 w 8847032"/>
              <a:gd name="connsiteY14" fmla="*/ 5525668 h 6559364"/>
              <a:gd name="connsiteX15" fmla="*/ 8847032 w 8847032"/>
              <a:gd name="connsiteY15"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098881 w 8847032"/>
              <a:gd name="connsiteY9" fmla="*/ 3689579 h 6559364"/>
              <a:gd name="connsiteX10" fmla="*/ 5513737 w 8847032"/>
              <a:gd name="connsiteY10" fmla="*/ 3871854 h 6559364"/>
              <a:gd name="connsiteX11" fmla="*/ 5744077 w 8847032"/>
              <a:gd name="connsiteY11" fmla="*/ 4259026 h 6559364"/>
              <a:gd name="connsiteX12" fmla="*/ 6022642 w 8847032"/>
              <a:gd name="connsiteY12" fmla="*/ 4656742 h 6559364"/>
              <a:gd name="connsiteX13" fmla="*/ 7928312 w 8847032"/>
              <a:gd name="connsiteY13" fmla="*/ 5118069 h 6559364"/>
              <a:gd name="connsiteX14" fmla="*/ 8376252 w 8847032"/>
              <a:gd name="connsiteY14" fmla="*/ 5525668 h 6559364"/>
              <a:gd name="connsiteX15" fmla="*/ 8847032 w 8847032"/>
              <a:gd name="connsiteY15"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098881 w 8847032"/>
              <a:gd name="connsiteY9" fmla="*/ 3689579 h 6559364"/>
              <a:gd name="connsiteX10" fmla="*/ 5744077 w 8847032"/>
              <a:gd name="connsiteY10" fmla="*/ 4259026 h 6559364"/>
              <a:gd name="connsiteX11" fmla="*/ 6022642 w 8847032"/>
              <a:gd name="connsiteY11" fmla="*/ 4656742 h 6559364"/>
              <a:gd name="connsiteX12" fmla="*/ 7928312 w 8847032"/>
              <a:gd name="connsiteY12" fmla="*/ 5118069 h 6559364"/>
              <a:gd name="connsiteX13" fmla="*/ 8376252 w 8847032"/>
              <a:gd name="connsiteY13" fmla="*/ 5525668 h 6559364"/>
              <a:gd name="connsiteX14" fmla="*/ 8847032 w 8847032"/>
              <a:gd name="connsiteY14"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422515 w 8847032"/>
              <a:gd name="connsiteY9" fmla="*/ 3717933 h 6559364"/>
              <a:gd name="connsiteX10" fmla="*/ 5744077 w 8847032"/>
              <a:gd name="connsiteY10" fmla="*/ 4259026 h 6559364"/>
              <a:gd name="connsiteX11" fmla="*/ 6022642 w 8847032"/>
              <a:gd name="connsiteY11" fmla="*/ 4656742 h 6559364"/>
              <a:gd name="connsiteX12" fmla="*/ 7928312 w 8847032"/>
              <a:gd name="connsiteY12" fmla="*/ 5118069 h 6559364"/>
              <a:gd name="connsiteX13" fmla="*/ 8376252 w 8847032"/>
              <a:gd name="connsiteY13" fmla="*/ 5525668 h 6559364"/>
              <a:gd name="connsiteX14" fmla="*/ 8847032 w 8847032"/>
              <a:gd name="connsiteY14"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5744077 w 8847032"/>
              <a:gd name="connsiteY10" fmla="*/ 4259026 h 6559364"/>
              <a:gd name="connsiteX11" fmla="*/ 6022642 w 8847032"/>
              <a:gd name="connsiteY11" fmla="*/ 4656742 h 6559364"/>
              <a:gd name="connsiteX12" fmla="*/ 7928312 w 8847032"/>
              <a:gd name="connsiteY12" fmla="*/ 5118069 h 6559364"/>
              <a:gd name="connsiteX13" fmla="*/ 8376252 w 8847032"/>
              <a:gd name="connsiteY13" fmla="*/ 5525668 h 6559364"/>
              <a:gd name="connsiteX14" fmla="*/ 8847032 w 8847032"/>
              <a:gd name="connsiteY14"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5744077 w 8847032"/>
              <a:gd name="connsiteY10" fmla="*/ 4259026 h 6559364"/>
              <a:gd name="connsiteX11" fmla="*/ 6022642 w 8847032"/>
              <a:gd name="connsiteY11" fmla="*/ 4656742 h 6559364"/>
              <a:gd name="connsiteX12" fmla="*/ 7928312 w 8847032"/>
              <a:gd name="connsiteY12" fmla="*/ 5118069 h 6559364"/>
              <a:gd name="connsiteX13" fmla="*/ 8376252 w 8847032"/>
              <a:gd name="connsiteY13" fmla="*/ 5525668 h 6559364"/>
              <a:gd name="connsiteX14" fmla="*/ 8847032 w 8847032"/>
              <a:gd name="connsiteY14"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5744077 w 8847032"/>
              <a:gd name="connsiteY10" fmla="*/ 4259026 h 6559364"/>
              <a:gd name="connsiteX11" fmla="*/ 6022642 w 8847032"/>
              <a:gd name="connsiteY11" fmla="*/ 4656742 h 6559364"/>
              <a:gd name="connsiteX12" fmla="*/ 7928312 w 8847032"/>
              <a:gd name="connsiteY12" fmla="*/ 5118069 h 6559364"/>
              <a:gd name="connsiteX13" fmla="*/ 8376252 w 8847032"/>
              <a:gd name="connsiteY13" fmla="*/ 5525668 h 6559364"/>
              <a:gd name="connsiteX14" fmla="*/ 8847032 w 8847032"/>
              <a:gd name="connsiteY14"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22642 w 8847032"/>
              <a:gd name="connsiteY10" fmla="*/ 4656742 h 6559364"/>
              <a:gd name="connsiteX11" fmla="*/ 7928312 w 8847032"/>
              <a:gd name="connsiteY11" fmla="*/ 5118069 h 6559364"/>
              <a:gd name="connsiteX12" fmla="*/ 8376252 w 8847032"/>
              <a:gd name="connsiteY12" fmla="*/ 5525668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446056 w 8847032"/>
              <a:gd name="connsiteY5" fmla="*/ 240561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22642 w 8847032"/>
              <a:gd name="connsiteY10" fmla="*/ 4656742 h 6559364"/>
              <a:gd name="connsiteX11" fmla="*/ 7928312 w 8847032"/>
              <a:gd name="connsiteY11" fmla="*/ 5118069 h 6559364"/>
              <a:gd name="connsiteX12" fmla="*/ 8376252 w 8847032"/>
              <a:gd name="connsiteY12" fmla="*/ 5525668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446056 w 8847032"/>
              <a:gd name="connsiteY5" fmla="*/ 240561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22642 w 8847032"/>
              <a:gd name="connsiteY10" fmla="*/ 4656742 h 6559364"/>
              <a:gd name="connsiteX11" fmla="*/ 7928312 w 8847032"/>
              <a:gd name="connsiteY11" fmla="*/ 5118069 h 6559364"/>
              <a:gd name="connsiteX12" fmla="*/ 8376252 w 8847032"/>
              <a:gd name="connsiteY12" fmla="*/ 5525668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22642 w 8847032"/>
              <a:gd name="connsiteY10" fmla="*/ 4656742 h 6559364"/>
              <a:gd name="connsiteX11" fmla="*/ 7928312 w 8847032"/>
              <a:gd name="connsiteY11" fmla="*/ 5118069 h 6559364"/>
              <a:gd name="connsiteX12" fmla="*/ 8376252 w 8847032"/>
              <a:gd name="connsiteY12" fmla="*/ 5525668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22642 w 8847032"/>
              <a:gd name="connsiteY10" fmla="*/ 4656742 h 6559364"/>
              <a:gd name="connsiteX11" fmla="*/ 7928312 w 8847032"/>
              <a:gd name="connsiteY11" fmla="*/ 5118069 h 6559364"/>
              <a:gd name="connsiteX12" fmla="*/ 8395582 w 8847032"/>
              <a:gd name="connsiteY12" fmla="*/ 5495433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22642 w 8847032"/>
              <a:gd name="connsiteY10" fmla="*/ 4656742 h 6559364"/>
              <a:gd name="connsiteX11" fmla="*/ 7928312 w 8847032"/>
              <a:gd name="connsiteY11" fmla="*/ 5118069 h 6559364"/>
              <a:gd name="connsiteX12" fmla="*/ 8395582 w 8847032"/>
              <a:gd name="connsiteY12" fmla="*/ 5495433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22642 w 8847032"/>
              <a:gd name="connsiteY10" fmla="*/ 4656742 h 6559364"/>
              <a:gd name="connsiteX11" fmla="*/ 8395582 w 8847032"/>
              <a:gd name="connsiteY11" fmla="*/ 5495433 h 6559364"/>
              <a:gd name="connsiteX12" fmla="*/ 8847032 w 8847032"/>
              <a:gd name="connsiteY12"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22642 w 8847032"/>
              <a:gd name="connsiteY10" fmla="*/ 4656742 h 6559364"/>
              <a:gd name="connsiteX11" fmla="*/ 7897680 w 8847032"/>
              <a:gd name="connsiteY11" fmla="*/ 5113829 h 6559364"/>
              <a:gd name="connsiteX12" fmla="*/ 8847032 w 8847032"/>
              <a:gd name="connsiteY12"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22642 w 8847032"/>
              <a:gd name="connsiteY10" fmla="*/ 4656742 h 6559364"/>
              <a:gd name="connsiteX11" fmla="*/ 7897680 w 8847032"/>
              <a:gd name="connsiteY11" fmla="*/ 5113829 h 6559364"/>
              <a:gd name="connsiteX12" fmla="*/ 8847032 w 8847032"/>
              <a:gd name="connsiteY12"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08590 w 8847032"/>
              <a:gd name="connsiteY10" fmla="*/ 4769989 h 6559364"/>
              <a:gd name="connsiteX11" fmla="*/ 7897680 w 8847032"/>
              <a:gd name="connsiteY11" fmla="*/ 5113829 h 6559364"/>
              <a:gd name="connsiteX12" fmla="*/ 8847032 w 8847032"/>
              <a:gd name="connsiteY12"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5968668 w 8847032"/>
              <a:gd name="connsiteY10" fmla="*/ 4715095 h 6559364"/>
              <a:gd name="connsiteX11" fmla="*/ 7897680 w 8847032"/>
              <a:gd name="connsiteY11" fmla="*/ 5113829 h 6559364"/>
              <a:gd name="connsiteX12" fmla="*/ 8847032 w 8847032"/>
              <a:gd name="connsiteY12"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362517 w 8847032"/>
              <a:gd name="connsiteY9" fmla="*/ 3824819 h 6559364"/>
              <a:gd name="connsiteX10" fmla="*/ 5968668 w 8847032"/>
              <a:gd name="connsiteY10" fmla="*/ 4715095 h 6559364"/>
              <a:gd name="connsiteX11" fmla="*/ 7897680 w 8847032"/>
              <a:gd name="connsiteY11" fmla="*/ 5113829 h 6559364"/>
              <a:gd name="connsiteX12" fmla="*/ 8847032 w 8847032"/>
              <a:gd name="connsiteY12"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362517 w 8847032"/>
              <a:gd name="connsiteY9" fmla="*/ 3824819 h 6559364"/>
              <a:gd name="connsiteX10" fmla="*/ 5968668 w 8847032"/>
              <a:gd name="connsiteY10" fmla="*/ 4715095 h 6559364"/>
              <a:gd name="connsiteX11" fmla="*/ 7887643 w 8847032"/>
              <a:gd name="connsiteY11" fmla="*/ 5194720 h 6559364"/>
              <a:gd name="connsiteX12" fmla="*/ 8847032 w 8847032"/>
              <a:gd name="connsiteY12" fmla="*/ 6559364 h 6559364"/>
              <a:gd name="connsiteX0" fmla="*/ 22587 w 8845473"/>
              <a:gd name="connsiteY0" fmla="*/ 0 h 6559364"/>
              <a:gd name="connsiteX1" fmla="*/ 1440340 w 8845473"/>
              <a:gd name="connsiteY1" fmla="*/ 310229 h 6559364"/>
              <a:gd name="connsiteX2" fmla="*/ 1834639 w 8845473"/>
              <a:gd name="connsiteY2" fmla="*/ 1306354 h 6559364"/>
              <a:gd name="connsiteX3" fmla="*/ 2681585 w 8845473"/>
              <a:gd name="connsiteY3" fmla="*/ 1296458 h 6559364"/>
              <a:gd name="connsiteX4" fmla="*/ 3020169 w 8845473"/>
              <a:gd name="connsiteY4" fmla="*/ 1515159 h 6559364"/>
              <a:gd name="connsiteX5" fmla="*/ 3276770 w 8845473"/>
              <a:gd name="connsiteY5" fmla="*/ 2250740 h 6559364"/>
              <a:gd name="connsiteX6" fmla="*/ 3969872 w 8845473"/>
              <a:gd name="connsiteY6" fmla="*/ 2663524 h 6559364"/>
              <a:gd name="connsiteX7" fmla="*/ 4335039 w 8845473"/>
              <a:gd name="connsiteY7" fmla="*/ 3304285 h 6559364"/>
              <a:gd name="connsiteX8" fmla="*/ 4702509 w 8845473"/>
              <a:gd name="connsiteY8" fmla="*/ 3642944 h 6559364"/>
              <a:gd name="connsiteX9" fmla="*/ 5360958 w 8845473"/>
              <a:gd name="connsiteY9" fmla="*/ 3824819 h 6559364"/>
              <a:gd name="connsiteX10" fmla="*/ 5967109 w 8845473"/>
              <a:gd name="connsiteY10" fmla="*/ 4715095 h 6559364"/>
              <a:gd name="connsiteX11" fmla="*/ 7886084 w 8845473"/>
              <a:gd name="connsiteY11" fmla="*/ 5194720 h 6559364"/>
              <a:gd name="connsiteX12" fmla="*/ 8845473 w 8845473"/>
              <a:gd name="connsiteY12" fmla="*/ 6559364 h 6559364"/>
              <a:gd name="connsiteX0" fmla="*/ 22587 w 8845473"/>
              <a:gd name="connsiteY0" fmla="*/ 0 h 6559364"/>
              <a:gd name="connsiteX1" fmla="*/ 1440340 w 8845473"/>
              <a:gd name="connsiteY1" fmla="*/ 310229 h 6559364"/>
              <a:gd name="connsiteX2" fmla="*/ 1834639 w 8845473"/>
              <a:gd name="connsiteY2" fmla="*/ 1306354 h 6559364"/>
              <a:gd name="connsiteX3" fmla="*/ 2681585 w 8845473"/>
              <a:gd name="connsiteY3" fmla="*/ 1296458 h 6559364"/>
              <a:gd name="connsiteX4" fmla="*/ 3020169 w 8845473"/>
              <a:gd name="connsiteY4" fmla="*/ 1515159 h 6559364"/>
              <a:gd name="connsiteX5" fmla="*/ 3276770 w 8845473"/>
              <a:gd name="connsiteY5" fmla="*/ 2250740 h 6559364"/>
              <a:gd name="connsiteX6" fmla="*/ 3969872 w 8845473"/>
              <a:gd name="connsiteY6" fmla="*/ 2663524 h 6559364"/>
              <a:gd name="connsiteX7" fmla="*/ 4335039 w 8845473"/>
              <a:gd name="connsiteY7" fmla="*/ 3304285 h 6559364"/>
              <a:gd name="connsiteX8" fmla="*/ 4164458 w 8845473"/>
              <a:gd name="connsiteY8" fmla="*/ 3584906 h 6559364"/>
              <a:gd name="connsiteX9" fmla="*/ 5360958 w 8845473"/>
              <a:gd name="connsiteY9" fmla="*/ 3824819 h 6559364"/>
              <a:gd name="connsiteX10" fmla="*/ 5967109 w 8845473"/>
              <a:gd name="connsiteY10" fmla="*/ 4715095 h 6559364"/>
              <a:gd name="connsiteX11" fmla="*/ 7886084 w 8845473"/>
              <a:gd name="connsiteY11" fmla="*/ 5194720 h 6559364"/>
              <a:gd name="connsiteX12" fmla="*/ 8845473 w 8845473"/>
              <a:gd name="connsiteY12" fmla="*/ 6559364 h 6559364"/>
              <a:gd name="connsiteX0" fmla="*/ 22587 w 8845473"/>
              <a:gd name="connsiteY0" fmla="*/ 0 h 6559364"/>
              <a:gd name="connsiteX1" fmla="*/ 1440340 w 8845473"/>
              <a:gd name="connsiteY1" fmla="*/ 310229 h 6559364"/>
              <a:gd name="connsiteX2" fmla="*/ 1834639 w 8845473"/>
              <a:gd name="connsiteY2" fmla="*/ 1306354 h 6559364"/>
              <a:gd name="connsiteX3" fmla="*/ 2681585 w 8845473"/>
              <a:gd name="connsiteY3" fmla="*/ 1296458 h 6559364"/>
              <a:gd name="connsiteX4" fmla="*/ 3020169 w 8845473"/>
              <a:gd name="connsiteY4" fmla="*/ 1515159 h 6559364"/>
              <a:gd name="connsiteX5" fmla="*/ 3276770 w 8845473"/>
              <a:gd name="connsiteY5" fmla="*/ 2250740 h 6559364"/>
              <a:gd name="connsiteX6" fmla="*/ 3969872 w 8845473"/>
              <a:gd name="connsiteY6" fmla="*/ 2663524 h 6559364"/>
              <a:gd name="connsiteX7" fmla="*/ 4164458 w 8845473"/>
              <a:gd name="connsiteY7" fmla="*/ 3584906 h 6559364"/>
              <a:gd name="connsiteX8" fmla="*/ 5360958 w 8845473"/>
              <a:gd name="connsiteY8" fmla="*/ 3824819 h 6559364"/>
              <a:gd name="connsiteX9" fmla="*/ 5967109 w 8845473"/>
              <a:gd name="connsiteY9" fmla="*/ 4715095 h 6559364"/>
              <a:gd name="connsiteX10" fmla="*/ 7886084 w 8845473"/>
              <a:gd name="connsiteY10" fmla="*/ 5194720 h 6559364"/>
              <a:gd name="connsiteX11" fmla="*/ 8845473 w 8845473"/>
              <a:gd name="connsiteY11" fmla="*/ 6559364 h 6559364"/>
              <a:gd name="connsiteX0" fmla="*/ 22587 w 8845473"/>
              <a:gd name="connsiteY0" fmla="*/ 0 h 6559364"/>
              <a:gd name="connsiteX1" fmla="*/ 1440340 w 8845473"/>
              <a:gd name="connsiteY1" fmla="*/ 310229 h 6559364"/>
              <a:gd name="connsiteX2" fmla="*/ 1834639 w 8845473"/>
              <a:gd name="connsiteY2" fmla="*/ 1306354 h 6559364"/>
              <a:gd name="connsiteX3" fmla="*/ 2681585 w 8845473"/>
              <a:gd name="connsiteY3" fmla="*/ 1296458 h 6559364"/>
              <a:gd name="connsiteX4" fmla="*/ 3020169 w 8845473"/>
              <a:gd name="connsiteY4" fmla="*/ 1515159 h 6559364"/>
              <a:gd name="connsiteX5" fmla="*/ 3276770 w 8845473"/>
              <a:gd name="connsiteY5" fmla="*/ 2250740 h 6559364"/>
              <a:gd name="connsiteX6" fmla="*/ 3843332 w 8845473"/>
              <a:gd name="connsiteY6" fmla="*/ 2678915 h 6559364"/>
              <a:gd name="connsiteX7" fmla="*/ 4164458 w 8845473"/>
              <a:gd name="connsiteY7" fmla="*/ 3584906 h 6559364"/>
              <a:gd name="connsiteX8" fmla="*/ 5360958 w 8845473"/>
              <a:gd name="connsiteY8" fmla="*/ 3824819 h 6559364"/>
              <a:gd name="connsiteX9" fmla="*/ 5967109 w 8845473"/>
              <a:gd name="connsiteY9" fmla="*/ 4715095 h 6559364"/>
              <a:gd name="connsiteX10" fmla="*/ 7886084 w 8845473"/>
              <a:gd name="connsiteY10" fmla="*/ 5194720 h 6559364"/>
              <a:gd name="connsiteX11" fmla="*/ 8845473 w 8845473"/>
              <a:gd name="connsiteY11" fmla="*/ 6559364 h 6559364"/>
              <a:gd name="connsiteX0" fmla="*/ 22587 w 8845473"/>
              <a:gd name="connsiteY0" fmla="*/ 0 h 6559364"/>
              <a:gd name="connsiteX1" fmla="*/ 1440340 w 8845473"/>
              <a:gd name="connsiteY1" fmla="*/ 310229 h 6559364"/>
              <a:gd name="connsiteX2" fmla="*/ 1834639 w 8845473"/>
              <a:gd name="connsiteY2" fmla="*/ 1306354 h 6559364"/>
              <a:gd name="connsiteX3" fmla="*/ 2681585 w 8845473"/>
              <a:gd name="connsiteY3" fmla="*/ 1296458 h 6559364"/>
              <a:gd name="connsiteX4" fmla="*/ 3020169 w 8845473"/>
              <a:gd name="connsiteY4" fmla="*/ 1515159 h 6559364"/>
              <a:gd name="connsiteX5" fmla="*/ 3843332 w 8845473"/>
              <a:gd name="connsiteY5" fmla="*/ 2678915 h 6559364"/>
              <a:gd name="connsiteX6" fmla="*/ 4164458 w 8845473"/>
              <a:gd name="connsiteY6" fmla="*/ 3584906 h 6559364"/>
              <a:gd name="connsiteX7" fmla="*/ 5360958 w 8845473"/>
              <a:gd name="connsiteY7" fmla="*/ 3824819 h 6559364"/>
              <a:gd name="connsiteX8" fmla="*/ 5967109 w 8845473"/>
              <a:gd name="connsiteY8" fmla="*/ 4715095 h 6559364"/>
              <a:gd name="connsiteX9" fmla="*/ 7886084 w 8845473"/>
              <a:gd name="connsiteY9" fmla="*/ 5194720 h 6559364"/>
              <a:gd name="connsiteX10" fmla="*/ 8845473 w 8845473"/>
              <a:gd name="connsiteY10" fmla="*/ 6559364 h 6559364"/>
              <a:gd name="connsiteX0" fmla="*/ 22587 w 8845473"/>
              <a:gd name="connsiteY0" fmla="*/ 0 h 6559364"/>
              <a:gd name="connsiteX1" fmla="*/ 1440340 w 8845473"/>
              <a:gd name="connsiteY1" fmla="*/ 310229 h 6559364"/>
              <a:gd name="connsiteX2" fmla="*/ 1834639 w 8845473"/>
              <a:gd name="connsiteY2" fmla="*/ 1306354 h 6559364"/>
              <a:gd name="connsiteX3" fmla="*/ 2681585 w 8845473"/>
              <a:gd name="connsiteY3" fmla="*/ 1296458 h 6559364"/>
              <a:gd name="connsiteX4" fmla="*/ 3452048 w 8845473"/>
              <a:gd name="connsiteY4" fmla="*/ 2052184 h 6559364"/>
              <a:gd name="connsiteX5" fmla="*/ 3843332 w 8845473"/>
              <a:gd name="connsiteY5" fmla="*/ 2678915 h 6559364"/>
              <a:gd name="connsiteX6" fmla="*/ 4164458 w 8845473"/>
              <a:gd name="connsiteY6" fmla="*/ 3584906 h 6559364"/>
              <a:gd name="connsiteX7" fmla="*/ 5360958 w 8845473"/>
              <a:gd name="connsiteY7" fmla="*/ 3824819 h 6559364"/>
              <a:gd name="connsiteX8" fmla="*/ 5967109 w 8845473"/>
              <a:gd name="connsiteY8" fmla="*/ 4715095 h 6559364"/>
              <a:gd name="connsiteX9" fmla="*/ 7886084 w 8845473"/>
              <a:gd name="connsiteY9" fmla="*/ 5194720 h 6559364"/>
              <a:gd name="connsiteX10" fmla="*/ 8845473 w 8845473"/>
              <a:gd name="connsiteY10" fmla="*/ 6559364 h 6559364"/>
              <a:gd name="connsiteX0" fmla="*/ 22587 w 8845473"/>
              <a:gd name="connsiteY0" fmla="*/ 0 h 6559364"/>
              <a:gd name="connsiteX1" fmla="*/ 1440340 w 8845473"/>
              <a:gd name="connsiteY1" fmla="*/ 310229 h 6559364"/>
              <a:gd name="connsiteX2" fmla="*/ 1834639 w 8845473"/>
              <a:gd name="connsiteY2" fmla="*/ 1306354 h 6559364"/>
              <a:gd name="connsiteX3" fmla="*/ 2681585 w 8845473"/>
              <a:gd name="connsiteY3" fmla="*/ 1296458 h 6559364"/>
              <a:gd name="connsiteX4" fmla="*/ 3843332 w 8845473"/>
              <a:gd name="connsiteY4" fmla="*/ 2678915 h 6559364"/>
              <a:gd name="connsiteX5" fmla="*/ 4164458 w 8845473"/>
              <a:gd name="connsiteY5" fmla="*/ 3584906 h 6559364"/>
              <a:gd name="connsiteX6" fmla="*/ 5360958 w 8845473"/>
              <a:gd name="connsiteY6" fmla="*/ 3824819 h 6559364"/>
              <a:gd name="connsiteX7" fmla="*/ 5967109 w 8845473"/>
              <a:gd name="connsiteY7" fmla="*/ 4715095 h 6559364"/>
              <a:gd name="connsiteX8" fmla="*/ 7886084 w 8845473"/>
              <a:gd name="connsiteY8" fmla="*/ 5194720 h 6559364"/>
              <a:gd name="connsiteX9" fmla="*/ 8845473 w 8845473"/>
              <a:gd name="connsiteY9" fmla="*/ 6559364 h 6559364"/>
              <a:gd name="connsiteX0" fmla="*/ 22587 w 8845473"/>
              <a:gd name="connsiteY0" fmla="*/ 0 h 6559364"/>
              <a:gd name="connsiteX1" fmla="*/ 1440340 w 8845473"/>
              <a:gd name="connsiteY1" fmla="*/ 310229 h 6559364"/>
              <a:gd name="connsiteX2" fmla="*/ 1834639 w 8845473"/>
              <a:gd name="connsiteY2" fmla="*/ 1306354 h 6559364"/>
              <a:gd name="connsiteX3" fmla="*/ 3277178 w 8845473"/>
              <a:gd name="connsiteY3" fmla="*/ 2020711 h 6559364"/>
              <a:gd name="connsiteX4" fmla="*/ 3843332 w 8845473"/>
              <a:gd name="connsiteY4" fmla="*/ 2678915 h 6559364"/>
              <a:gd name="connsiteX5" fmla="*/ 4164458 w 8845473"/>
              <a:gd name="connsiteY5" fmla="*/ 3584906 h 6559364"/>
              <a:gd name="connsiteX6" fmla="*/ 5360958 w 8845473"/>
              <a:gd name="connsiteY6" fmla="*/ 3824819 h 6559364"/>
              <a:gd name="connsiteX7" fmla="*/ 5967109 w 8845473"/>
              <a:gd name="connsiteY7" fmla="*/ 4715095 h 6559364"/>
              <a:gd name="connsiteX8" fmla="*/ 7886084 w 8845473"/>
              <a:gd name="connsiteY8" fmla="*/ 5194720 h 6559364"/>
              <a:gd name="connsiteX9" fmla="*/ 8845473 w 8845473"/>
              <a:gd name="connsiteY9" fmla="*/ 6559364 h 6559364"/>
              <a:gd name="connsiteX0" fmla="*/ 23760 w 8846646"/>
              <a:gd name="connsiteY0" fmla="*/ 0 h 6559364"/>
              <a:gd name="connsiteX1" fmla="*/ 1441513 w 8846646"/>
              <a:gd name="connsiteY1" fmla="*/ 310229 h 6559364"/>
              <a:gd name="connsiteX2" fmla="*/ 2287768 w 8846646"/>
              <a:gd name="connsiteY2" fmla="*/ 1681596 h 6559364"/>
              <a:gd name="connsiteX3" fmla="*/ 3278351 w 8846646"/>
              <a:gd name="connsiteY3" fmla="*/ 2020711 h 6559364"/>
              <a:gd name="connsiteX4" fmla="*/ 3844505 w 8846646"/>
              <a:gd name="connsiteY4" fmla="*/ 2678915 h 6559364"/>
              <a:gd name="connsiteX5" fmla="*/ 4165631 w 8846646"/>
              <a:gd name="connsiteY5" fmla="*/ 3584906 h 6559364"/>
              <a:gd name="connsiteX6" fmla="*/ 5362131 w 8846646"/>
              <a:gd name="connsiteY6" fmla="*/ 3824819 h 6559364"/>
              <a:gd name="connsiteX7" fmla="*/ 5968282 w 8846646"/>
              <a:gd name="connsiteY7" fmla="*/ 4715095 h 6559364"/>
              <a:gd name="connsiteX8" fmla="*/ 7887257 w 8846646"/>
              <a:gd name="connsiteY8" fmla="*/ 5194720 h 6559364"/>
              <a:gd name="connsiteX9" fmla="*/ 8846646 w 8846646"/>
              <a:gd name="connsiteY9"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3844052 w 8846193"/>
              <a:gd name="connsiteY4" fmla="*/ 2678915 h 6559364"/>
              <a:gd name="connsiteX5" fmla="*/ 4165178 w 8846193"/>
              <a:gd name="connsiteY5" fmla="*/ 3584906 h 6559364"/>
              <a:gd name="connsiteX6" fmla="*/ 5361678 w 8846193"/>
              <a:gd name="connsiteY6" fmla="*/ 3824819 h 6559364"/>
              <a:gd name="connsiteX7" fmla="*/ 5967829 w 8846193"/>
              <a:gd name="connsiteY7" fmla="*/ 4715095 h 6559364"/>
              <a:gd name="connsiteX8" fmla="*/ 7886804 w 8846193"/>
              <a:gd name="connsiteY8" fmla="*/ 5194720 h 6559364"/>
              <a:gd name="connsiteX9" fmla="*/ 8846193 w 8846193"/>
              <a:gd name="connsiteY9"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3844052 w 8846193"/>
              <a:gd name="connsiteY4" fmla="*/ 2678915 h 6559364"/>
              <a:gd name="connsiteX5" fmla="*/ 4042135 w 8846193"/>
              <a:gd name="connsiteY5" fmla="*/ 3321029 h 6559364"/>
              <a:gd name="connsiteX6" fmla="*/ 5361678 w 8846193"/>
              <a:gd name="connsiteY6" fmla="*/ 3824819 h 6559364"/>
              <a:gd name="connsiteX7" fmla="*/ 5967829 w 8846193"/>
              <a:gd name="connsiteY7" fmla="*/ 4715095 h 6559364"/>
              <a:gd name="connsiteX8" fmla="*/ 7886804 w 8846193"/>
              <a:gd name="connsiteY8" fmla="*/ 5194720 h 6559364"/>
              <a:gd name="connsiteX9" fmla="*/ 8846193 w 8846193"/>
              <a:gd name="connsiteY9"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3844052 w 8846193"/>
              <a:gd name="connsiteY4" fmla="*/ 2678915 h 6559364"/>
              <a:gd name="connsiteX5" fmla="*/ 4042135 w 8846193"/>
              <a:gd name="connsiteY5" fmla="*/ 3321029 h 6559364"/>
              <a:gd name="connsiteX6" fmla="*/ 5249934 w 8846193"/>
              <a:gd name="connsiteY6" fmla="*/ 3595419 h 6559364"/>
              <a:gd name="connsiteX7" fmla="*/ 5967829 w 8846193"/>
              <a:gd name="connsiteY7" fmla="*/ 4715095 h 6559364"/>
              <a:gd name="connsiteX8" fmla="*/ 7886804 w 8846193"/>
              <a:gd name="connsiteY8" fmla="*/ 5194720 h 6559364"/>
              <a:gd name="connsiteX9" fmla="*/ 8846193 w 8846193"/>
              <a:gd name="connsiteY9"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3844052 w 8846193"/>
              <a:gd name="connsiteY4" fmla="*/ 2678915 h 6559364"/>
              <a:gd name="connsiteX5" fmla="*/ 4042135 w 8846193"/>
              <a:gd name="connsiteY5" fmla="*/ 3321029 h 6559364"/>
              <a:gd name="connsiteX6" fmla="*/ 5249934 w 8846193"/>
              <a:gd name="connsiteY6" fmla="*/ 3595419 h 6559364"/>
              <a:gd name="connsiteX7" fmla="*/ 6097120 w 8846193"/>
              <a:gd name="connsiteY7" fmla="*/ 4551980 h 6559364"/>
              <a:gd name="connsiteX8" fmla="*/ 7886804 w 8846193"/>
              <a:gd name="connsiteY8" fmla="*/ 5194720 h 6559364"/>
              <a:gd name="connsiteX9" fmla="*/ 8846193 w 8846193"/>
              <a:gd name="connsiteY9"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3844052 w 8846193"/>
              <a:gd name="connsiteY4" fmla="*/ 2678915 h 6559364"/>
              <a:gd name="connsiteX5" fmla="*/ 4042135 w 8846193"/>
              <a:gd name="connsiteY5" fmla="*/ 3321029 h 6559364"/>
              <a:gd name="connsiteX6" fmla="*/ 5249934 w 8846193"/>
              <a:gd name="connsiteY6" fmla="*/ 3595419 h 6559364"/>
              <a:gd name="connsiteX7" fmla="*/ 6097120 w 8846193"/>
              <a:gd name="connsiteY7" fmla="*/ 4551980 h 6559364"/>
              <a:gd name="connsiteX8" fmla="*/ 7964127 w 8846193"/>
              <a:gd name="connsiteY8" fmla="*/ 5073778 h 6559364"/>
              <a:gd name="connsiteX9" fmla="*/ 8846193 w 8846193"/>
              <a:gd name="connsiteY9"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3844052 w 8846193"/>
              <a:gd name="connsiteY4" fmla="*/ 2678915 h 6559364"/>
              <a:gd name="connsiteX5" fmla="*/ 4042135 w 8846193"/>
              <a:gd name="connsiteY5" fmla="*/ 3321029 h 6559364"/>
              <a:gd name="connsiteX6" fmla="*/ 5249934 w 8846193"/>
              <a:gd name="connsiteY6" fmla="*/ 3595419 h 6559364"/>
              <a:gd name="connsiteX7" fmla="*/ 5997198 w 8846193"/>
              <a:gd name="connsiteY7" fmla="*/ 4603970 h 6559364"/>
              <a:gd name="connsiteX8" fmla="*/ 7964127 w 8846193"/>
              <a:gd name="connsiteY8" fmla="*/ 5073778 h 6559364"/>
              <a:gd name="connsiteX9" fmla="*/ 8846193 w 8846193"/>
              <a:gd name="connsiteY9"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4042135 w 8846193"/>
              <a:gd name="connsiteY4" fmla="*/ 3321029 h 6559364"/>
              <a:gd name="connsiteX5" fmla="*/ 5249934 w 8846193"/>
              <a:gd name="connsiteY5" fmla="*/ 3595419 h 6559364"/>
              <a:gd name="connsiteX6" fmla="*/ 5997198 w 8846193"/>
              <a:gd name="connsiteY6" fmla="*/ 4603970 h 6559364"/>
              <a:gd name="connsiteX7" fmla="*/ 7964127 w 8846193"/>
              <a:gd name="connsiteY7" fmla="*/ 5073778 h 6559364"/>
              <a:gd name="connsiteX8" fmla="*/ 8846193 w 8846193"/>
              <a:gd name="connsiteY8"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4042135 w 8846193"/>
              <a:gd name="connsiteY4" fmla="*/ 3321029 h 6559364"/>
              <a:gd name="connsiteX5" fmla="*/ 5249934 w 8846193"/>
              <a:gd name="connsiteY5" fmla="*/ 3595419 h 6559364"/>
              <a:gd name="connsiteX6" fmla="*/ 5997198 w 8846193"/>
              <a:gd name="connsiteY6" fmla="*/ 4603970 h 6559364"/>
              <a:gd name="connsiteX7" fmla="*/ 7964127 w 8846193"/>
              <a:gd name="connsiteY7" fmla="*/ 5073778 h 6559364"/>
              <a:gd name="connsiteX8" fmla="*/ 8846193 w 8846193"/>
              <a:gd name="connsiteY8"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4042135 w 8846193"/>
              <a:gd name="connsiteY4" fmla="*/ 3321029 h 6559364"/>
              <a:gd name="connsiteX5" fmla="*/ 5249934 w 8846193"/>
              <a:gd name="connsiteY5" fmla="*/ 3595419 h 6559364"/>
              <a:gd name="connsiteX6" fmla="*/ 5997198 w 8846193"/>
              <a:gd name="connsiteY6" fmla="*/ 4603970 h 6559364"/>
              <a:gd name="connsiteX7" fmla="*/ 7964127 w 8846193"/>
              <a:gd name="connsiteY7" fmla="*/ 5073778 h 6559364"/>
              <a:gd name="connsiteX8" fmla="*/ 8846193 w 8846193"/>
              <a:gd name="connsiteY8"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4019532 w 8846193"/>
              <a:gd name="connsiteY4" fmla="*/ 3252075 h 6559364"/>
              <a:gd name="connsiteX5" fmla="*/ 5249934 w 8846193"/>
              <a:gd name="connsiteY5" fmla="*/ 3595419 h 6559364"/>
              <a:gd name="connsiteX6" fmla="*/ 5997198 w 8846193"/>
              <a:gd name="connsiteY6" fmla="*/ 4603970 h 6559364"/>
              <a:gd name="connsiteX7" fmla="*/ 7964127 w 8846193"/>
              <a:gd name="connsiteY7" fmla="*/ 5073778 h 6559364"/>
              <a:gd name="connsiteX8" fmla="*/ 8846193 w 8846193"/>
              <a:gd name="connsiteY8"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4019532 w 8846193"/>
              <a:gd name="connsiteY4" fmla="*/ 3252075 h 6559364"/>
              <a:gd name="connsiteX5" fmla="*/ 5353130 w 8846193"/>
              <a:gd name="connsiteY5" fmla="*/ 3642618 h 6559364"/>
              <a:gd name="connsiteX6" fmla="*/ 5997198 w 8846193"/>
              <a:gd name="connsiteY6" fmla="*/ 4603970 h 6559364"/>
              <a:gd name="connsiteX7" fmla="*/ 7964127 w 8846193"/>
              <a:gd name="connsiteY7" fmla="*/ 5073778 h 6559364"/>
              <a:gd name="connsiteX8" fmla="*/ 8846193 w 8846193"/>
              <a:gd name="connsiteY8"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4019532 w 8846193"/>
              <a:gd name="connsiteY4" fmla="*/ 3252075 h 6559364"/>
              <a:gd name="connsiteX5" fmla="*/ 5353130 w 8846193"/>
              <a:gd name="connsiteY5" fmla="*/ 3642618 h 6559364"/>
              <a:gd name="connsiteX6" fmla="*/ 6196301 w 8846193"/>
              <a:gd name="connsiteY6" fmla="*/ 4631541 h 6559364"/>
              <a:gd name="connsiteX7" fmla="*/ 7964127 w 8846193"/>
              <a:gd name="connsiteY7" fmla="*/ 5073778 h 6559364"/>
              <a:gd name="connsiteX8" fmla="*/ 8846193 w 8846193"/>
              <a:gd name="connsiteY8" fmla="*/ 6559364 h 6559364"/>
              <a:gd name="connsiteX0" fmla="*/ 23307 w 8909303"/>
              <a:gd name="connsiteY0" fmla="*/ 0 h 6678308"/>
              <a:gd name="connsiteX1" fmla="*/ 1441060 w 8909303"/>
              <a:gd name="connsiteY1" fmla="*/ 310229 h 6678308"/>
              <a:gd name="connsiteX2" fmla="*/ 2117582 w 8909303"/>
              <a:gd name="connsiteY2" fmla="*/ 1542903 h 6678308"/>
              <a:gd name="connsiteX3" fmla="*/ 3277898 w 8909303"/>
              <a:gd name="connsiteY3" fmla="*/ 2020711 h 6678308"/>
              <a:gd name="connsiteX4" fmla="*/ 4019532 w 8909303"/>
              <a:gd name="connsiteY4" fmla="*/ 3252075 h 6678308"/>
              <a:gd name="connsiteX5" fmla="*/ 5353130 w 8909303"/>
              <a:gd name="connsiteY5" fmla="*/ 3642618 h 6678308"/>
              <a:gd name="connsiteX6" fmla="*/ 6196301 w 8909303"/>
              <a:gd name="connsiteY6" fmla="*/ 4631541 h 6678308"/>
              <a:gd name="connsiteX7" fmla="*/ 7964127 w 8909303"/>
              <a:gd name="connsiteY7" fmla="*/ 5073778 h 6678308"/>
              <a:gd name="connsiteX8" fmla="*/ 8846193 w 8909303"/>
              <a:gd name="connsiteY8" fmla="*/ 6559364 h 6678308"/>
              <a:gd name="connsiteX9" fmla="*/ 8838276 w 8909303"/>
              <a:gd name="connsiteY9" fmla="*/ 6589012 h 6678308"/>
              <a:gd name="connsiteX0" fmla="*/ 23307 w 9248870"/>
              <a:gd name="connsiteY0" fmla="*/ 0 h 7857603"/>
              <a:gd name="connsiteX1" fmla="*/ 1441060 w 9248870"/>
              <a:gd name="connsiteY1" fmla="*/ 310229 h 7857603"/>
              <a:gd name="connsiteX2" fmla="*/ 2117582 w 9248870"/>
              <a:gd name="connsiteY2" fmla="*/ 1542903 h 7857603"/>
              <a:gd name="connsiteX3" fmla="*/ 3277898 w 9248870"/>
              <a:gd name="connsiteY3" fmla="*/ 2020711 h 7857603"/>
              <a:gd name="connsiteX4" fmla="*/ 4019532 w 9248870"/>
              <a:gd name="connsiteY4" fmla="*/ 3252075 h 7857603"/>
              <a:gd name="connsiteX5" fmla="*/ 5353130 w 9248870"/>
              <a:gd name="connsiteY5" fmla="*/ 3642618 h 7857603"/>
              <a:gd name="connsiteX6" fmla="*/ 6196301 w 9248870"/>
              <a:gd name="connsiteY6" fmla="*/ 4631541 h 7857603"/>
              <a:gd name="connsiteX7" fmla="*/ 7964127 w 9248870"/>
              <a:gd name="connsiteY7" fmla="*/ 5073778 h 7857603"/>
              <a:gd name="connsiteX8" fmla="*/ 8846193 w 9248870"/>
              <a:gd name="connsiteY8" fmla="*/ 6559364 h 7857603"/>
              <a:gd name="connsiteX9" fmla="*/ 9248863 w 9248870"/>
              <a:gd name="connsiteY9" fmla="*/ 7857603 h 7857603"/>
              <a:gd name="connsiteX0" fmla="*/ 23307 w 9426348"/>
              <a:gd name="connsiteY0" fmla="*/ 0 h 8788390"/>
              <a:gd name="connsiteX1" fmla="*/ 1441060 w 9426348"/>
              <a:gd name="connsiteY1" fmla="*/ 310229 h 8788390"/>
              <a:gd name="connsiteX2" fmla="*/ 2117582 w 9426348"/>
              <a:gd name="connsiteY2" fmla="*/ 1542903 h 8788390"/>
              <a:gd name="connsiteX3" fmla="*/ 3277898 w 9426348"/>
              <a:gd name="connsiteY3" fmla="*/ 2020711 h 8788390"/>
              <a:gd name="connsiteX4" fmla="*/ 4019532 w 9426348"/>
              <a:gd name="connsiteY4" fmla="*/ 3252075 h 8788390"/>
              <a:gd name="connsiteX5" fmla="*/ 5353130 w 9426348"/>
              <a:gd name="connsiteY5" fmla="*/ 3642618 h 8788390"/>
              <a:gd name="connsiteX6" fmla="*/ 6196301 w 9426348"/>
              <a:gd name="connsiteY6" fmla="*/ 4631541 h 8788390"/>
              <a:gd name="connsiteX7" fmla="*/ 7964127 w 9426348"/>
              <a:gd name="connsiteY7" fmla="*/ 5073778 h 8788390"/>
              <a:gd name="connsiteX8" fmla="*/ 8846193 w 9426348"/>
              <a:gd name="connsiteY8" fmla="*/ 6559364 h 8788390"/>
              <a:gd name="connsiteX9" fmla="*/ 9426345 w 9426348"/>
              <a:gd name="connsiteY9" fmla="*/ 8788390 h 8788390"/>
              <a:gd name="connsiteX0" fmla="*/ 23307 w 9426350"/>
              <a:gd name="connsiteY0" fmla="*/ 0 h 8788390"/>
              <a:gd name="connsiteX1" fmla="*/ 1441060 w 9426350"/>
              <a:gd name="connsiteY1" fmla="*/ 310229 h 8788390"/>
              <a:gd name="connsiteX2" fmla="*/ 2117582 w 9426350"/>
              <a:gd name="connsiteY2" fmla="*/ 1542903 h 8788390"/>
              <a:gd name="connsiteX3" fmla="*/ 3277898 w 9426350"/>
              <a:gd name="connsiteY3" fmla="*/ 2020711 h 8788390"/>
              <a:gd name="connsiteX4" fmla="*/ 4019532 w 9426350"/>
              <a:gd name="connsiteY4" fmla="*/ 3252075 h 8788390"/>
              <a:gd name="connsiteX5" fmla="*/ 5353130 w 9426350"/>
              <a:gd name="connsiteY5" fmla="*/ 3642618 h 8788390"/>
              <a:gd name="connsiteX6" fmla="*/ 6196301 w 9426350"/>
              <a:gd name="connsiteY6" fmla="*/ 4631541 h 8788390"/>
              <a:gd name="connsiteX7" fmla="*/ 7964127 w 9426350"/>
              <a:gd name="connsiteY7" fmla="*/ 5073778 h 8788390"/>
              <a:gd name="connsiteX8" fmla="*/ 8846193 w 9426350"/>
              <a:gd name="connsiteY8" fmla="*/ 6559364 h 8788390"/>
              <a:gd name="connsiteX9" fmla="*/ 9426345 w 9426350"/>
              <a:gd name="connsiteY9" fmla="*/ 8788390 h 8788390"/>
              <a:gd name="connsiteX0" fmla="*/ 23307 w 9426348"/>
              <a:gd name="connsiteY0" fmla="*/ 0 h 8788390"/>
              <a:gd name="connsiteX1" fmla="*/ 1441060 w 9426348"/>
              <a:gd name="connsiteY1" fmla="*/ 310229 h 8788390"/>
              <a:gd name="connsiteX2" fmla="*/ 2117582 w 9426348"/>
              <a:gd name="connsiteY2" fmla="*/ 1542903 h 8788390"/>
              <a:gd name="connsiteX3" fmla="*/ 3277898 w 9426348"/>
              <a:gd name="connsiteY3" fmla="*/ 2020711 h 8788390"/>
              <a:gd name="connsiteX4" fmla="*/ 4019532 w 9426348"/>
              <a:gd name="connsiteY4" fmla="*/ 3252075 h 8788390"/>
              <a:gd name="connsiteX5" fmla="*/ 5353130 w 9426348"/>
              <a:gd name="connsiteY5" fmla="*/ 3642618 h 8788390"/>
              <a:gd name="connsiteX6" fmla="*/ 6196301 w 9426348"/>
              <a:gd name="connsiteY6" fmla="*/ 4631541 h 8788390"/>
              <a:gd name="connsiteX7" fmla="*/ 7964127 w 9426348"/>
              <a:gd name="connsiteY7" fmla="*/ 5073778 h 8788390"/>
              <a:gd name="connsiteX8" fmla="*/ 8846193 w 9426348"/>
              <a:gd name="connsiteY8" fmla="*/ 6559364 h 8788390"/>
              <a:gd name="connsiteX9" fmla="*/ 9426345 w 9426348"/>
              <a:gd name="connsiteY9" fmla="*/ 8788390 h 8788390"/>
              <a:gd name="connsiteX0" fmla="*/ 23307 w 9426350"/>
              <a:gd name="connsiteY0" fmla="*/ 0 h 8788390"/>
              <a:gd name="connsiteX1" fmla="*/ 1441060 w 9426350"/>
              <a:gd name="connsiteY1" fmla="*/ 310229 h 8788390"/>
              <a:gd name="connsiteX2" fmla="*/ 2117582 w 9426350"/>
              <a:gd name="connsiteY2" fmla="*/ 1542903 h 8788390"/>
              <a:gd name="connsiteX3" fmla="*/ 3277898 w 9426350"/>
              <a:gd name="connsiteY3" fmla="*/ 2020711 h 8788390"/>
              <a:gd name="connsiteX4" fmla="*/ 4019532 w 9426350"/>
              <a:gd name="connsiteY4" fmla="*/ 3252075 h 8788390"/>
              <a:gd name="connsiteX5" fmla="*/ 5353130 w 9426350"/>
              <a:gd name="connsiteY5" fmla="*/ 3642618 h 8788390"/>
              <a:gd name="connsiteX6" fmla="*/ 6196301 w 9426350"/>
              <a:gd name="connsiteY6" fmla="*/ 4631541 h 8788390"/>
              <a:gd name="connsiteX7" fmla="*/ 7964127 w 9426350"/>
              <a:gd name="connsiteY7" fmla="*/ 5073778 h 8788390"/>
              <a:gd name="connsiteX8" fmla="*/ 8846193 w 9426350"/>
              <a:gd name="connsiteY8" fmla="*/ 6559364 h 8788390"/>
              <a:gd name="connsiteX9" fmla="*/ 9426345 w 9426350"/>
              <a:gd name="connsiteY9" fmla="*/ 8788390 h 8788390"/>
              <a:gd name="connsiteX0" fmla="*/ 23307 w 9426348"/>
              <a:gd name="connsiteY0" fmla="*/ 0 h 8788390"/>
              <a:gd name="connsiteX1" fmla="*/ 1441060 w 9426348"/>
              <a:gd name="connsiteY1" fmla="*/ 310229 h 8788390"/>
              <a:gd name="connsiteX2" fmla="*/ 2117582 w 9426348"/>
              <a:gd name="connsiteY2" fmla="*/ 1542903 h 8788390"/>
              <a:gd name="connsiteX3" fmla="*/ 3277898 w 9426348"/>
              <a:gd name="connsiteY3" fmla="*/ 2020711 h 8788390"/>
              <a:gd name="connsiteX4" fmla="*/ 4019532 w 9426348"/>
              <a:gd name="connsiteY4" fmla="*/ 3252075 h 8788390"/>
              <a:gd name="connsiteX5" fmla="*/ 5353130 w 9426348"/>
              <a:gd name="connsiteY5" fmla="*/ 3642618 h 8788390"/>
              <a:gd name="connsiteX6" fmla="*/ 6196301 w 9426348"/>
              <a:gd name="connsiteY6" fmla="*/ 4631541 h 8788390"/>
              <a:gd name="connsiteX7" fmla="*/ 7964127 w 9426348"/>
              <a:gd name="connsiteY7" fmla="*/ 5073778 h 8788390"/>
              <a:gd name="connsiteX8" fmla="*/ 8846193 w 9426348"/>
              <a:gd name="connsiteY8" fmla="*/ 6559364 h 8788390"/>
              <a:gd name="connsiteX9" fmla="*/ 9426345 w 9426348"/>
              <a:gd name="connsiteY9" fmla="*/ 8788390 h 8788390"/>
              <a:gd name="connsiteX0" fmla="*/ 12239 w 10969028"/>
              <a:gd name="connsiteY0" fmla="*/ -1 h 8972498"/>
              <a:gd name="connsiteX1" fmla="*/ 2983739 w 10969028"/>
              <a:gd name="connsiteY1" fmla="*/ 494337 h 8972498"/>
              <a:gd name="connsiteX2" fmla="*/ 3660261 w 10969028"/>
              <a:gd name="connsiteY2" fmla="*/ 1727011 h 8972498"/>
              <a:gd name="connsiteX3" fmla="*/ 4820577 w 10969028"/>
              <a:gd name="connsiteY3" fmla="*/ 2204819 h 8972498"/>
              <a:gd name="connsiteX4" fmla="*/ 5562211 w 10969028"/>
              <a:gd name="connsiteY4" fmla="*/ 3436183 h 8972498"/>
              <a:gd name="connsiteX5" fmla="*/ 6895809 w 10969028"/>
              <a:gd name="connsiteY5" fmla="*/ 3826726 h 8972498"/>
              <a:gd name="connsiteX6" fmla="*/ 7738980 w 10969028"/>
              <a:gd name="connsiteY6" fmla="*/ 4815649 h 8972498"/>
              <a:gd name="connsiteX7" fmla="*/ 9506806 w 10969028"/>
              <a:gd name="connsiteY7" fmla="*/ 5257886 h 8972498"/>
              <a:gd name="connsiteX8" fmla="*/ 10388872 w 10969028"/>
              <a:gd name="connsiteY8" fmla="*/ 6743472 h 8972498"/>
              <a:gd name="connsiteX9" fmla="*/ 10969024 w 10969028"/>
              <a:gd name="connsiteY9" fmla="*/ 8972498 h 8972498"/>
              <a:gd name="connsiteX0" fmla="*/ 13210 w 10729748"/>
              <a:gd name="connsiteY0" fmla="*/ 0 h 8953244"/>
              <a:gd name="connsiteX1" fmla="*/ 2744459 w 10729748"/>
              <a:gd name="connsiteY1" fmla="*/ 475083 h 8953244"/>
              <a:gd name="connsiteX2" fmla="*/ 3420981 w 10729748"/>
              <a:gd name="connsiteY2" fmla="*/ 1707757 h 8953244"/>
              <a:gd name="connsiteX3" fmla="*/ 4581297 w 10729748"/>
              <a:gd name="connsiteY3" fmla="*/ 2185565 h 8953244"/>
              <a:gd name="connsiteX4" fmla="*/ 5322931 w 10729748"/>
              <a:gd name="connsiteY4" fmla="*/ 3416929 h 8953244"/>
              <a:gd name="connsiteX5" fmla="*/ 6656529 w 10729748"/>
              <a:gd name="connsiteY5" fmla="*/ 3807472 h 8953244"/>
              <a:gd name="connsiteX6" fmla="*/ 7499700 w 10729748"/>
              <a:gd name="connsiteY6" fmla="*/ 4796395 h 8953244"/>
              <a:gd name="connsiteX7" fmla="*/ 9267526 w 10729748"/>
              <a:gd name="connsiteY7" fmla="*/ 5238632 h 8953244"/>
              <a:gd name="connsiteX8" fmla="*/ 10149592 w 10729748"/>
              <a:gd name="connsiteY8" fmla="*/ 6724218 h 8953244"/>
              <a:gd name="connsiteX9" fmla="*/ 10729744 w 10729748"/>
              <a:gd name="connsiteY9" fmla="*/ 8953244 h 8953244"/>
              <a:gd name="connsiteX0" fmla="*/ 13210 w 10149592"/>
              <a:gd name="connsiteY0" fmla="*/ 0 h 6724217"/>
              <a:gd name="connsiteX1" fmla="*/ 2744459 w 10149592"/>
              <a:gd name="connsiteY1" fmla="*/ 475083 h 6724217"/>
              <a:gd name="connsiteX2" fmla="*/ 3420981 w 10149592"/>
              <a:gd name="connsiteY2" fmla="*/ 1707757 h 6724217"/>
              <a:gd name="connsiteX3" fmla="*/ 4581297 w 10149592"/>
              <a:gd name="connsiteY3" fmla="*/ 2185565 h 6724217"/>
              <a:gd name="connsiteX4" fmla="*/ 5322931 w 10149592"/>
              <a:gd name="connsiteY4" fmla="*/ 3416929 h 6724217"/>
              <a:gd name="connsiteX5" fmla="*/ 6656529 w 10149592"/>
              <a:gd name="connsiteY5" fmla="*/ 3807472 h 6724217"/>
              <a:gd name="connsiteX6" fmla="*/ 7499700 w 10149592"/>
              <a:gd name="connsiteY6" fmla="*/ 4796395 h 6724217"/>
              <a:gd name="connsiteX7" fmla="*/ 9267526 w 10149592"/>
              <a:gd name="connsiteY7" fmla="*/ 5238632 h 6724217"/>
              <a:gd name="connsiteX8" fmla="*/ 10149592 w 10149592"/>
              <a:gd name="connsiteY8" fmla="*/ 6724218 h 6724217"/>
              <a:gd name="connsiteX0" fmla="*/ 13210 w 10104356"/>
              <a:gd name="connsiteY0" fmla="*/ 0 h 6696580"/>
              <a:gd name="connsiteX1" fmla="*/ 2744459 w 10104356"/>
              <a:gd name="connsiteY1" fmla="*/ 475083 h 6696580"/>
              <a:gd name="connsiteX2" fmla="*/ 3420981 w 10104356"/>
              <a:gd name="connsiteY2" fmla="*/ 1707757 h 6696580"/>
              <a:gd name="connsiteX3" fmla="*/ 4581297 w 10104356"/>
              <a:gd name="connsiteY3" fmla="*/ 2185565 h 6696580"/>
              <a:gd name="connsiteX4" fmla="*/ 5322931 w 10104356"/>
              <a:gd name="connsiteY4" fmla="*/ 3416929 h 6696580"/>
              <a:gd name="connsiteX5" fmla="*/ 6656529 w 10104356"/>
              <a:gd name="connsiteY5" fmla="*/ 3807472 h 6696580"/>
              <a:gd name="connsiteX6" fmla="*/ 7499700 w 10104356"/>
              <a:gd name="connsiteY6" fmla="*/ 4796395 h 6696580"/>
              <a:gd name="connsiteX7" fmla="*/ 9267526 w 10104356"/>
              <a:gd name="connsiteY7" fmla="*/ 5238632 h 6696580"/>
              <a:gd name="connsiteX8" fmla="*/ 10104356 w 10104356"/>
              <a:gd name="connsiteY8" fmla="*/ 6696580 h 6696580"/>
              <a:gd name="connsiteX0" fmla="*/ 13210 w 9267526"/>
              <a:gd name="connsiteY0" fmla="*/ 0 h 5238633"/>
              <a:gd name="connsiteX1" fmla="*/ 2744459 w 9267526"/>
              <a:gd name="connsiteY1" fmla="*/ 475083 h 5238633"/>
              <a:gd name="connsiteX2" fmla="*/ 3420981 w 9267526"/>
              <a:gd name="connsiteY2" fmla="*/ 1707757 h 5238633"/>
              <a:gd name="connsiteX3" fmla="*/ 4581297 w 9267526"/>
              <a:gd name="connsiteY3" fmla="*/ 2185565 h 5238633"/>
              <a:gd name="connsiteX4" fmla="*/ 5322931 w 9267526"/>
              <a:gd name="connsiteY4" fmla="*/ 3416929 h 5238633"/>
              <a:gd name="connsiteX5" fmla="*/ 6656529 w 9267526"/>
              <a:gd name="connsiteY5" fmla="*/ 3807472 h 5238633"/>
              <a:gd name="connsiteX6" fmla="*/ 7499700 w 9267526"/>
              <a:gd name="connsiteY6" fmla="*/ 4796395 h 5238633"/>
              <a:gd name="connsiteX7" fmla="*/ 9267526 w 9267526"/>
              <a:gd name="connsiteY7" fmla="*/ 5238632 h 5238633"/>
              <a:gd name="connsiteX0" fmla="*/ 13210 w 9398387"/>
              <a:gd name="connsiteY0" fmla="*/ 0 h 5282061"/>
              <a:gd name="connsiteX1" fmla="*/ 2744459 w 9398387"/>
              <a:gd name="connsiteY1" fmla="*/ 475083 h 5282061"/>
              <a:gd name="connsiteX2" fmla="*/ 3420981 w 9398387"/>
              <a:gd name="connsiteY2" fmla="*/ 1707757 h 5282061"/>
              <a:gd name="connsiteX3" fmla="*/ 4581297 w 9398387"/>
              <a:gd name="connsiteY3" fmla="*/ 2185565 h 5282061"/>
              <a:gd name="connsiteX4" fmla="*/ 5322931 w 9398387"/>
              <a:gd name="connsiteY4" fmla="*/ 3416929 h 5282061"/>
              <a:gd name="connsiteX5" fmla="*/ 6656529 w 9398387"/>
              <a:gd name="connsiteY5" fmla="*/ 3807472 h 5282061"/>
              <a:gd name="connsiteX6" fmla="*/ 7499700 w 9398387"/>
              <a:gd name="connsiteY6" fmla="*/ 4796395 h 5282061"/>
              <a:gd name="connsiteX7" fmla="*/ 9267526 w 9398387"/>
              <a:gd name="connsiteY7" fmla="*/ 5238632 h 5282061"/>
              <a:gd name="connsiteX8" fmla="*/ 9267217 w 9398387"/>
              <a:gd name="connsiteY8" fmla="*/ 5269995 h 5282061"/>
              <a:gd name="connsiteX0" fmla="*/ 13210 w 9402009"/>
              <a:gd name="connsiteY0" fmla="*/ 0 h 6492683"/>
              <a:gd name="connsiteX1" fmla="*/ 2744459 w 9402009"/>
              <a:gd name="connsiteY1" fmla="*/ 475083 h 6492683"/>
              <a:gd name="connsiteX2" fmla="*/ 3420981 w 9402009"/>
              <a:gd name="connsiteY2" fmla="*/ 1707757 h 6492683"/>
              <a:gd name="connsiteX3" fmla="*/ 4581297 w 9402009"/>
              <a:gd name="connsiteY3" fmla="*/ 2185565 h 6492683"/>
              <a:gd name="connsiteX4" fmla="*/ 5322931 w 9402009"/>
              <a:gd name="connsiteY4" fmla="*/ 3416929 h 6492683"/>
              <a:gd name="connsiteX5" fmla="*/ 6656529 w 9402009"/>
              <a:gd name="connsiteY5" fmla="*/ 3807472 h 6492683"/>
              <a:gd name="connsiteX6" fmla="*/ 7499700 w 9402009"/>
              <a:gd name="connsiteY6" fmla="*/ 4796395 h 6492683"/>
              <a:gd name="connsiteX7" fmla="*/ 9267526 w 9402009"/>
              <a:gd name="connsiteY7" fmla="*/ 5238632 h 6492683"/>
              <a:gd name="connsiteX8" fmla="*/ 9280832 w 9402009"/>
              <a:gd name="connsiteY8" fmla="*/ 6492683 h 6492683"/>
              <a:gd name="connsiteX0" fmla="*/ 13210 w 9280833"/>
              <a:gd name="connsiteY0" fmla="*/ 0 h 6492683"/>
              <a:gd name="connsiteX1" fmla="*/ 2744459 w 9280833"/>
              <a:gd name="connsiteY1" fmla="*/ 475083 h 6492683"/>
              <a:gd name="connsiteX2" fmla="*/ 3420981 w 9280833"/>
              <a:gd name="connsiteY2" fmla="*/ 1707757 h 6492683"/>
              <a:gd name="connsiteX3" fmla="*/ 4581297 w 9280833"/>
              <a:gd name="connsiteY3" fmla="*/ 2185565 h 6492683"/>
              <a:gd name="connsiteX4" fmla="*/ 5322931 w 9280833"/>
              <a:gd name="connsiteY4" fmla="*/ 3416929 h 6492683"/>
              <a:gd name="connsiteX5" fmla="*/ 6656529 w 9280833"/>
              <a:gd name="connsiteY5" fmla="*/ 3807472 h 6492683"/>
              <a:gd name="connsiteX6" fmla="*/ 7499700 w 9280833"/>
              <a:gd name="connsiteY6" fmla="*/ 4796395 h 6492683"/>
              <a:gd name="connsiteX7" fmla="*/ 8962613 w 9280833"/>
              <a:gd name="connsiteY7" fmla="*/ 5277224 h 6492683"/>
              <a:gd name="connsiteX8" fmla="*/ 9280832 w 9280833"/>
              <a:gd name="connsiteY8" fmla="*/ 6492683 h 6492683"/>
              <a:gd name="connsiteX0" fmla="*/ 13210 w 9280831"/>
              <a:gd name="connsiteY0" fmla="*/ 0 h 6492683"/>
              <a:gd name="connsiteX1" fmla="*/ 2744459 w 9280831"/>
              <a:gd name="connsiteY1" fmla="*/ 475083 h 6492683"/>
              <a:gd name="connsiteX2" fmla="*/ 3420981 w 9280831"/>
              <a:gd name="connsiteY2" fmla="*/ 1707757 h 6492683"/>
              <a:gd name="connsiteX3" fmla="*/ 4581297 w 9280831"/>
              <a:gd name="connsiteY3" fmla="*/ 2185565 h 6492683"/>
              <a:gd name="connsiteX4" fmla="*/ 5322931 w 9280831"/>
              <a:gd name="connsiteY4" fmla="*/ 3416929 h 6492683"/>
              <a:gd name="connsiteX5" fmla="*/ 6656529 w 9280831"/>
              <a:gd name="connsiteY5" fmla="*/ 3807472 h 6492683"/>
              <a:gd name="connsiteX6" fmla="*/ 7545108 w 9280831"/>
              <a:gd name="connsiteY6" fmla="*/ 4914090 h 6492683"/>
              <a:gd name="connsiteX7" fmla="*/ 8962613 w 9280831"/>
              <a:gd name="connsiteY7" fmla="*/ 5277224 h 6492683"/>
              <a:gd name="connsiteX8" fmla="*/ 9280832 w 9280831"/>
              <a:gd name="connsiteY8" fmla="*/ 6492683 h 6492683"/>
              <a:gd name="connsiteX0" fmla="*/ 13210 w 9280833"/>
              <a:gd name="connsiteY0" fmla="*/ 0 h 6492683"/>
              <a:gd name="connsiteX1" fmla="*/ 2744459 w 9280833"/>
              <a:gd name="connsiteY1" fmla="*/ 475083 h 6492683"/>
              <a:gd name="connsiteX2" fmla="*/ 3420981 w 9280833"/>
              <a:gd name="connsiteY2" fmla="*/ 1707757 h 6492683"/>
              <a:gd name="connsiteX3" fmla="*/ 4581297 w 9280833"/>
              <a:gd name="connsiteY3" fmla="*/ 2185565 h 6492683"/>
              <a:gd name="connsiteX4" fmla="*/ 5322931 w 9280833"/>
              <a:gd name="connsiteY4" fmla="*/ 3416929 h 6492683"/>
              <a:gd name="connsiteX5" fmla="*/ 6656529 w 9280833"/>
              <a:gd name="connsiteY5" fmla="*/ 3807472 h 6492683"/>
              <a:gd name="connsiteX6" fmla="*/ 7545108 w 9280833"/>
              <a:gd name="connsiteY6" fmla="*/ 4914090 h 6492683"/>
              <a:gd name="connsiteX7" fmla="*/ 8962613 w 9280833"/>
              <a:gd name="connsiteY7" fmla="*/ 5277224 h 6492683"/>
              <a:gd name="connsiteX8" fmla="*/ 9280832 w 9280833"/>
              <a:gd name="connsiteY8" fmla="*/ 6492683 h 6492683"/>
              <a:gd name="connsiteX0" fmla="*/ 13210 w 9280831"/>
              <a:gd name="connsiteY0" fmla="*/ 0 h 6492683"/>
              <a:gd name="connsiteX1" fmla="*/ 2744459 w 9280831"/>
              <a:gd name="connsiteY1" fmla="*/ 475083 h 6492683"/>
              <a:gd name="connsiteX2" fmla="*/ 3420981 w 9280831"/>
              <a:gd name="connsiteY2" fmla="*/ 1707757 h 6492683"/>
              <a:gd name="connsiteX3" fmla="*/ 4581297 w 9280831"/>
              <a:gd name="connsiteY3" fmla="*/ 2185565 h 6492683"/>
              <a:gd name="connsiteX4" fmla="*/ 5322931 w 9280831"/>
              <a:gd name="connsiteY4" fmla="*/ 3416929 h 6492683"/>
              <a:gd name="connsiteX5" fmla="*/ 6656529 w 9280831"/>
              <a:gd name="connsiteY5" fmla="*/ 3807472 h 6492683"/>
              <a:gd name="connsiteX6" fmla="*/ 7545108 w 9280831"/>
              <a:gd name="connsiteY6" fmla="*/ 4914090 h 6492683"/>
              <a:gd name="connsiteX7" fmla="*/ 8962613 w 9280831"/>
              <a:gd name="connsiteY7" fmla="*/ 5277224 h 6492683"/>
              <a:gd name="connsiteX8" fmla="*/ 9280832 w 9280831"/>
              <a:gd name="connsiteY8" fmla="*/ 6492683 h 6492683"/>
              <a:gd name="connsiteX0" fmla="*/ 13210 w 9280833"/>
              <a:gd name="connsiteY0" fmla="*/ 0 h 6492683"/>
              <a:gd name="connsiteX1" fmla="*/ 2744459 w 9280833"/>
              <a:gd name="connsiteY1" fmla="*/ 475083 h 6492683"/>
              <a:gd name="connsiteX2" fmla="*/ 3420981 w 9280833"/>
              <a:gd name="connsiteY2" fmla="*/ 1707757 h 6492683"/>
              <a:gd name="connsiteX3" fmla="*/ 4581297 w 9280833"/>
              <a:gd name="connsiteY3" fmla="*/ 2185565 h 6492683"/>
              <a:gd name="connsiteX4" fmla="*/ 5322931 w 9280833"/>
              <a:gd name="connsiteY4" fmla="*/ 3416929 h 6492683"/>
              <a:gd name="connsiteX5" fmla="*/ 6656529 w 9280833"/>
              <a:gd name="connsiteY5" fmla="*/ 3807472 h 6492683"/>
              <a:gd name="connsiteX6" fmla="*/ 7545108 w 9280833"/>
              <a:gd name="connsiteY6" fmla="*/ 4914090 h 6492683"/>
              <a:gd name="connsiteX7" fmla="*/ 8962613 w 9280833"/>
              <a:gd name="connsiteY7" fmla="*/ 5277224 h 6492683"/>
              <a:gd name="connsiteX8" fmla="*/ 9280832 w 9280833"/>
              <a:gd name="connsiteY8" fmla="*/ 6492683 h 6492683"/>
              <a:gd name="connsiteX0" fmla="*/ 13210 w 9280833"/>
              <a:gd name="connsiteY0" fmla="*/ 0 h 6492685"/>
              <a:gd name="connsiteX1" fmla="*/ 2744459 w 9280833"/>
              <a:gd name="connsiteY1" fmla="*/ 475083 h 6492685"/>
              <a:gd name="connsiteX2" fmla="*/ 3420981 w 9280833"/>
              <a:gd name="connsiteY2" fmla="*/ 1707757 h 6492685"/>
              <a:gd name="connsiteX3" fmla="*/ 4581297 w 9280833"/>
              <a:gd name="connsiteY3" fmla="*/ 2185565 h 6492685"/>
              <a:gd name="connsiteX4" fmla="*/ 5322931 w 9280833"/>
              <a:gd name="connsiteY4" fmla="*/ 3416929 h 6492685"/>
              <a:gd name="connsiteX5" fmla="*/ 6656529 w 9280833"/>
              <a:gd name="connsiteY5" fmla="*/ 3807472 h 6492685"/>
              <a:gd name="connsiteX6" fmla="*/ 7545108 w 9280833"/>
              <a:gd name="connsiteY6" fmla="*/ 4914090 h 6492685"/>
              <a:gd name="connsiteX7" fmla="*/ 8962613 w 9280833"/>
              <a:gd name="connsiteY7" fmla="*/ 5277224 h 6492685"/>
              <a:gd name="connsiteX8" fmla="*/ 9280833 w 9280833"/>
              <a:gd name="connsiteY8" fmla="*/ 6492684 h 6492685"/>
              <a:gd name="connsiteX0" fmla="*/ 13210 w 9305498"/>
              <a:gd name="connsiteY0" fmla="*/ 0 h 6575144"/>
              <a:gd name="connsiteX1" fmla="*/ 2744459 w 9305498"/>
              <a:gd name="connsiteY1" fmla="*/ 475083 h 6575144"/>
              <a:gd name="connsiteX2" fmla="*/ 3420981 w 9305498"/>
              <a:gd name="connsiteY2" fmla="*/ 1707757 h 6575144"/>
              <a:gd name="connsiteX3" fmla="*/ 4581297 w 9305498"/>
              <a:gd name="connsiteY3" fmla="*/ 2185565 h 6575144"/>
              <a:gd name="connsiteX4" fmla="*/ 5322931 w 9305498"/>
              <a:gd name="connsiteY4" fmla="*/ 3416929 h 6575144"/>
              <a:gd name="connsiteX5" fmla="*/ 6656529 w 9305498"/>
              <a:gd name="connsiteY5" fmla="*/ 3807472 h 6575144"/>
              <a:gd name="connsiteX6" fmla="*/ 7545108 w 9305498"/>
              <a:gd name="connsiteY6" fmla="*/ 4914090 h 6575144"/>
              <a:gd name="connsiteX7" fmla="*/ 8962613 w 9305498"/>
              <a:gd name="connsiteY7" fmla="*/ 5277224 h 6575144"/>
              <a:gd name="connsiteX8" fmla="*/ 9280833 w 9305498"/>
              <a:gd name="connsiteY8" fmla="*/ 6492684 h 6575144"/>
              <a:gd name="connsiteX9" fmla="*/ 9284546 w 9305498"/>
              <a:gd name="connsiteY9" fmla="*/ 6464969 h 6575144"/>
              <a:gd name="connsiteX0" fmla="*/ 13210 w 10079629"/>
              <a:gd name="connsiteY0" fmla="*/ 0 h 6786059"/>
              <a:gd name="connsiteX1" fmla="*/ 2744459 w 10079629"/>
              <a:gd name="connsiteY1" fmla="*/ 475083 h 6786059"/>
              <a:gd name="connsiteX2" fmla="*/ 3420981 w 10079629"/>
              <a:gd name="connsiteY2" fmla="*/ 1707757 h 6786059"/>
              <a:gd name="connsiteX3" fmla="*/ 4581297 w 10079629"/>
              <a:gd name="connsiteY3" fmla="*/ 2185565 h 6786059"/>
              <a:gd name="connsiteX4" fmla="*/ 5322931 w 10079629"/>
              <a:gd name="connsiteY4" fmla="*/ 3416929 h 6786059"/>
              <a:gd name="connsiteX5" fmla="*/ 6656529 w 10079629"/>
              <a:gd name="connsiteY5" fmla="*/ 3807472 h 6786059"/>
              <a:gd name="connsiteX6" fmla="*/ 7545108 w 10079629"/>
              <a:gd name="connsiteY6" fmla="*/ 4914090 h 6786059"/>
              <a:gd name="connsiteX7" fmla="*/ 8962613 w 10079629"/>
              <a:gd name="connsiteY7" fmla="*/ 5277224 h 6786059"/>
              <a:gd name="connsiteX8" fmla="*/ 9280833 w 10079629"/>
              <a:gd name="connsiteY8" fmla="*/ 6492684 h 6786059"/>
              <a:gd name="connsiteX9" fmla="*/ 10079630 w 10079629"/>
              <a:gd name="connsiteY9" fmla="*/ 6785825 h 6786059"/>
              <a:gd name="connsiteX0" fmla="*/ 13210 w 10079631"/>
              <a:gd name="connsiteY0" fmla="*/ 0 h 6786059"/>
              <a:gd name="connsiteX1" fmla="*/ 2744459 w 10079631"/>
              <a:gd name="connsiteY1" fmla="*/ 475083 h 6786059"/>
              <a:gd name="connsiteX2" fmla="*/ 3420981 w 10079631"/>
              <a:gd name="connsiteY2" fmla="*/ 1707757 h 6786059"/>
              <a:gd name="connsiteX3" fmla="*/ 4581297 w 10079631"/>
              <a:gd name="connsiteY3" fmla="*/ 2185565 h 6786059"/>
              <a:gd name="connsiteX4" fmla="*/ 5322931 w 10079631"/>
              <a:gd name="connsiteY4" fmla="*/ 3416929 h 6786059"/>
              <a:gd name="connsiteX5" fmla="*/ 6656529 w 10079631"/>
              <a:gd name="connsiteY5" fmla="*/ 3807472 h 6786059"/>
              <a:gd name="connsiteX6" fmla="*/ 7545108 w 10079631"/>
              <a:gd name="connsiteY6" fmla="*/ 4914090 h 6786059"/>
              <a:gd name="connsiteX7" fmla="*/ 8962613 w 10079631"/>
              <a:gd name="connsiteY7" fmla="*/ 5277224 h 6786059"/>
              <a:gd name="connsiteX8" fmla="*/ 9280833 w 10079631"/>
              <a:gd name="connsiteY8" fmla="*/ 6492684 h 6786059"/>
              <a:gd name="connsiteX9" fmla="*/ 10079630 w 10079631"/>
              <a:gd name="connsiteY9" fmla="*/ 6785825 h 6786059"/>
              <a:gd name="connsiteX0" fmla="*/ 13210 w 10079629"/>
              <a:gd name="connsiteY0" fmla="*/ 0 h 6790312"/>
              <a:gd name="connsiteX1" fmla="*/ 2744459 w 10079629"/>
              <a:gd name="connsiteY1" fmla="*/ 475083 h 6790312"/>
              <a:gd name="connsiteX2" fmla="*/ 3420981 w 10079629"/>
              <a:gd name="connsiteY2" fmla="*/ 1707757 h 6790312"/>
              <a:gd name="connsiteX3" fmla="*/ 4581297 w 10079629"/>
              <a:gd name="connsiteY3" fmla="*/ 2185565 h 6790312"/>
              <a:gd name="connsiteX4" fmla="*/ 5322931 w 10079629"/>
              <a:gd name="connsiteY4" fmla="*/ 3416929 h 6790312"/>
              <a:gd name="connsiteX5" fmla="*/ 6656529 w 10079629"/>
              <a:gd name="connsiteY5" fmla="*/ 3807472 h 6790312"/>
              <a:gd name="connsiteX6" fmla="*/ 7545108 w 10079629"/>
              <a:gd name="connsiteY6" fmla="*/ 4914090 h 6790312"/>
              <a:gd name="connsiteX7" fmla="*/ 8962613 w 10079629"/>
              <a:gd name="connsiteY7" fmla="*/ 5277224 h 6790312"/>
              <a:gd name="connsiteX8" fmla="*/ 9280833 w 10079629"/>
              <a:gd name="connsiteY8" fmla="*/ 6492684 h 6790312"/>
              <a:gd name="connsiteX9" fmla="*/ 10079630 w 10079629"/>
              <a:gd name="connsiteY9" fmla="*/ 6785825 h 6790312"/>
              <a:gd name="connsiteX0" fmla="*/ 13210 w 10079631"/>
              <a:gd name="connsiteY0" fmla="*/ 0 h 6794516"/>
              <a:gd name="connsiteX1" fmla="*/ 2744459 w 10079631"/>
              <a:gd name="connsiteY1" fmla="*/ 475083 h 6794516"/>
              <a:gd name="connsiteX2" fmla="*/ 3420981 w 10079631"/>
              <a:gd name="connsiteY2" fmla="*/ 1707757 h 6794516"/>
              <a:gd name="connsiteX3" fmla="*/ 4581297 w 10079631"/>
              <a:gd name="connsiteY3" fmla="*/ 2185565 h 6794516"/>
              <a:gd name="connsiteX4" fmla="*/ 5322931 w 10079631"/>
              <a:gd name="connsiteY4" fmla="*/ 3416929 h 6794516"/>
              <a:gd name="connsiteX5" fmla="*/ 6656529 w 10079631"/>
              <a:gd name="connsiteY5" fmla="*/ 3807472 h 6794516"/>
              <a:gd name="connsiteX6" fmla="*/ 7545108 w 10079631"/>
              <a:gd name="connsiteY6" fmla="*/ 4914090 h 6794516"/>
              <a:gd name="connsiteX7" fmla="*/ 8962613 w 10079631"/>
              <a:gd name="connsiteY7" fmla="*/ 5277224 h 6794516"/>
              <a:gd name="connsiteX8" fmla="*/ 9280833 w 10079631"/>
              <a:gd name="connsiteY8" fmla="*/ 6492684 h 6794516"/>
              <a:gd name="connsiteX9" fmla="*/ 10079630 w 10079631"/>
              <a:gd name="connsiteY9" fmla="*/ 6785825 h 6794516"/>
              <a:gd name="connsiteX0" fmla="*/ 13210 w 10079629"/>
              <a:gd name="connsiteY0" fmla="*/ 0 h 6786260"/>
              <a:gd name="connsiteX1" fmla="*/ 2744459 w 10079629"/>
              <a:gd name="connsiteY1" fmla="*/ 475083 h 6786260"/>
              <a:gd name="connsiteX2" fmla="*/ 3420981 w 10079629"/>
              <a:gd name="connsiteY2" fmla="*/ 1707757 h 6786260"/>
              <a:gd name="connsiteX3" fmla="*/ 4581297 w 10079629"/>
              <a:gd name="connsiteY3" fmla="*/ 2185565 h 6786260"/>
              <a:gd name="connsiteX4" fmla="*/ 5322931 w 10079629"/>
              <a:gd name="connsiteY4" fmla="*/ 3416929 h 6786260"/>
              <a:gd name="connsiteX5" fmla="*/ 6656529 w 10079629"/>
              <a:gd name="connsiteY5" fmla="*/ 3807472 h 6786260"/>
              <a:gd name="connsiteX6" fmla="*/ 7545108 w 10079629"/>
              <a:gd name="connsiteY6" fmla="*/ 4914090 h 6786260"/>
              <a:gd name="connsiteX7" fmla="*/ 8962613 w 10079629"/>
              <a:gd name="connsiteY7" fmla="*/ 5277224 h 6786260"/>
              <a:gd name="connsiteX8" fmla="*/ 9280833 w 10079629"/>
              <a:gd name="connsiteY8" fmla="*/ 6492684 h 6786260"/>
              <a:gd name="connsiteX9" fmla="*/ 10079630 w 10079629"/>
              <a:gd name="connsiteY9" fmla="*/ 6785825 h 6786260"/>
              <a:gd name="connsiteX0" fmla="*/ 13210 w 10079631"/>
              <a:gd name="connsiteY0" fmla="*/ 0 h 6785966"/>
              <a:gd name="connsiteX1" fmla="*/ 2744459 w 10079631"/>
              <a:gd name="connsiteY1" fmla="*/ 475083 h 6785966"/>
              <a:gd name="connsiteX2" fmla="*/ 3420981 w 10079631"/>
              <a:gd name="connsiteY2" fmla="*/ 1707757 h 6785966"/>
              <a:gd name="connsiteX3" fmla="*/ 4581297 w 10079631"/>
              <a:gd name="connsiteY3" fmla="*/ 2185565 h 6785966"/>
              <a:gd name="connsiteX4" fmla="*/ 5322931 w 10079631"/>
              <a:gd name="connsiteY4" fmla="*/ 3416929 h 6785966"/>
              <a:gd name="connsiteX5" fmla="*/ 6656529 w 10079631"/>
              <a:gd name="connsiteY5" fmla="*/ 3807472 h 6785966"/>
              <a:gd name="connsiteX6" fmla="*/ 7545108 w 10079631"/>
              <a:gd name="connsiteY6" fmla="*/ 4914090 h 6785966"/>
              <a:gd name="connsiteX7" fmla="*/ 8962613 w 10079631"/>
              <a:gd name="connsiteY7" fmla="*/ 5277224 h 6785966"/>
              <a:gd name="connsiteX8" fmla="*/ 9401089 w 10079631"/>
              <a:gd name="connsiteY8" fmla="*/ 6371258 h 6785966"/>
              <a:gd name="connsiteX9" fmla="*/ 10079630 w 10079631"/>
              <a:gd name="connsiteY9" fmla="*/ 6785825 h 6785966"/>
              <a:gd name="connsiteX0" fmla="*/ 13210 w 10090940"/>
              <a:gd name="connsiteY0" fmla="*/ 0 h 6792735"/>
              <a:gd name="connsiteX1" fmla="*/ 2744459 w 10090940"/>
              <a:gd name="connsiteY1" fmla="*/ 475083 h 6792735"/>
              <a:gd name="connsiteX2" fmla="*/ 3420981 w 10090940"/>
              <a:gd name="connsiteY2" fmla="*/ 1707757 h 6792735"/>
              <a:gd name="connsiteX3" fmla="*/ 4581297 w 10090940"/>
              <a:gd name="connsiteY3" fmla="*/ 2185565 h 6792735"/>
              <a:gd name="connsiteX4" fmla="*/ 5322931 w 10090940"/>
              <a:gd name="connsiteY4" fmla="*/ 3416929 h 6792735"/>
              <a:gd name="connsiteX5" fmla="*/ 6656529 w 10090940"/>
              <a:gd name="connsiteY5" fmla="*/ 3807472 h 6792735"/>
              <a:gd name="connsiteX6" fmla="*/ 7545108 w 10090940"/>
              <a:gd name="connsiteY6" fmla="*/ 4914090 h 6792735"/>
              <a:gd name="connsiteX7" fmla="*/ 8962613 w 10090940"/>
              <a:gd name="connsiteY7" fmla="*/ 5277224 h 6792735"/>
              <a:gd name="connsiteX8" fmla="*/ 9401089 w 10090940"/>
              <a:gd name="connsiteY8" fmla="*/ 6371258 h 6792735"/>
              <a:gd name="connsiteX9" fmla="*/ 10079630 w 10090940"/>
              <a:gd name="connsiteY9" fmla="*/ 6785825 h 6792735"/>
              <a:gd name="connsiteX10" fmla="*/ 10090940 w 10090940"/>
              <a:gd name="connsiteY10" fmla="*/ 6792735 h 6792735"/>
              <a:gd name="connsiteX0" fmla="*/ 13210 w 10107327"/>
              <a:gd name="connsiteY0" fmla="*/ 0 h 7492390"/>
              <a:gd name="connsiteX1" fmla="*/ 2744459 w 10107327"/>
              <a:gd name="connsiteY1" fmla="*/ 475083 h 7492390"/>
              <a:gd name="connsiteX2" fmla="*/ 3420981 w 10107327"/>
              <a:gd name="connsiteY2" fmla="*/ 1707757 h 7492390"/>
              <a:gd name="connsiteX3" fmla="*/ 4581297 w 10107327"/>
              <a:gd name="connsiteY3" fmla="*/ 2185565 h 7492390"/>
              <a:gd name="connsiteX4" fmla="*/ 5322931 w 10107327"/>
              <a:gd name="connsiteY4" fmla="*/ 3416929 h 7492390"/>
              <a:gd name="connsiteX5" fmla="*/ 6656529 w 10107327"/>
              <a:gd name="connsiteY5" fmla="*/ 3807472 h 7492390"/>
              <a:gd name="connsiteX6" fmla="*/ 7545108 w 10107327"/>
              <a:gd name="connsiteY6" fmla="*/ 4914090 h 7492390"/>
              <a:gd name="connsiteX7" fmla="*/ 8962613 w 10107327"/>
              <a:gd name="connsiteY7" fmla="*/ 5277224 h 7492390"/>
              <a:gd name="connsiteX8" fmla="*/ 9401089 w 10107327"/>
              <a:gd name="connsiteY8" fmla="*/ 6371258 h 7492390"/>
              <a:gd name="connsiteX9" fmla="*/ 10079630 w 10107327"/>
              <a:gd name="connsiteY9" fmla="*/ 6785825 h 7492390"/>
              <a:gd name="connsiteX10" fmla="*/ 10107328 w 10107327"/>
              <a:gd name="connsiteY10" fmla="*/ 7492390 h 7492390"/>
              <a:gd name="connsiteX0" fmla="*/ 13210 w 10107329"/>
              <a:gd name="connsiteY0" fmla="*/ 0 h 7492390"/>
              <a:gd name="connsiteX1" fmla="*/ 2744459 w 10107329"/>
              <a:gd name="connsiteY1" fmla="*/ 475083 h 7492390"/>
              <a:gd name="connsiteX2" fmla="*/ 3420981 w 10107329"/>
              <a:gd name="connsiteY2" fmla="*/ 1707757 h 7492390"/>
              <a:gd name="connsiteX3" fmla="*/ 4581297 w 10107329"/>
              <a:gd name="connsiteY3" fmla="*/ 2185565 h 7492390"/>
              <a:gd name="connsiteX4" fmla="*/ 5322931 w 10107329"/>
              <a:gd name="connsiteY4" fmla="*/ 3416929 h 7492390"/>
              <a:gd name="connsiteX5" fmla="*/ 6656529 w 10107329"/>
              <a:gd name="connsiteY5" fmla="*/ 3807472 h 7492390"/>
              <a:gd name="connsiteX6" fmla="*/ 7545108 w 10107329"/>
              <a:gd name="connsiteY6" fmla="*/ 4914090 h 7492390"/>
              <a:gd name="connsiteX7" fmla="*/ 8962613 w 10107329"/>
              <a:gd name="connsiteY7" fmla="*/ 5277224 h 7492390"/>
              <a:gd name="connsiteX8" fmla="*/ 9401089 w 10107329"/>
              <a:gd name="connsiteY8" fmla="*/ 6371258 h 7492390"/>
              <a:gd name="connsiteX9" fmla="*/ 10079630 w 10107329"/>
              <a:gd name="connsiteY9" fmla="*/ 6785825 h 7492390"/>
              <a:gd name="connsiteX10" fmla="*/ 10107328 w 10107329"/>
              <a:gd name="connsiteY10" fmla="*/ 7492390 h 7492390"/>
              <a:gd name="connsiteX0" fmla="*/ 13210 w 10196294"/>
              <a:gd name="connsiteY0" fmla="*/ 0 h 7492390"/>
              <a:gd name="connsiteX1" fmla="*/ 2744459 w 10196294"/>
              <a:gd name="connsiteY1" fmla="*/ 475083 h 7492390"/>
              <a:gd name="connsiteX2" fmla="*/ 3420981 w 10196294"/>
              <a:gd name="connsiteY2" fmla="*/ 1707757 h 7492390"/>
              <a:gd name="connsiteX3" fmla="*/ 4581297 w 10196294"/>
              <a:gd name="connsiteY3" fmla="*/ 2185565 h 7492390"/>
              <a:gd name="connsiteX4" fmla="*/ 5322931 w 10196294"/>
              <a:gd name="connsiteY4" fmla="*/ 3416929 h 7492390"/>
              <a:gd name="connsiteX5" fmla="*/ 6656529 w 10196294"/>
              <a:gd name="connsiteY5" fmla="*/ 3807472 h 7492390"/>
              <a:gd name="connsiteX6" fmla="*/ 7545108 w 10196294"/>
              <a:gd name="connsiteY6" fmla="*/ 4914090 h 7492390"/>
              <a:gd name="connsiteX7" fmla="*/ 8962613 w 10196294"/>
              <a:gd name="connsiteY7" fmla="*/ 5277224 h 7492390"/>
              <a:gd name="connsiteX8" fmla="*/ 9401089 w 10196294"/>
              <a:gd name="connsiteY8" fmla="*/ 6371258 h 7492390"/>
              <a:gd name="connsiteX9" fmla="*/ 10079630 w 10196294"/>
              <a:gd name="connsiteY9" fmla="*/ 6785825 h 7492390"/>
              <a:gd name="connsiteX10" fmla="*/ 10107328 w 10196294"/>
              <a:gd name="connsiteY10" fmla="*/ 7492390 h 7492390"/>
              <a:gd name="connsiteX0" fmla="*/ 13210 w 10149590"/>
              <a:gd name="connsiteY0" fmla="*/ 0 h 7492390"/>
              <a:gd name="connsiteX1" fmla="*/ 2744459 w 10149590"/>
              <a:gd name="connsiteY1" fmla="*/ 475083 h 7492390"/>
              <a:gd name="connsiteX2" fmla="*/ 3420981 w 10149590"/>
              <a:gd name="connsiteY2" fmla="*/ 1707757 h 7492390"/>
              <a:gd name="connsiteX3" fmla="*/ 4581297 w 10149590"/>
              <a:gd name="connsiteY3" fmla="*/ 2185565 h 7492390"/>
              <a:gd name="connsiteX4" fmla="*/ 5322931 w 10149590"/>
              <a:gd name="connsiteY4" fmla="*/ 3416929 h 7492390"/>
              <a:gd name="connsiteX5" fmla="*/ 6656529 w 10149590"/>
              <a:gd name="connsiteY5" fmla="*/ 3807472 h 7492390"/>
              <a:gd name="connsiteX6" fmla="*/ 7545108 w 10149590"/>
              <a:gd name="connsiteY6" fmla="*/ 4914090 h 7492390"/>
              <a:gd name="connsiteX7" fmla="*/ 8962613 w 10149590"/>
              <a:gd name="connsiteY7" fmla="*/ 5277224 h 7492390"/>
              <a:gd name="connsiteX8" fmla="*/ 9401089 w 10149590"/>
              <a:gd name="connsiteY8" fmla="*/ 6371258 h 7492390"/>
              <a:gd name="connsiteX9" fmla="*/ 10079630 w 10149590"/>
              <a:gd name="connsiteY9" fmla="*/ 6785825 h 7492390"/>
              <a:gd name="connsiteX10" fmla="*/ 10107328 w 10149590"/>
              <a:gd name="connsiteY10" fmla="*/ 7492390 h 7492390"/>
              <a:gd name="connsiteX0" fmla="*/ 13210 w 10149590"/>
              <a:gd name="connsiteY0" fmla="*/ 0 h 7492390"/>
              <a:gd name="connsiteX1" fmla="*/ 2744459 w 10149590"/>
              <a:gd name="connsiteY1" fmla="*/ 475083 h 7492390"/>
              <a:gd name="connsiteX2" fmla="*/ 3420981 w 10149590"/>
              <a:gd name="connsiteY2" fmla="*/ 1707757 h 7492390"/>
              <a:gd name="connsiteX3" fmla="*/ 4581297 w 10149590"/>
              <a:gd name="connsiteY3" fmla="*/ 2185565 h 7492390"/>
              <a:gd name="connsiteX4" fmla="*/ 5322931 w 10149590"/>
              <a:gd name="connsiteY4" fmla="*/ 3416929 h 7492390"/>
              <a:gd name="connsiteX5" fmla="*/ 6656529 w 10149590"/>
              <a:gd name="connsiteY5" fmla="*/ 3807472 h 7492390"/>
              <a:gd name="connsiteX6" fmla="*/ 7545108 w 10149590"/>
              <a:gd name="connsiteY6" fmla="*/ 4914090 h 7492390"/>
              <a:gd name="connsiteX7" fmla="*/ 9056969 w 10149590"/>
              <a:gd name="connsiteY7" fmla="*/ 5394841 h 7492390"/>
              <a:gd name="connsiteX8" fmla="*/ 9401089 w 10149590"/>
              <a:gd name="connsiteY8" fmla="*/ 6371258 h 7492390"/>
              <a:gd name="connsiteX9" fmla="*/ 10079630 w 10149590"/>
              <a:gd name="connsiteY9" fmla="*/ 6785825 h 7492390"/>
              <a:gd name="connsiteX10" fmla="*/ 10107328 w 10149590"/>
              <a:gd name="connsiteY10" fmla="*/ 7492390 h 7492390"/>
              <a:gd name="connsiteX0" fmla="*/ 13210 w 10149590"/>
              <a:gd name="connsiteY0" fmla="*/ 0 h 7492390"/>
              <a:gd name="connsiteX1" fmla="*/ 2744459 w 10149590"/>
              <a:gd name="connsiteY1" fmla="*/ 475083 h 7492390"/>
              <a:gd name="connsiteX2" fmla="*/ 3420981 w 10149590"/>
              <a:gd name="connsiteY2" fmla="*/ 1707757 h 7492390"/>
              <a:gd name="connsiteX3" fmla="*/ 4581297 w 10149590"/>
              <a:gd name="connsiteY3" fmla="*/ 2185565 h 7492390"/>
              <a:gd name="connsiteX4" fmla="*/ 5322931 w 10149590"/>
              <a:gd name="connsiteY4" fmla="*/ 3416929 h 7492390"/>
              <a:gd name="connsiteX5" fmla="*/ 6656529 w 10149590"/>
              <a:gd name="connsiteY5" fmla="*/ 3807472 h 7492390"/>
              <a:gd name="connsiteX6" fmla="*/ 7545108 w 10149590"/>
              <a:gd name="connsiteY6" fmla="*/ 4914090 h 7492390"/>
              <a:gd name="connsiteX7" fmla="*/ 9056969 w 10149590"/>
              <a:gd name="connsiteY7" fmla="*/ 5394841 h 7492390"/>
              <a:gd name="connsiteX8" fmla="*/ 9401089 w 10149590"/>
              <a:gd name="connsiteY8" fmla="*/ 6371258 h 7492390"/>
              <a:gd name="connsiteX9" fmla="*/ 10079630 w 10149590"/>
              <a:gd name="connsiteY9" fmla="*/ 6785825 h 7492390"/>
              <a:gd name="connsiteX10" fmla="*/ 10107328 w 10149590"/>
              <a:gd name="connsiteY10" fmla="*/ 7492390 h 7492390"/>
              <a:gd name="connsiteX0" fmla="*/ 13210 w 10149590"/>
              <a:gd name="connsiteY0" fmla="*/ 0 h 7492390"/>
              <a:gd name="connsiteX1" fmla="*/ 2744459 w 10149590"/>
              <a:gd name="connsiteY1" fmla="*/ 475083 h 7492390"/>
              <a:gd name="connsiteX2" fmla="*/ 3420981 w 10149590"/>
              <a:gd name="connsiteY2" fmla="*/ 1707757 h 7492390"/>
              <a:gd name="connsiteX3" fmla="*/ 4581297 w 10149590"/>
              <a:gd name="connsiteY3" fmla="*/ 2185565 h 7492390"/>
              <a:gd name="connsiteX4" fmla="*/ 5322931 w 10149590"/>
              <a:gd name="connsiteY4" fmla="*/ 3416929 h 7492390"/>
              <a:gd name="connsiteX5" fmla="*/ 6656529 w 10149590"/>
              <a:gd name="connsiteY5" fmla="*/ 3807472 h 7492390"/>
              <a:gd name="connsiteX6" fmla="*/ 7545108 w 10149590"/>
              <a:gd name="connsiteY6" fmla="*/ 4914090 h 7492390"/>
              <a:gd name="connsiteX7" fmla="*/ 9056969 w 10149590"/>
              <a:gd name="connsiteY7" fmla="*/ 5394841 h 7492390"/>
              <a:gd name="connsiteX8" fmla="*/ 9401089 w 10149590"/>
              <a:gd name="connsiteY8" fmla="*/ 6371258 h 7492390"/>
              <a:gd name="connsiteX9" fmla="*/ 10079630 w 10149590"/>
              <a:gd name="connsiteY9" fmla="*/ 6785825 h 7492390"/>
              <a:gd name="connsiteX10" fmla="*/ 10107328 w 10149590"/>
              <a:gd name="connsiteY10" fmla="*/ 7492390 h 7492390"/>
              <a:gd name="connsiteX0" fmla="*/ 13210 w 10149590"/>
              <a:gd name="connsiteY0" fmla="*/ 0 h 7492390"/>
              <a:gd name="connsiteX1" fmla="*/ 2744459 w 10149590"/>
              <a:gd name="connsiteY1" fmla="*/ 475083 h 7492390"/>
              <a:gd name="connsiteX2" fmla="*/ 3420981 w 10149590"/>
              <a:gd name="connsiteY2" fmla="*/ 1707757 h 7492390"/>
              <a:gd name="connsiteX3" fmla="*/ 4581297 w 10149590"/>
              <a:gd name="connsiteY3" fmla="*/ 2185565 h 7492390"/>
              <a:gd name="connsiteX4" fmla="*/ 5322931 w 10149590"/>
              <a:gd name="connsiteY4" fmla="*/ 3416929 h 7492390"/>
              <a:gd name="connsiteX5" fmla="*/ 6656529 w 10149590"/>
              <a:gd name="connsiteY5" fmla="*/ 3807472 h 7492390"/>
              <a:gd name="connsiteX6" fmla="*/ 7545108 w 10149590"/>
              <a:gd name="connsiteY6" fmla="*/ 4914090 h 7492390"/>
              <a:gd name="connsiteX7" fmla="*/ 9056969 w 10149590"/>
              <a:gd name="connsiteY7" fmla="*/ 5394841 h 7492390"/>
              <a:gd name="connsiteX8" fmla="*/ 9401089 w 10149590"/>
              <a:gd name="connsiteY8" fmla="*/ 6371258 h 7492390"/>
              <a:gd name="connsiteX9" fmla="*/ 10079630 w 10149590"/>
              <a:gd name="connsiteY9" fmla="*/ 6785825 h 7492390"/>
              <a:gd name="connsiteX10" fmla="*/ 10107328 w 10149590"/>
              <a:gd name="connsiteY10" fmla="*/ 7492390 h 7492390"/>
              <a:gd name="connsiteX0" fmla="*/ 13210 w 10223277"/>
              <a:gd name="connsiteY0" fmla="*/ 0 h 7492390"/>
              <a:gd name="connsiteX1" fmla="*/ 2744459 w 10223277"/>
              <a:gd name="connsiteY1" fmla="*/ 475083 h 7492390"/>
              <a:gd name="connsiteX2" fmla="*/ 3420981 w 10223277"/>
              <a:gd name="connsiteY2" fmla="*/ 1707757 h 7492390"/>
              <a:gd name="connsiteX3" fmla="*/ 4581297 w 10223277"/>
              <a:gd name="connsiteY3" fmla="*/ 2185565 h 7492390"/>
              <a:gd name="connsiteX4" fmla="*/ 5322931 w 10223277"/>
              <a:gd name="connsiteY4" fmla="*/ 3416929 h 7492390"/>
              <a:gd name="connsiteX5" fmla="*/ 6656529 w 10223277"/>
              <a:gd name="connsiteY5" fmla="*/ 3807472 h 7492390"/>
              <a:gd name="connsiteX6" fmla="*/ 7545108 w 10223277"/>
              <a:gd name="connsiteY6" fmla="*/ 4914090 h 7492390"/>
              <a:gd name="connsiteX7" fmla="*/ 9056969 w 10223277"/>
              <a:gd name="connsiteY7" fmla="*/ 5394841 h 7492390"/>
              <a:gd name="connsiteX8" fmla="*/ 9401089 w 10223277"/>
              <a:gd name="connsiteY8" fmla="*/ 6371258 h 7492390"/>
              <a:gd name="connsiteX9" fmla="*/ 10173901 w 10223277"/>
              <a:gd name="connsiteY9" fmla="*/ 6858413 h 7492390"/>
              <a:gd name="connsiteX10" fmla="*/ 10107328 w 10223277"/>
              <a:gd name="connsiteY10" fmla="*/ 7492390 h 7492390"/>
              <a:gd name="connsiteX0" fmla="*/ 13210 w 10211993"/>
              <a:gd name="connsiteY0" fmla="*/ 0 h 7492390"/>
              <a:gd name="connsiteX1" fmla="*/ 2744459 w 10211993"/>
              <a:gd name="connsiteY1" fmla="*/ 475083 h 7492390"/>
              <a:gd name="connsiteX2" fmla="*/ 3420981 w 10211993"/>
              <a:gd name="connsiteY2" fmla="*/ 1707757 h 7492390"/>
              <a:gd name="connsiteX3" fmla="*/ 4581297 w 10211993"/>
              <a:gd name="connsiteY3" fmla="*/ 2185565 h 7492390"/>
              <a:gd name="connsiteX4" fmla="*/ 5322931 w 10211993"/>
              <a:gd name="connsiteY4" fmla="*/ 3416929 h 7492390"/>
              <a:gd name="connsiteX5" fmla="*/ 6656529 w 10211993"/>
              <a:gd name="connsiteY5" fmla="*/ 3807472 h 7492390"/>
              <a:gd name="connsiteX6" fmla="*/ 7545108 w 10211993"/>
              <a:gd name="connsiteY6" fmla="*/ 4914090 h 7492390"/>
              <a:gd name="connsiteX7" fmla="*/ 9056969 w 10211993"/>
              <a:gd name="connsiteY7" fmla="*/ 5394841 h 7492390"/>
              <a:gd name="connsiteX8" fmla="*/ 9401089 w 10211993"/>
              <a:gd name="connsiteY8" fmla="*/ 6371258 h 7492390"/>
              <a:gd name="connsiteX9" fmla="*/ 10173901 w 10211993"/>
              <a:gd name="connsiteY9" fmla="*/ 6858413 h 7492390"/>
              <a:gd name="connsiteX10" fmla="*/ 10107329 w 10211993"/>
              <a:gd name="connsiteY10" fmla="*/ 7492390 h 7492390"/>
              <a:gd name="connsiteX0" fmla="*/ 13210 w 10211993"/>
              <a:gd name="connsiteY0" fmla="*/ 0 h 7554674"/>
              <a:gd name="connsiteX1" fmla="*/ 2744459 w 10211993"/>
              <a:gd name="connsiteY1" fmla="*/ 475083 h 7554674"/>
              <a:gd name="connsiteX2" fmla="*/ 3420981 w 10211993"/>
              <a:gd name="connsiteY2" fmla="*/ 1707757 h 7554674"/>
              <a:gd name="connsiteX3" fmla="*/ 4581297 w 10211993"/>
              <a:gd name="connsiteY3" fmla="*/ 2185565 h 7554674"/>
              <a:gd name="connsiteX4" fmla="*/ 5322931 w 10211993"/>
              <a:gd name="connsiteY4" fmla="*/ 3416929 h 7554674"/>
              <a:gd name="connsiteX5" fmla="*/ 6656529 w 10211993"/>
              <a:gd name="connsiteY5" fmla="*/ 3807472 h 7554674"/>
              <a:gd name="connsiteX6" fmla="*/ 7545108 w 10211993"/>
              <a:gd name="connsiteY6" fmla="*/ 4914090 h 7554674"/>
              <a:gd name="connsiteX7" fmla="*/ 9056969 w 10211993"/>
              <a:gd name="connsiteY7" fmla="*/ 5394841 h 7554674"/>
              <a:gd name="connsiteX8" fmla="*/ 9401089 w 10211993"/>
              <a:gd name="connsiteY8" fmla="*/ 6371258 h 7554674"/>
              <a:gd name="connsiteX9" fmla="*/ 10173901 w 10211993"/>
              <a:gd name="connsiteY9" fmla="*/ 6858413 h 7554674"/>
              <a:gd name="connsiteX10" fmla="*/ 10107329 w 10211993"/>
              <a:gd name="connsiteY10" fmla="*/ 7492390 h 7554674"/>
              <a:gd name="connsiteX11" fmla="*/ 10107414 w 10211993"/>
              <a:gd name="connsiteY11" fmla="*/ 7537418 h 7554674"/>
              <a:gd name="connsiteX0" fmla="*/ 13210 w 10691941"/>
              <a:gd name="connsiteY0" fmla="*/ 0 h 8014481"/>
              <a:gd name="connsiteX1" fmla="*/ 2744459 w 10691941"/>
              <a:gd name="connsiteY1" fmla="*/ 475083 h 8014481"/>
              <a:gd name="connsiteX2" fmla="*/ 3420981 w 10691941"/>
              <a:gd name="connsiteY2" fmla="*/ 1707757 h 8014481"/>
              <a:gd name="connsiteX3" fmla="*/ 4581297 w 10691941"/>
              <a:gd name="connsiteY3" fmla="*/ 2185565 h 8014481"/>
              <a:gd name="connsiteX4" fmla="*/ 5322931 w 10691941"/>
              <a:gd name="connsiteY4" fmla="*/ 3416929 h 8014481"/>
              <a:gd name="connsiteX5" fmla="*/ 6656529 w 10691941"/>
              <a:gd name="connsiteY5" fmla="*/ 3807472 h 8014481"/>
              <a:gd name="connsiteX6" fmla="*/ 7545108 w 10691941"/>
              <a:gd name="connsiteY6" fmla="*/ 4914090 h 8014481"/>
              <a:gd name="connsiteX7" fmla="*/ 9056969 w 10691941"/>
              <a:gd name="connsiteY7" fmla="*/ 5394841 h 8014481"/>
              <a:gd name="connsiteX8" fmla="*/ 9401089 w 10691941"/>
              <a:gd name="connsiteY8" fmla="*/ 6371258 h 8014481"/>
              <a:gd name="connsiteX9" fmla="*/ 10173901 w 10691941"/>
              <a:gd name="connsiteY9" fmla="*/ 6858413 h 8014481"/>
              <a:gd name="connsiteX10" fmla="*/ 10107329 w 10691941"/>
              <a:gd name="connsiteY10" fmla="*/ 7492390 h 8014481"/>
              <a:gd name="connsiteX11" fmla="*/ 10691941 w 10691941"/>
              <a:gd name="connsiteY11" fmla="*/ 8014480 h 8014481"/>
              <a:gd name="connsiteX0" fmla="*/ 13210 w 10736351"/>
              <a:gd name="connsiteY0" fmla="*/ 0 h 8058513"/>
              <a:gd name="connsiteX1" fmla="*/ 2744459 w 10736351"/>
              <a:gd name="connsiteY1" fmla="*/ 475083 h 8058513"/>
              <a:gd name="connsiteX2" fmla="*/ 3420981 w 10736351"/>
              <a:gd name="connsiteY2" fmla="*/ 1707757 h 8058513"/>
              <a:gd name="connsiteX3" fmla="*/ 4581297 w 10736351"/>
              <a:gd name="connsiteY3" fmla="*/ 2185565 h 8058513"/>
              <a:gd name="connsiteX4" fmla="*/ 5322931 w 10736351"/>
              <a:gd name="connsiteY4" fmla="*/ 3416929 h 8058513"/>
              <a:gd name="connsiteX5" fmla="*/ 6656529 w 10736351"/>
              <a:gd name="connsiteY5" fmla="*/ 3807472 h 8058513"/>
              <a:gd name="connsiteX6" fmla="*/ 7545108 w 10736351"/>
              <a:gd name="connsiteY6" fmla="*/ 4914090 h 8058513"/>
              <a:gd name="connsiteX7" fmla="*/ 9056969 w 10736351"/>
              <a:gd name="connsiteY7" fmla="*/ 5394841 h 8058513"/>
              <a:gd name="connsiteX8" fmla="*/ 9401089 w 10736351"/>
              <a:gd name="connsiteY8" fmla="*/ 6371258 h 8058513"/>
              <a:gd name="connsiteX9" fmla="*/ 10173901 w 10736351"/>
              <a:gd name="connsiteY9" fmla="*/ 6858413 h 8058513"/>
              <a:gd name="connsiteX10" fmla="*/ 10107329 w 10736351"/>
              <a:gd name="connsiteY10" fmla="*/ 7492390 h 8058513"/>
              <a:gd name="connsiteX11" fmla="*/ 10691941 w 10736351"/>
              <a:gd name="connsiteY11" fmla="*/ 8014480 h 8058513"/>
              <a:gd name="connsiteX12" fmla="*/ 10695737 w 10736351"/>
              <a:gd name="connsiteY12" fmla="*/ 8031792 h 8058513"/>
              <a:gd name="connsiteX0" fmla="*/ 13210 w 10712850"/>
              <a:gd name="connsiteY0" fmla="*/ 0 h 8444277"/>
              <a:gd name="connsiteX1" fmla="*/ 2744459 w 10712850"/>
              <a:gd name="connsiteY1" fmla="*/ 475083 h 8444277"/>
              <a:gd name="connsiteX2" fmla="*/ 3420981 w 10712850"/>
              <a:gd name="connsiteY2" fmla="*/ 1707757 h 8444277"/>
              <a:gd name="connsiteX3" fmla="*/ 4581297 w 10712850"/>
              <a:gd name="connsiteY3" fmla="*/ 2185565 h 8444277"/>
              <a:gd name="connsiteX4" fmla="*/ 5322931 w 10712850"/>
              <a:gd name="connsiteY4" fmla="*/ 3416929 h 8444277"/>
              <a:gd name="connsiteX5" fmla="*/ 6656529 w 10712850"/>
              <a:gd name="connsiteY5" fmla="*/ 3807472 h 8444277"/>
              <a:gd name="connsiteX6" fmla="*/ 7545108 w 10712850"/>
              <a:gd name="connsiteY6" fmla="*/ 4914090 h 8444277"/>
              <a:gd name="connsiteX7" fmla="*/ 9056969 w 10712850"/>
              <a:gd name="connsiteY7" fmla="*/ 5394841 h 8444277"/>
              <a:gd name="connsiteX8" fmla="*/ 9401089 w 10712850"/>
              <a:gd name="connsiteY8" fmla="*/ 6371258 h 8444277"/>
              <a:gd name="connsiteX9" fmla="*/ 10173901 w 10712850"/>
              <a:gd name="connsiteY9" fmla="*/ 6858413 h 8444277"/>
              <a:gd name="connsiteX10" fmla="*/ 10107329 w 10712850"/>
              <a:gd name="connsiteY10" fmla="*/ 7492390 h 8444277"/>
              <a:gd name="connsiteX11" fmla="*/ 10691941 w 10712850"/>
              <a:gd name="connsiteY11" fmla="*/ 8014480 h 8444277"/>
              <a:gd name="connsiteX12" fmla="*/ 10512022 w 10712850"/>
              <a:gd name="connsiteY12" fmla="*/ 8444276 h 8444277"/>
              <a:gd name="connsiteX0" fmla="*/ 13210 w 10712850"/>
              <a:gd name="connsiteY0" fmla="*/ 0 h 8444277"/>
              <a:gd name="connsiteX1" fmla="*/ 2744459 w 10712850"/>
              <a:gd name="connsiteY1" fmla="*/ 475083 h 8444277"/>
              <a:gd name="connsiteX2" fmla="*/ 3420981 w 10712850"/>
              <a:gd name="connsiteY2" fmla="*/ 1707757 h 8444277"/>
              <a:gd name="connsiteX3" fmla="*/ 4581297 w 10712850"/>
              <a:gd name="connsiteY3" fmla="*/ 2185565 h 8444277"/>
              <a:gd name="connsiteX4" fmla="*/ 5322931 w 10712850"/>
              <a:gd name="connsiteY4" fmla="*/ 3416929 h 8444277"/>
              <a:gd name="connsiteX5" fmla="*/ 6656529 w 10712850"/>
              <a:gd name="connsiteY5" fmla="*/ 3807472 h 8444277"/>
              <a:gd name="connsiteX6" fmla="*/ 7545108 w 10712850"/>
              <a:gd name="connsiteY6" fmla="*/ 4914090 h 8444277"/>
              <a:gd name="connsiteX7" fmla="*/ 9056969 w 10712850"/>
              <a:gd name="connsiteY7" fmla="*/ 5394841 h 8444277"/>
              <a:gd name="connsiteX8" fmla="*/ 9401089 w 10712850"/>
              <a:gd name="connsiteY8" fmla="*/ 6371258 h 8444277"/>
              <a:gd name="connsiteX9" fmla="*/ 10173901 w 10712850"/>
              <a:gd name="connsiteY9" fmla="*/ 6858413 h 8444277"/>
              <a:gd name="connsiteX10" fmla="*/ 10107329 w 10712850"/>
              <a:gd name="connsiteY10" fmla="*/ 7492390 h 8444277"/>
              <a:gd name="connsiteX11" fmla="*/ 10691941 w 10712850"/>
              <a:gd name="connsiteY11" fmla="*/ 8014480 h 8444277"/>
              <a:gd name="connsiteX12" fmla="*/ 10512022 w 10712850"/>
              <a:gd name="connsiteY12" fmla="*/ 8444277 h 8444277"/>
              <a:gd name="connsiteX0" fmla="*/ 13210 w 10712850"/>
              <a:gd name="connsiteY0" fmla="*/ 0 h 8468402"/>
              <a:gd name="connsiteX1" fmla="*/ 2744459 w 10712850"/>
              <a:gd name="connsiteY1" fmla="*/ 475083 h 8468402"/>
              <a:gd name="connsiteX2" fmla="*/ 3420981 w 10712850"/>
              <a:gd name="connsiteY2" fmla="*/ 1707757 h 8468402"/>
              <a:gd name="connsiteX3" fmla="*/ 4581297 w 10712850"/>
              <a:gd name="connsiteY3" fmla="*/ 2185565 h 8468402"/>
              <a:gd name="connsiteX4" fmla="*/ 5322931 w 10712850"/>
              <a:gd name="connsiteY4" fmla="*/ 3416929 h 8468402"/>
              <a:gd name="connsiteX5" fmla="*/ 6656529 w 10712850"/>
              <a:gd name="connsiteY5" fmla="*/ 3807472 h 8468402"/>
              <a:gd name="connsiteX6" fmla="*/ 7545108 w 10712850"/>
              <a:gd name="connsiteY6" fmla="*/ 4914090 h 8468402"/>
              <a:gd name="connsiteX7" fmla="*/ 9056969 w 10712850"/>
              <a:gd name="connsiteY7" fmla="*/ 5394841 h 8468402"/>
              <a:gd name="connsiteX8" fmla="*/ 9401089 w 10712850"/>
              <a:gd name="connsiteY8" fmla="*/ 6371258 h 8468402"/>
              <a:gd name="connsiteX9" fmla="*/ 10173901 w 10712850"/>
              <a:gd name="connsiteY9" fmla="*/ 6858413 h 8468402"/>
              <a:gd name="connsiteX10" fmla="*/ 10107329 w 10712850"/>
              <a:gd name="connsiteY10" fmla="*/ 7492390 h 8468402"/>
              <a:gd name="connsiteX11" fmla="*/ 10691941 w 10712850"/>
              <a:gd name="connsiteY11" fmla="*/ 8014480 h 8468402"/>
              <a:gd name="connsiteX12" fmla="*/ 10512022 w 10712850"/>
              <a:gd name="connsiteY12" fmla="*/ 8444277 h 8468402"/>
              <a:gd name="connsiteX13" fmla="*/ 10534555 w 10712850"/>
              <a:gd name="connsiteY13" fmla="*/ 8413067 h 8468402"/>
              <a:gd name="connsiteX0" fmla="*/ 13210 w 10813653"/>
              <a:gd name="connsiteY0" fmla="*/ 0 h 8658745"/>
              <a:gd name="connsiteX1" fmla="*/ 2744459 w 10813653"/>
              <a:gd name="connsiteY1" fmla="*/ 475083 h 8658745"/>
              <a:gd name="connsiteX2" fmla="*/ 3420981 w 10813653"/>
              <a:gd name="connsiteY2" fmla="*/ 1707757 h 8658745"/>
              <a:gd name="connsiteX3" fmla="*/ 4581297 w 10813653"/>
              <a:gd name="connsiteY3" fmla="*/ 2185565 h 8658745"/>
              <a:gd name="connsiteX4" fmla="*/ 5322931 w 10813653"/>
              <a:gd name="connsiteY4" fmla="*/ 3416929 h 8658745"/>
              <a:gd name="connsiteX5" fmla="*/ 6656529 w 10813653"/>
              <a:gd name="connsiteY5" fmla="*/ 3807472 h 8658745"/>
              <a:gd name="connsiteX6" fmla="*/ 7545108 w 10813653"/>
              <a:gd name="connsiteY6" fmla="*/ 4914090 h 8658745"/>
              <a:gd name="connsiteX7" fmla="*/ 9056969 w 10813653"/>
              <a:gd name="connsiteY7" fmla="*/ 5394841 h 8658745"/>
              <a:gd name="connsiteX8" fmla="*/ 9401089 w 10813653"/>
              <a:gd name="connsiteY8" fmla="*/ 6371258 h 8658745"/>
              <a:gd name="connsiteX9" fmla="*/ 10173901 w 10813653"/>
              <a:gd name="connsiteY9" fmla="*/ 6858413 h 8658745"/>
              <a:gd name="connsiteX10" fmla="*/ 10107329 w 10813653"/>
              <a:gd name="connsiteY10" fmla="*/ 7492390 h 8658745"/>
              <a:gd name="connsiteX11" fmla="*/ 10691941 w 10813653"/>
              <a:gd name="connsiteY11" fmla="*/ 8014480 h 8658745"/>
              <a:gd name="connsiteX12" fmla="*/ 10512022 w 10813653"/>
              <a:gd name="connsiteY12" fmla="*/ 8444277 h 8658745"/>
              <a:gd name="connsiteX13" fmla="*/ 10813653 w 10813653"/>
              <a:gd name="connsiteY13" fmla="*/ 8658547 h 8658745"/>
              <a:gd name="connsiteX0" fmla="*/ 13210 w 10813653"/>
              <a:gd name="connsiteY0" fmla="*/ 0 h 8658747"/>
              <a:gd name="connsiteX1" fmla="*/ 2744459 w 10813653"/>
              <a:gd name="connsiteY1" fmla="*/ 475083 h 8658747"/>
              <a:gd name="connsiteX2" fmla="*/ 3420981 w 10813653"/>
              <a:gd name="connsiteY2" fmla="*/ 1707757 h 8658747"/>
              <a:gd name="connsiteX3" fmla="*/ 4581297 w 10813653"/>
              <a:gd name="connsiteY3" fmla="*/ 2185565 h 8658747"/>
              <a:gd name="connsiteX4" fmla="*/ 5322931 w 10813653"/>
              <a:gd name="connsiteY4" fmla="*/ 3416929 h 8658747"/>
              <a:gd name="connsiteX5" fmla="*/ 6656529 w 10813653"/>
              <a:gd name="connsiteY5" fmla="*/ 3807472 h 8658747"/>
              <a:gd name="connsiteX6" fmla="*/ 7545108 w 10813653"/>
              <a:gd name="connsiteY6" fmla="*/ 4914090 h 8658747"/>
              <a:gd name="connsiteX7" fmla="*/ 9056969 w 10813653"/>
              <a:gd name="connsiteY7" fmla="*/ 5394841 h 8658747"/>
              <a:gd name="connsiteX8" fmla="*/ 9401089 w 10813653"/>
              <a:gd name="connsiteY8" fmla="*/ 6371258 h 8658747"/>
              <a:gd name="connsiteX9" fmla="*/ 10173901 w 10813653"/>
              <a:gd name="connsiteY9" fmla="*/ 6858413 h 8658747"/>
              <a:gd name="connsiteX10" fmla="*/ 10107329 w 10813653"/>
              <a:gd name="connsiteY10" fmla="*/ 7492390 h 8658747"/>
              <a:gd name="connsiteX11" fmla="*/ 10691941 w 10813653"/>
              <a:gd name="connsiteY11" fmla="*/ 8014480 h 8658747"/>
              <a:gd name="connsiteX12" fmla="*/ 10512022 w 10813653"/>
              <a:gd name="connsiteY12" fmla="*/ 8444277 h 8658747"/>
              <a:gd name="connsiteX13" fmla="*/ 10813653 w 10813653"/>
              <a:gd name="connsiteY13" fmla="*/ 8658547 h 8658747"/>
              <a:gd name="connsiteX0" fmla="*/ 13210 w 10813653"/>
              <a:gd name="connsiteY0" fmla="*/ 0 h 8658750"/>
              <a:gd name="connsiteX1" fmla="*/ 2744459 w 10813653"/>
              <a:gd name="connsiteY1" fmla="*/ 475083 h 8658750"/>
              <a:gd name="connsiteX2" fmla="*/ 3420981 w 10813653"/>
              <a:gd name="connsiteY2" fmla="*/ 1707757 h 8658750"/>
              <a:gd name="connsiteX3" fmla="*/ 4581297 w 10813653"/>
              <a:gd name="connsiteY3" fmla="*/ 2185565 h 8658750"/>
              <a:gd name="connsiteX4" fmla="*/ 5322931 w 10813653"/>
              <a:gd name="connsiteY4" fmla="*/ 3416929 h 8658750"/>
              <a:gd name="connsiteX5" fmla="*/ 6656529 w 10813653"/>
              <a:gd name="connsiteY5" fmla="*/ 3807472 h 8658750"/>
              <a:gd name="connsiteX6" fmla="*/ 7545108 w 10813653"/>
              <a:gd name="connsiteY6" fmla="*/ 4914090 h 8658750"/>
              <a:gd name="connsiteX7" fmla="*/ 9056969 w 10813653"/>
              <a:gd name="connsiteY7" fmla="*/ 5394841 h 8658750"/>
              <a:gd name="connsiteX8" fmla="*/ 9401089 w 10813653"/>
              <a:gd name="connsiteY8" fmla="*/ 6371258 h 8658750"/>
              <a:gd name="connsiteX9" fmla="*/ 10173901 w 10813653"/>
              <a:gd name="connsiteY9" fmla="*/ 6858413 h 8658750"/>
              <a:gd name="connsiteX10" fmla="*/ 10107329 w 10813653"/>
              <a:gd name="connsiteY10" fmla="*/ 7492390 h 8658750"/>
              <a:gd name="connsiteX11" fmla="*/ 10691941 w 10813653"/>
              <a:gd name="connsiteY11" fmla="*/ 8014480 h 8658750"/>
              <a:gd name="connsiteX12" fmla="*/ 10542149 w 10813653"/>
              <a:gd name="connsiteY12" fmla="*/ 8447692 h 8658750"/>
              <a:gd name="connsiteX13" fmla="*/ 10813653 w 10813653"/>
              <a:gd name="connsiteY13" fmla="*/ 8658547 h 8658750"/>
              <a:gd name="connsiteX0" fmla="*/ 13210 w 10813653"/>
              <a:gd name="connsiteY0" fmla="*/ 0 h 8659044"/>
              <a:gd name="connsiteX1" fmla="*/ 2744459 w 10813653"/>
              <a:gd name="connsiteY1" fmla="*/ 475083 h 8659044"/>
              <a:gd name="connsiteX2" fmla="*/ 3420981 w 10813653"/>
              <a:gd name="connsiteY2" fmla="*/ 1707757 h 8659044"/>
              <a:gd name="connsiteX3" fmla="*/ 4581297 w 10813653"/>
              <a:gd name="connsiteY3" fmla="*/ 2185565 h 8659044"/>
              <a:gd name="connsiteX4" fmla="*/ 5322931 w 10813653"/>
              <a:gd name="connsiteY4" fmla="*/ 3416929 h 8659044"/>
              <a:gd name="connsiteX5" fmla="*/ 6656529 w 10813653"/>
              <a:gd name="connsiteY5" fmla="*/ 3807472 h 8659044"/>
              <a:gd name="connsiteX6" fmla="*/ 7545108 w 10813653"/>
              <a:gd name="connsiteY6" fmla="*/ 4914090 h 8659044"/>
              <a:gd name="connsiteX7" fmla="*/ 9056969 w 10813653"/>
              <a:gd name="connsiteY7" fmla="*/ 5394841 h 8659044"/>
              <a:gd name="connsiteX8" fmla="*/ 9401089 w 10813653"/>
              <a:gd name="connsiteY8" fmla="*/ 6371258 h 8659044"/>
              <a:gd name="connsiteX9" fmla="*/ 10173901 w 10813653"/>
              <a:gd name="connsiteY9" fmla="*/ 6858413 h 8659044"/>
              <a:gd name="connsiteX10" fmla="*/ 10107329 w 10813653"/>
              <a:gd name="connsiteY10" fmla="*/ 7492390 h 8659044"/>
              <a:gd name="connsiteX11" fmla="*/ 10691941 w 10813653"/>
              <a:gd name="connsiteY11" fmla="*/ 8014480 h 8659044"/>
              <a:gd name="connsiteX12" fmla="*/ 10542149 w 10813653"/>
              <a:gd name="connsiteY12" fmla="*/ 8447692 h 8659044"/>
              <a:gd name="connsiteX13" fmla="*/ 10813653 w 10813653"/>
              <a:gd name="connsiteY13" fmla="*/ 8658547 h 8659044"/>
              <a:gd name="connsiteX0" fmla="*/ 13210 w 10813653"/>
              <a:gd name="connsiteY0" fmla="*/ 0 h 8659042"/>
              <a:gd name="connsiteX1" fmla="*/ 2744459 w 10813653"/>
              <a:gd name="connsiteY1" fmla="*/ 475083 h 8659042"/>
              <a:gd name="connsiteX2" fmla="*/ 3420981 w 10813653"/>
              <a:gd name="connsiteY2" fmla="*/ 1707757 h 8659042"/>
              <a:gd name="connsiteX3" fmla="*/ 4581297 w 10813653"/>
              <a:gd name="connsiteY3" fmla="*/ 2185565 h 8659042"/>
              <a:gd name="connsiteX4" fmla="*/ 5322931 w 10813653"/>
              <a:gd name="connsiteY4" fmla="*/ 3416929 h 8659042"/>
              <a:gd name="connsiteX5" fmla="*/ 6656529 w 10813653"/>
              <a:gd name="connsiteY5" fmla="*/ 3807472 h 8659042"/>
              <a:gd name="connsiteX6" fmla="*/ 7545108 w 10813653"/>
              <a:gd name="connsiteY6" fmla="*/ 4914090 h 8659042"/>
              <a:gd name="connsiteX7" fmla="*/ 9056969 w 10813653"/>
              <a:gd name="connsiteY7" fmla="*/ 5394841 h 8659042"/>
              <a:gd name="connsiteX8" fmla="*/ 9401089 w 10813653"/>
              <a:gd name="connsiteY8" fmla="*/ 6371258 h 8659042"/>
              <a:gd name="connsiteX9" fmla="*/ 10173901 w 10813653"/>
              <a:gd name="connsiteY9" fmla="*/ 6858413 h 8659042"/>
              <a:gd name="connsiteX10" fmla="*/ 10107329 w 10813653"/>
              <a:gd name="connsiteY10" fmla="*/ 7492390 h 8659042"/>
              <a:gd name="connsiteX11" fmla="*/ 10691941 w 10813653"/>
              <a:gd name="connsiteY11" fmla="*/ 8014480 h 8659042"/>
              <a:gd name="connsiteX12" fmla="*/ 10542149 w 10813653"/>
              <a:gd name="connsiteY12" fmla="*/ 8447692 h 8659042"/>
              <a:gd name="connsiteX13" fmla="*/ 10813653 w 10813653"/>
              <a:gd name="connsiteY13" fmla="*/ 8658547 h 8659042"/>
              <a:gd name="connsiteX0" fmla="*/ 13210 w 10813653"/>
              <a:gd name="connsiteY0" fmla="*/ 0 h 8659044"/>
              <a:gd name="connsiteX1" fmla="*/ 2744459 w 10813653"/>
              <a:gd name="connsiteY1" fmla="*/ 475083 h 8659044"/>
              <a:gd name="connsiteX2" fmla="*/ 3420981 w 10813653"/>
              <a:gd name="connsiteY2" fmla="*/ 1707757 h 8659044"/>
              <a:gd name="connsiteX3" fmla="*/ 4581297 w 10813653"/>
              <a:gd name="connsiteY3" fmla="*/ 2185565 h 8659044"/>
              <a:gd name="connsiteX4" fmla="*/ 5322931 w 10813653"/>
              <a:gd name="connsiteY4" fmla="*/ 3416929 h 8659044"/>
              <a:gd name="connsiteX5" fmla="*/ 6656529 w 10813653"/>
              <a:gd name="connsiteY5" fmla="*/ 3807472 h 8659044"/>
              <a:gd name="connsiteX6" fmla="*/ 7545108 w 10813653"/>
              <a:gd name="connsiteY6" fmla="*/ 4914090 h 8659044"/>
              <a:gd name="connsiteX7" fmla="*/ 9056969 w 10813653"/>
              <a:gd name="connsiteY7" fmla="*/ 5394841 h 8659044"/>
              <a:gd name="connsiteX8" fmla="*/ 9401089 w 10813653"/>
              <a:gd name="connsiteY8" fmla="*/ 6371258 h 8659044"/>
              <a:gd name="connsiteX9" fmla="*/ 10173901 w 10813653"/>
              <a:gd name="connsiteY9" fmla="*/ 6858413 h 8659044"/>
              <a:gd name="connsiteX10" fmla="*/ 10107329 w 10813653"/>
              <a:gd name="connsiteY10" fmla="*/ 7492390 h 8659044"/>
              <a:gd name="connsiteX11" fmla="*/ 10691941 w 10813653"/>
              <a:gd name="connsiteY11" fmla="*/ 8014480 h 8659044"/>
              <a:gd name="connsiteX12" fmla="*/ 10542149 w 10813653"/>
              <a:gd name="connsiteY12" fmla="*/ 8447692 h 8659044"/>
              <a:gd name="connsiteX13" fmla="*/ 10813653 w 10813653"/>
              <a:gd name="connsiteY13" fmla="*/ 8658547 h 8659044"/>
              <a:gd name="connsiteX0" fmla="*/ 13210 w 10813653"/>
              <a:gd name="connsiteY0" fmla="*/ 0 h 8659042"/>
              <a:gd name="connsiteX1" fmla="*/ 2744459 w 10813653"/>
              <a:gd name="connsiteY1" fmla="*/ 475083 h 8659042"/>
              <a:gd name="connsiteX2" fmla="*/ 3420981 w 10813653"/>
              <a:gd name="connsiteY2" fmla="*/ 1707757 h 8659042"/>
              <a:gd name="connsiteX3" fmla="*/ 4581297 w 10813653"/>
              <a:gd name="connsiteY3" fmla="*/ 2185565 h 8659042"/>
              <a:gd name="connsiteX4" fmla="*/ 5322931 w 10813653"/>
              <a:gd name="connsiteY4" fmla="*/ 3416929 h 8659042"/>
              <a:gd name="connsiteX5" fmla="*/ 6656529 w 10813653"/>
              <a:gd name="connsiteY5" fmla="*/ 3807472 h 8659042"/>
              <a:gd name="connsiteX6" fmla="*/ 7545108 w 10813653"/>
              <a:gd name="connsiteY6" fmla="*/ 4914090 h 8659042"/>
              <a:gd name="connsiteX7" fmla="*/ 9056969 w 10813653"/>
              <a:gd name="connsiteY7" fmla="*/ 5394841 h 8659042"/>
              <a:gd name="connsiteX8" fmla="*/ 9401089 w 10813653"/>
              <a:gd name="connsiteY8" fmla="*/ 6371258 h 8659042"/>
              <a:gd name="connsiteX9" fmla="*/ 10173901 w 10813653"/>
              <a:gd name="connsiteY9" fmla="*/ 6858413 h 8659042"/>
              <a:gd name="connsiteX10" fmla="*/ 10107329 w 10813653"/>
              <a:gd name="connsiteY10" fmla="*/ 7492390 h 8659042"/>
              <a:gd name="connsiteX11" fmla="*/ 10691941 w 10813653"/>
              <a:gd name="connsiteY11" fmla="*/ 8014480 h 8659042"/>
              <a:gd name="connsiteX12" fmla="*/ 10542149 w 10813653"/>
              <a:gd name="connsiteY12" fmla="*/ 8447692 h 8659042"/>
              <a:gd name="connsiteX13" fmla="*/ 10813653 w 10813653"/>
              <a:gd name="connsiteY13" fmla="*/ 8658547 h 8659042"/>
              <a:gd name="connsiteX0" fmla="*/ 13210 w 10813653"/>
              <a:gd name="connsiteY0" fmla="*/ 0 h 8659044"/>
              <a:gd name="connsiteX1" fmla="*/ 2744459 w 10813653"/>
              <a:gd name="connsiteY1" fmla="*/ 475083 h 8659044"/>
              <a:gd name="connsiteX2" fmla="*/ 3420981 w 10813653"/>
              <a:gd name="connsiteY2" fmla="*/ 1707757 h 8659044"/>
              <a:gd name="connsiteX3" fmla="*/ 4581297 w 10813653"/>
              <a:gd name="connsiteY3" fmla="*/ 2185565 h 8659044"/>
              <a:gd name="connsiteX4" fmla="*/ 5322931 w 10813653"/>
              <a:gd name="connsiteY4" fmla="*/ 3416929 h 8659044"/>
              <a:gd name="connsiteX5" fmla="*/ 6656529 w 10813653"/>
              <a:gd name="connsiteY5" fmla="*/ 3807472 h 8659044"/>
              <a:gd name="connsiteX6" fmla="*/ 7545108 w 10813653"/>
              <a:gd name="connsiteY6" fmla="*/ 4914090 h 8659044"/>
              <a:gd name="connsiteX7" fmla="*/ 9056969 w 10813653"/>
              <a:gd name="connsiteY7" fmla="*/ 5394841 h 8659044"/>
              <a:gd name="connsiteX8" fmla="*/ 9401089 w 10813653"/>
              <a:gd name="connsiteY8" fmla="*/ 6371258 h 8659044"/>
              <a:gd name="connsiteX9" fmla="*/ 10173901 w 10813653"/>
              <a:gd name="connsiteY9" fmla="*/ 6858413 h 8659044"/>
              <a:gd name="connsiteX10" fmla="*/ 10107329 w 10813653"/>
              <a:gd name="connsiteY10" fmla="*/ 7492390 h 8659044"/>
              <a:gd name="connsiteX11" fmla="*/ 10691941 w 10813653"/>
              <a:gd name="connsiteY11" fmla="*/ 8014480 h 8659044"/>
              <a:gd name="connsiteX12" fmla="*/ 10542149 w 10813653"/>
              <a:gd name="connsiteY12" fmla="*/ 8447692 h 8659044"/>
              <a:gd name="connsiteX13" fmla="*/ 10813653 w 10813653"/>
              <a:gd name="connsiteY13" fmla="*/ 8658547 h 8659044"/>
              <a:gd name="connsiteX0" fmla="*/ 13210 w 10813653"/>
              <a:gd name="connsiteY0" fmla="*/ 0 h 8659042"/>
              <a:gd name="connsiteX1" fmla="*/ 2744459 w 10813653"/>
              <a:gd name="connsiteY1" fmla="*/ 475083 h 8659042"/>
              <a:gd name="connsiteX2" fmla="*/ 3420981 w 10813653"/>
              <a:gd name="connsiteY2" fmla="*/ 1707757 h 8659042"/>
              <a:gd name="connsiteX3" fmla="*/ 4581297 w 10813653"/>
              <a:gd name="connsiteY3" fmla="*/ 2185565 h 8659042"/>
              <a:gd name="connsiteX4" fmla="*/ 5322931 w 10813653"/>
              <a:gd name="connsiteY4" fmla="*/ 3416929 h 8659042"/>
              <a:gd name="connsiteX5" fmla="*/ 6656529 w 10813653"/>
              <a:gd name="connsiteY5" fmla="*/ 3807472 h 8659042"/>
              <a:gd name="connsiteX6" fmla="*/ 7545108 w 10813653"/>
              <a:gd name="connsiteY6" fmla="*/ 4914090 h 8659042"/>
              <a:gd name="connsiteX7" fmla="*/ 9056969 w 10813653"/>
              <a:gd name="connsiteY7" fmla="*/ 5394841 h 8659042"/>
              <a:gd name="connsiteX8" fmla="*/ 9401089 w 10813653"/>
              <a:gd name="connsiteY8" fmla="*/ 6371258 h 8659042"/>
              <a:gd name="connsiteX9" fmla="*/ 10173901 w 10813653"/>
              <a:gd name="connsiteY9" fmla="*/ 6858413 h 8659042"/>
              <a:gd name="connsiteX10" fmla="*/ 10182992 w 10813653"/>
              <a:gd name="connsiteY10" fmla="*/ 7607939 h 8659042"/>
              <a:gd name="connsiteX11" fmla="*/ 10691941 w 10813653"/>
              <a:gd name="connsiteY11" fmla="*/ 8014480 h 8659042"/>
              <a:gd name="connsiteX12" fmla="*/ 10542149 w 10813653"/>
              <a:gd name="connsiteY12" fmla="*/ 8447692 h 8659042"/>
              <a:gd name="connsiteX13" fmla="*/ 10813653 w 10813653"/>
              <a:gd name="connsiteY13" fmla="*/ 8658547 h 8659042"/>
              <a:gd name="connsiteX0" fmla="*/ 13210 w 10813653"/>
              <a:gd name="connsiteY0" fmla="*/ 0 h 8658819"/>
              <a:gd name="connsiteX1" fmla="*/ 2744459 w 10813653"/>
              <a:gd name="connsiteY1" fmla="*/ 475083 h 8658819"/>
              <a:gd name="connsiteX2" fmla="*/ 3420981 w 10813653"/>
              <a:gd name="connsiteY2" fmla="*/ 1707757 h 8658819"/>
              <a:gd name="connsiteX3" fmla="*/ 4581297 w 10813653"/>
              <a:gd name="connsiteY3" fmla="*/ 2185565 h 8658819"/>
              <a:gd name="connsiteX4" fmla="*/ 5322931 w 10813653"/>
              <a:gd name="connsiteY4" fmla="*/ 3416929 h 8658819"/>
              <a:gd name="connsiteX5" fmla="*/ 6656529 w 10813653"/>
              <a:gd name="connsiteY5" fmla="*/ 3807472 h 8658819"/>
              <a:gd name="connsiteX6" fmla="*/ 7545108 w 10813653"/>
              <a:gd name="connsiteY6" fmla="*/ 4914090 h 8658819"/>
              <a:gd name="connsiteX7" fmla="*/ 9056969 w 10813653"/>
              <a:gd name="connsiteY7" fmla="*/ 5394841 h 8658819"/>
              <a:gd name="connsiteX8" fmla="*/ 9401089 w 10813653"/>
              <a:gd name="connsiteY8" fmla="*/ 6371258 h 8658819"/>
              <a:gd name="connsiteX9" fmla="*/ 10173901 w 10813653"/>
              <a:gd name="connsiteY9" fmla="*/ 6858413 h 8658819"/>
              <a:gd name="connsiteX10" fmla="*/ 10182992 w 10813653"/>
              <a:gd name="connsiteY10" fmla="*/ 7607939 h 8658819"/>
              <a:gd name="connsiteX11" fmla="*/ 10612637 w 10813653"/>
              <a:gd name="connsiteY11" fmla="*/ 8019947 h 8658819"/>
              <a:gd name="connsiteX12" fmla="*/ 10542149 w 10813653"/>
              <a:gd name="connsiteY12" fmla="*/ 8447692 h 8658819"/>
              <a:gd name="connsiteX13" fmla="*/ 10813653 w 10813653"/>
              <a:gd name="connsiteY13" fmla="*/ 8658547 h 8658819"/>
              <a:gd name="connsiteX0" fmla="*/ 13210 w 10813653"/>
              <a:gd name="connsiteY0" fmla="*/ 0 h 8658819"/>
              <a:gd name="connsiteX1" fmla="*/ 2744459 w 10813653"/>
              <a:gd name="connsiteY1" fmla="*/ 475083 h 8658819"/>
              <a:gd name="connsiteX2" fmla="*/ 3420981 w 10813653"/>
              <a:gd name="connsiteY2" fmla="*/ 1707757 h 8658819"/>
              <a:gd name="connsiteX3" fmla="*/ 4581297 w 10813653"/>
              <a:gd name="connsiteY3" fmla="*/ 2185565 h 8658819"/>
              <a:gd name="connsiteX4" fmla="*/ 5322931 w 10813653"/>
              <a:gd name="connsiteY4" fmla="*/ 3416929 h 8658819"/>
              <a:gd name="connsiteX5" fmla="*/ 6656529 w 10813653"/>
              <a:gd name="connsiteY5" fmla="*/ 3807472 h 8658819"/>
              <a:gd name="connsiteX6" fmla="*/ 7545108 w 10813653"/>
              <a:gd name="connsiteY6" fmla="*/ 4914090 h 8658819"/>
              <a:gd name="connsiteX7" fmla="*/ 9056969 w 10813653"/>
              <a:gd name="connsiteY7" fmla="*/ 5394841 h 8658819"/>
              <a:gd name="connsiteX8" fmla="*/ 9401089 w 10813653"/>
              <a:gd name="connsiteY8" fmla="*/ 6371258 h 8658819"/>
              <a:gd name="connsiteX9" fmla="*/ 10173901 w 10813653"/>
              <a:gd name="connsiteY9" fmla="*/ 6858413 h 8658819"/>
              <a:gd name="connsiteX10" fmla="*/ 10227654 w 10813653"/>
              <a:gd name="connsiteY10" fmla="*/ 7696846 h 8658819"/>
              <a:gd name="connsiteX11" fmla="*/ 10612637 w 10813653"/>
              <a:gd name="connsiteY11" fmla="*/ 8019947 h 8658819"/>
              <a:gd name="connsiteX12" fmla="*/ 10542149 w 10813653"/>
              <a:gd name="connsiteY12" fmla="*/ 8447692 h 8658819"/>
              <a:gd name="connsiteX13" fmla="*/ 10813653 w 10813653"/>
              <a:gd name="connsiteY13" fmla="*/ 8658547 h 8658819"/>
              <a:gd name="connsiteX0" fmla="*/ 13210 w 10813653"/>
              <a:gd name="connsiteY0" fmla="*/ 0 h 8658819"/>
              <a:gd name="connsiteX1" fmla="*/ 2744459 w 10813653"/>
              <a:gd name="connsiteY1" fmla="*/ 475083 h 8658819"/>
              <a:gd name="connsiteX2" fmla="*/ 3420981 w 10813653"/>
              <a:gd name="connsiteY2" fmla="*/ 1707757 h 8658819"/>
              <a:gd name="connsiteX3" fmla="*/ 4581297 w 10813653"/>
              <a:gd name="connsiteY3" fmla="*/ 2185565 h 8658819"/>
              <a:gd name="connsiteX4" fmla="*/ 5322931 w 10813653"/>
              <a:gd name="connsiteY4" fmla="*/ 3416929 h 8658819"/>
              <a:gd name="connsiteX5" fmla="*/ 6656529 w 10813653"/>
              <a:gd name="connsiteY5" fmla="*/ 3807472 h 8658819"/>
              <a:gd name="connsiteX6" fmla="*/ 7545108 w 10813653"/>
              <a:gd name="connsiteY6" fmla="*/ 4914090 h 8658819"/>
              <a:gd name="connsiteX7" fmla="*/ 9056969 w 10813653"/>
              <a:gd name="connsiteY7" fmla="*/ 5394841 h 8658819"/>
              <a:gd name="connsiteX8" fmla="*/ 9401089 w 10813653"/>
              <a:gd name="connsiteY8" fmla="*/ 6371258 h 8658819"/>
              <a:gd name="connsiteX9" fmla="*/ 10173901 w 10813653"/>
              <a:gd name="connsiteY9" fmla="*/ 6858413 h 8658819"/>
              <a:gd name="connsiteX10" fmla="*/ 10154072 w 10813653"/>
              <a:gd name="connsiteY10" fmla="*/ 7659595 h 8658819"/>
              <a:gd name="connsiteX11" fmla="*/ 10612637 w 10813653"/>
              <a:gd name="connsiteY11" fmla="*/ 8019947 h 8658819"/>
              <a:gd name="connsiteX12" fmla="*/ 10542149 w 10813653"/>
              <a:gd name="connsiteY12" fmla="*/ 8447692 h 8658819"/>
              <a:gd name="connsiteX13" fmla="*/ 10813653 w 10813653"/>
              <a:gd name="connsiteY13" fmla="*/ 8658547 h 8658819"/>
              <a:gd name="connsiteX0" fmla="*/ 13210 w 10813653"/>
              <a:gd name="connsiteY0" fmla="*/ 0 h 8658819"/>
              <a:gd name="connsiteX1" fmla="*/ 2744459 w 10813653"/>
              <a:gd name="connsiteY1" fmla="*/ 475083 h 8658819"/>
              <a:gd name="connsiteX2" fmla="*/ 3420981 w 10813653"/>
              <a:gd name="connsiteY2" fmla="*/ 1707757 h 8658819"/>
              <a:gd name="connsiteX3" fmla="*/ 4581297 w 10813653"/>
              <a:gd name="connsiteY3" fmla="*/ 2185565 h 8658819"/>
              <a:gd name="connsiteX4" fmla="*/ 5322931 w 10813653"/>
              <a:gd name="connsiteY4" fmla="*/ 3416929 h 8658819"/>
              <a:gd name="connsiteX5" fmla="*/ 6656529 w 10813653"/>
              <a:gd name="connsiteY5" fmla="*/ 3807472 h 8658819"/>
              <a:gd name="connsiteX6" fmla="*/ 7545108 w 10813653"/>
              <a:gd name="connsiteY6" fmla="*/ 4914090 h 8658819"/>
              <a:gd name="connsiteX7" fmla="*/ 9056969 w 10813653"/>
              <a:gd name="connsiteY7" fmla="*/ 5394841 h 8658819"/>
              <a:gd name="connsiteX8" fmla="*/ 9227180 w 10813653"/>
              <a:gd name="connsiteY8" fmla="*/ 6472972 h 8658819"/>
              <a:gd name="connsiteX9" fmla="*/ 10173901 w 10813653"/>
              <a:gd name="connsiteY9" fmla="*/ 6858413 h 8658819"/>
              <a:gd name="connsiteX10" fmla="*/ 10154072 w 10813653"/>
              <a:gd name="connsiteY10" fmla="*/ 7659595 h 8658819"/>
              <a:gd name="connsiteX11" fmla="*/ 10612637 w 10813653"/>
              <a:gd name="connsiteY11" fmla="*/ 8019947 h 8658819"/>
              <a:gd name="connsiteX12" fmla="*/ 10542149 w 10813653"/>
              <a:gd name="connsiteY12" fmla="*/ 8447692 h 8658819"/>
              <a:gd name="connsiteX13" fmla="*/ 10813653 w 10813653"/>
              <a:gd name="connsiteY13" fmla="*/ 8658547 h 8658819"/>
              <a:gd name="connsiteX0" fmla="*/ 13210 w 10813653"/>
              <a:gd name="connsiteY0" fmla="*/ 0 h 8658819"/>
              <a:gd name="connsiteX1" fmla="*/ 2744459 w 10813653"/>
              <a:gd name="connsiteY1" fmla="*/ 475083 h 8658819"/>
              <a:gd name="connsiteX2" fmla="*/ 3420981 w 10813653"/>
              <a:gd name="connsiteY2" fmla="*/ 1707757 h 8658819"/>
              <a:gd name="connsiteX3" fmla="*/ 4581297 w 10813653"/>
              <a:gd name="connsiteY3" fmla="*/ 2185565 h 8658819"/>
              <a:gd name="connsiteX4" fmla="*/ 5322931 w 10813653"/>
              <a:gd name="connsiteY4" fmla="*/ 3416929 h 8658819"/>
              <a:gd name="connsiteX5" fmla="*/ 6656529 w 10813653"/>
              <a:gd name="connsiteY5" fmla="*/ 3807472 h 8658819"/>
              <a:gd name="connsiteX6" fmla="*/ 7545108 w 10813653"/>
              <a:gd name="connsiteY6" fmla="*/ 4914090 h 8658819"/>
              <a:gd name="connsiteX7" fmla="*/ 9449228 w 10813653"/>
              <a:gd name="connsiteY7" fmla="*/ 5164648 h 8658819"/>
              <a:gd name="connsiteX8" fmla="*/ 9227180 w 10813653"/>
              <a:gd name="connsiteY8" fmla="*/ 6472972 h 8658819"/>
              <a:gd name="connsiteX9" fmla="*/ 10173901 w 10813653"/>
              <a:gd name="connsiteY9" fmla="*/ 6858413 h 8658819"/>
              <a:gd name="connsiteX10" fmla="*/ 10154072 w 10813653"/>
              <a:gd name="connsiteY10" fmla="*/ 7659595 h 8658819"/>
              <a:gd name="connsiteX11" fmla="*/ 10612637 w 10813653"/>
              <a:gd name="connsiteY11" fmla="*/ 8019947 h 8658819"/>
              <a:gd name="connsiteX12" fmla="*/ 10542149 w 10813653"/>
              <a:gd name="connsiteY12" fmla="*/ 8447692 h 8658819"/>
              <a:gd name="connsiteX13" fmla="*/ 10813653 w 10813653"/>
              <a:gd name="connsiteY13" fmla="*/ 8658547 h 8658819"/>
              <a:gd name="connsiteX0" fmla="*/ 13210 w 10813653"/>
              <a:gd name="connsiteY0" fmla="*/ 0 h 8658819"/>
              <a:gd name="connsiteX1" fmla="*/ 2744459 w 10813653"/>
              <a:gd name="connsiteY1" fmla="*/ 475083 h 8658819"/>
              <a:gd name="connsiteX2" fmla="*/ 3420981 w 10813653"/>
              <a:gd name="connsiteY2" fmla="*/ 1707757 h 8658819"/>
              <a:gd name="connsiteX3" fmla="*/ 4581297 w 10813653"/>
              <a:gd name="connsiteY3" fmla="*/ 2185565 h 8658819"/>
              <a:gd name="connsiteX4" fmla="*/ 5322931 w 10813653"/>
              <a:gd name="connsiteY4" fmla="*/ 3416929 h 8658819"/>
              <a:gd name="connsiteX5" fmla="*/ 6656529 w 10813653"/>
              <a:gd name="connsiteY5" fmla="*/ 3807472 h 8658819"/>
              <a:gd name="connsiteX6" fmla="*/ 7545108 w 10813653"/>
              <a:gd name="connsiteY6" fmla="*/ 4914090 h 8658819"/>
              <a:gd name="connsiteX7" fmla="*/ 9362341 w 10813653"/>
              <a:gd name="connsiteY7" fmla="*/ 5250205 h 8658819"/>
              <a:gd name="connsiteX8" fmla="*/ 9227180 w 10813653"/>
              <a:gd name="connsiteY8" fmla="*/ 6472972 h 8658819"/>
              <a:gd name="connsiteX9" fmla="*/ 10173901 w 10813653"/>
              <a:gd name="connsiteY9" fmla="*/ 6858413 h 8658819"/>
              <a:gd name="connsiteX10" fmla="*/ 10154072 w 10813653"/>
              <a:gd name="connsiteY10" fmla="*/ 7659595 h 8658819"/>
              <a:gd name="connsiteX11" fmla="*/ 10612637 w 10813653"/>
              <a:gd name="connsiteY11" fmla="*/ 8019947 h 8658819"/>
              <a:gd name="connsiteX12" fmla="*/ 10542149 w 10813653"/>
              <a:gd name="connsiteY12" fmla="*/ 8447692 h 8658819"/>
              <a:gd name="connsiteX13" fmla="*/ 10813653 w 10813653"/>
              <a:gd name="connsiteY13" fmla="*/ 8658547 h 8658819"/>
              <a:gd name="connsiteX0" fmla="*/ 13210 w 10813653"/>
              <a:gd name="connsiteY0" fmla="*/ 0 h 8658819"/>
              <a:gd name="connsiteX1" fmla="*/ 2744459 w 10813653"/>
              <a:gd name="connsiteY1" fmla="*/ 475083 h 8658819"/>
              <a:gd name="connsiteX2" fmla="*/ 3420981 w 10813653"/>
              <a:gd name="connsiteY2" fmla="*/ 1707757 h 8658819"/>
              <a:gd name="connsiteX3" fmla="*/ 4581297 w 10813653"/>
              <a:gd name="connsiteY3" fmla="*/ 2185565 h 8658819"/>
              <a:gd name="connsiteX4" fmla="*/ 5322931 w 10813653"/>
              <a:gd name="connsiteY4" fmla="*/ 3416929 h 8658819"/>
              <a:gd name="connsiteX5" fmla="*/ 6656529 w 10813653"/>
              <a:gd name="connsiteY5" fmla="*/ 3807472 h 8658819"/>
              <a:gd name="connsiteX6" fmla="*/ 7545108 w 10813653"/>
              <a:gd name="connsiteY6" fmla="*/ 4914090 h 8658819"/>
              <a:gd name="connsiteX7" fmla="*/ 9362341 w 10813653"/>
              <a:gd name="connsiteY7" fmla="*/ 5250205 h 8658819"/>
              <a:gd name="connsiteX8" fmla="*/ 9227180 w 10813653"/>
              <a:gd name="connsiteY8" fmla="*/ 6472972 h 8658819"/>
              <a:gd name="connsiteX9" fmla="*/ 10259233 w 10813653"/>
              <a:gd name="connsiteY9" fmla="*/ 6972167 h 8658819"/>
              <a:gd name="connsiteX10" fmla="*/ 10154072 w 10813653"/>
              <a:gd name="connsiteY10" fmla="*/ 7659595 h 8658819"/>
              <a:gd name="connsiteX11" fmla="*/ 10612637 w 10813653"/>
              <a:gd name="connsiteY11" fmla="*/ 8019947 h 8658819"/>
              <a:gd name="connsiteX12" fmla="*/ 10542149 w 10813653"/>
              <a:gd name="connsiteY12" fmla="*/ 8447692 h 8658819"/>
              <a:gd name="connsiteX13" fmla="*/ 10813653 w 10813653"/>
              <a:gd name="connsiteY13" fmla="*/ 8658547 h 8658819"/>
              <a:gd name="connsiteX0" fmla="*/ 13210 w 10813653"/>
              <a:gd name="connsiteY0" fmla="*/ 0 h 8658819"/>
              <a:gd name="connsiteX1" fmla="*/ 2744459 w 10813653"/>
              <a:gd name="connsiteY1" fmla="*/ 475083 h 8658819"/>
              <a:gd name="connsiteX2" fmla="*/ 3420981 w 10813653"/>
              <a:gd name="connsiteY2" fmla="*/ 1707757 h 8658819"/>
              <a:gd name="connsiteX3" fmla="*/ 4581297 w 10813653"/>
              <a:gd name="connsiteY3" fmla="*/ 2185565 h 8658819"/>
              <a:gd name="connsiteX4" fmla="*/ 5322931 w 10813653"/>
              <a:gd name="connsiteY4" fmla="*/ 3416929 h 8658819"/>
              <a:gd name="connsiteX5" fmla="*/ 6656529 w 10813653"/>
              <a:gd name="connsiteY5" fmla="*/ 3807472 h 8658819"/>
              <a:gd name="connsiteX6" fmla="*/ 7545108 w 10813653"/>
              <a:gd name="connsiteY6" fmla="*/ 4914090 h 8658819"/>
              <a:gd name="connsiteX7" fmla="*/ 9362341 w 10813653"/>
              <a:gd name="connsiteY7" fmla="*/ 5250205 h 8658819"/>
              <a:gd name="connsiteX8" fmla="*/ 9304707 w 10813653"/>
              <a:gd name="connsiteY8" fmla="*/ 6551148 h 8658819"/>
              <a:gd name="connsiteX9" fmla="*/ 10259233 w 10813653"/>
              <a:gd name="connsiteY9" fmla="*/ 6972167 h 8658819"/>
              <a:gd name="connsiteX10" fmla="*/ 10154072 w 10813653"/>
              <a:gd name="connsiteY10" fmla="*/ 7659595 h 8658819"/>
              <a:gd name="connsiteX11" fmla="*/ 10612637 w 10813653"/>
              <a:gd name="connsiteY11" fmla="*/ 8019947 h 8658819"/>
              <a:gd name="connsiteX12" fmla="*/ 10542149 w 10813653"/>
              <a:gd name="connsiteY12" fmla="*/ 8447692 h 8658819"/>
              <a:gd name="connsiteX13" fmla="*/ 10813653 w 10813653"/>
              <a:gd name="connsiteY13" fmla="*/ 8658547 h 8658819"/>
              <a:gd name="connsiteX0" fmla="*/ 13210 w 10813653"/>
              <a:gd name="connsiteY0" fmla="*/ 0 h 8658819"/>
              <a:gd name="connsiteX1" fmla="*/ 2744459 w 10813653"/>
              <a:gd name="connsiteY1" fmla="*/ 475083 h 8658819"/>
              <a:gd name="connsiteX2" fmla="*/ 3420981 w 10813653"/>
              <a:gd name="connsiteY2" fmla="*/ 1707757 h 8658819"/>
              <a:gd name="connsiteX3" fmla="*/ 4581297 w 10813653"/>
              <a:gd name="connsiteY3" fmla="*/ 2185565 h 8658819"/>
              <a:gd name="connsiteX4" fmla="*/ 5322931 w 10813653"/>
              <a:gd name="connsiteY4" fmla="*/ 3416929 h 8658819"/>
              <a:gd name="connsiteX5" fmla="*/ 6656529 w 10813653"/>
              <a:gd name="connsiteY5" fmla="*/ 3807472 h 8658819"/>
              <a:gd name="connsiteX6" fmla="*/ 7545108 w 10813653"/>
              <a:gd name="connsiteY6" fmla="*/ 4914090 h 8658819"/>
              <a:gd name="connsiteX7" fmla="*/ 9362341 w 10813653"/>
              <a:gd name="connsiteY7" fmla="*/ 5250205 h 8658819"/>
              <a:gd name="connsiteX8" fmla="*/ 9258183 w 10813653"/>
              <a:gd name="connsiteY8" fmla="*/ 6499614 h 8658819"/>
              <a:gd name="connsiteX9" fmla="*/ 10259233 w 10813653"/>
              <a:gd name="connsiteY9" fmla="*/ 6972167 h 8658819"/>
              <a:gd name="connsiteX10" fmla="*/ 10154072 w 10813653"/>
              <a:gd name="connsiteY10" fmla="*/ 7659595 h 8658819"/>
              <a:gd name="connsiteX11" fmla="*/ 10612637 w 10813653"/>
              <a:gd name="connsiteY11" fmla="*/ 8019947 h 8658819"/>
              <a:gd name="connsiteX12" fmla="*/ 10542149 w 10813653"/>
              <a:gd name="connsiteY12" fmla="*/ 8447692 h 8658819"/>
              <a:gd name="connsiteX13" fmla="*/ 10813653 w 10813653"/>
              <a:gd name="connsiteY13" fmla="*/ 8658547 h 8658819"/>
              <a:gd name="connsiteX0" fmla="*/ 13210 w 10813653"/>
              <a:gd name="connsiteY0" fmla="*/ 0 h 8658819"/>
              <a:gd name="connsiteX1" fmla="*/ 2744459 w 10813653"/>
              <a:gd name="connsiteY1" fmla="*/ 475083 h 8658819"/>
              <a:gd name="connsiteX2" fmla="*/ 3420981 w 10813653"/>
              <a:gd name="connsiteY2" fmla="*/ 1707757 h 8658819"/>
              <a:gd name="connsiteX3" fmla="*/ 4581297 w 10813653"/>
              <a:gd name="connsiteY3" fmla="*/ 2185565 h 8658819"/>
              <a:gd name="connsiteX4" fmla="*/ 5322931 w 10813653"/>
              <a:gd name="connsiteY4" fmla="*/ 3416929 h 8658819"/>
              <a:gd name="connsiteX5" fmla="*/ 6656529 w 10813653"/>
              <a:gd name="connsiteY5" fmla="*/ 3807472 h 8658819"/>
              <a:gd name="connsiteX6" fmla="*/ 7545108 w 10813653"/>
              <a:gd name="connsiteY6" fmla="*/ 4914090 h 8658819"/>
              <a:gd name="connsiteX7" fmla="*/ 9362341 w 10813653"/>
              <a:gd name="connsiteY7" fmla="*/ 5250205 h 8658819"/>
              <a:gd name="connsiteX8" fmla="*/ 9242704 w 10813653"/>
              <a:gd name="connsiteY8" fmla="*/ 6497859 h 8658819"/>
              <a:gd name="connsiteX9" fmla="*/ 10259233 w 10813653"/>
              <a:gd name="connsiteY9" fmla="*/ 6972167 h 8658819"/>
              <a:gd name="connsiteX10" fmla="*/ 10154072 w 10813653"/>
              <a:gd name="connsiteY10" fmla="*/ 7659595 h 8658819"/>
              <a:gd name="connsiteX11" fmla="*/ 10612637 w 10813653"/>
              <a:gd name="connsiteY11" fmla="*/ 8019947 h 8658819"/>
              <a:gd name="connsiteX12" fmla="*/ 10542149 w 10813653"/>
              <a:gd name="connsiteY12" fmla="*/ 8447692 h 8658819"/>
              <a:gd name="connsiteX13" fmla="*/ 10813653 w 10813653"/>
              <a:gd name="connsiteY13" fmla="*/ 8658547 h 8658819"/>
              <a:gd name="connsiteX0" fmla="*/ 13210 w 10813653"/>
              <a:gd name="connsiteY0" fmla="*/ 0 h 8658819"/>
              <a:gd name="connsiteX1" fmla="*/ 2744459 w 10813653"/>
              <a:gd name="connsiteY1" fmla="*/ 475083 h 8658819"/>
              <a:gd name="connsiteX2" fmla="*/ 3420981 w 10813653"/>
              <a:gd name="connsiteY2" fmla="*/ 1707757 h 8658819"/>
              <a:gd name="connsiteX3" fmla="*/ 4581297 w 10813653"/>
              <a:gd name="connsiteY3" fmla="*/ 2185565 h 8658819"/>
              <a:gd name="connsiteX4" fmla="*/ 5322931 w 10813653"/>
              <a:gd name="connsiteY4" fmla="*/ 3416929 h 8658819"/>
              <a:gd name="connsiteX5" fmla="*/ 6656529 w 10813653"/>
              <a:gd name="connsiteY5" fmla="*/ 3807472 h 8658819"/>
              <a:gd name="connsiteX6" fmla="*/ 7545108 w 10813653"/>
              <a:gd name="connsiteY6" fmla="*/ 4914090 h 8658819"/>
              <a:gd name="connsiteX7" fmla="*/ 9362341 w 10813653"/>
              <a:gd name="connsiteY7" fmla="*/ 5250205 h 8658819"/>
              <a:gd name="connsiteX8" fmla="*/ 9242704 w 10813653"/>
              <a:gd name="connsiteY8" fmla="*/ 6497859 h 8658819"/>
              <a:gd name="connsiteX9" fmla="*/ 10259233 w 10813653"/>
              <a:gd name="connsiteY9" fmla="*/ 6972167 h 8658819"/>
              <a:gd name="connsiteX10" fmla="*/ 10154072 w 10813653"/>
              <a:gd name="connsiteY10" fmla="*/ 7659595 h 8658819"/>
              <a:gd name="connsiteX11" fmla="*/ 10612637 w 10813653"/>
              <a:gd name="connsiteY11" fmla="*/ 8019947 h 8658819"/>
              <a:gd name="connsiteX12" fmla="*/ 10542149 w 10813653"/>
              <a:gd name="connsiteY12" fmla="*/ 8447692 h 8658819"/>
              <a:gd name="connsiteX13" fmla="*/ 10813653 w 10813653"/>
              <a:gd name="connsiteY13" fmla="*/ 8658547 h 8658819"/>
              <a:gd name="connsiteX0" fmla="*/ 13210 w 10813653"/>
              <a:gd name="connsiteY0" fmla="*/ 0 h 8658796"/>
              <a:gd name="connsiteX1" fmla="*/ 2744459 w 10813653"/>
              <a:gd name="connsiteY1" fmla="*/ 475083 h 8658796"/>
              <a:gd name="connsiteX2" fmla="*/ 3420981 w 10813653"/>
              <a:gd name="connsiteY2" fmla="*/ 1707757 h 8658796"/>
              <a:gd name="connsiteX3" fmla="*/ 4581297 w 10813653"/>
              <a:gd name="connsiteY3" fmla="*/ 2185565 h 8658796"/>
              <a:gd name="connsiteX4" fmla="*/ 5322931 w 10813653"/>
              <a:gd name="connsiteY4" fmla="*/ 3416929 h 8658796"/>
              <a:gd name="connsiteX5" fmla="*/ 6656529 w 10813653"/>
              <a:gd name="connsiteY5" fmla="*/ 3807472 h 8658796"/>
              <a:gd name="connsiteX6" fmla="*/ 7545108 w 10813653"/>
              <a:gd name="connsiteY6" fmla="*/ 4914090 h 8658796"/>
              <a:gd name="connsiteX7" fmla="*/ 9362341 w 10813653"/>
              <a:gd name="connsiteY7" fmla="*/ 5250205 h 8658796"/>
              <a:gd name="connsiteX8" fmla="*/ 9242704 w 10813653"/>
              <a:gd name="connsiteY8" fmla="*/ 6497859 h 8658796"/>
              <a:gd name="connsiteX9" fmla="*/ 10259233 w 10813653"/>
              <a:gd name="connsiteY9" fmla="*/ 6972167 h 8658796"/>
              <a:gd name="connsiteX10" fmla="*/ 10154072 w 10813653"/>
              <a:gd name="connsiteY10" fmla="*/ 7659595 h 8658796"/>
              <a:gd name="connsiteX11" fmla="*/ 10612637 w 10813653"/>
              <a:gd name="connsiteY11" fmla="*/ 8019947 h 8658796"/>
              <a:gd name="connsiteX12" fmla="*/ 10643807 w 10813653"/>
              <a:gd name="connsiteY12" fmla="*/ 8436794 h 8658796"/>
              <a:gd name="connsiteX13" fmla="*/ 10813653 w 10813653"/>
              <a:gd name="connsiteY13" fmla="*/ 8658547 h 8658796"/>
              <a:gd name="connsiteX0" fmla="*/ 13210 w 10663261"/>
              <a:gd name="connsiteY0" fmla="*/ 0 h 8810500"/>
              <a:gd name="connsiteX1" fmla="*/ 2744459 w 10663261"/>
              <a:gd name="connsiteY1" fmla="*/ 475083 h 8810500"/>
              <a:gd name="connsiteX2" fmla="*/ 3420981 w 10663261"/>
              <a:gd name="connsiteY2" fmla="*/ 1707757 h 8810500"/>
              <a:gd name="connsiteX3" fmla="*/ 4581297 w 10663261"/>
              <a:gd name="connsiteY3" fmla="*/ 2185565 h 8810500"/>
              <a:gd name="connsiteX4" fmla="*/ 5322931 w 10663261"/>
              <a:gd name="connsiteY4" fmla="*/ 3416929 h 8810500"/>
              <a:gd name="connsiteX5" fmla="*/ 6656529 w 10663261"/>
              <a:gd name="connsiteY5" fmla="*/ 3807472 h 8810500"/>
              <a:gd name="connsiteX6" fmla="*/ 7545108 w 10663261"/>
              <a:gd name="connsiteY6" fmla="*/ 4914090 h 8810500"/>
              <a:gd name="connsiteX7" fmla="*/ 9362341 w 10663261"/>
              <a:gd name="connsiteY7" fmla="*/ 5250205 h 8810500"/>
              <a:gd name="connsiteX8" fmla="*/ 9242704 w 10663261"/>
              <a:gd name="connsiteY8" fmla="*/ 6497859 h 8810500"/>
              <a:gd name="connsiteX9" fmla="*/ 10259233 w 10663261"/>
              <a:gd name="connsiteY9" fmla="*/ 6972167 h 8810500"/>
              <a:gd name="connsiteX10" fmla="*/ 10154072 w 10663261"/>
              <a:gd name="connsiteY10" fmla="*/ 7659595 h 8810500"/>
              <a:gd name="connsiteX11" fmla="*/ 10612637 w 10663261"/>
              <a:gd name="connsiteY11" fmla="*/ 8019947 h 8810500"/>
              <a:gd name="connsiteX12" fmla="*/ 10643807 w 10663261"/>
              <a:gd name="connsiteY12" fmla="*/ 8436794 h 8810500"/>
              <a:gd name="connsiteX13" fmla="*/ 10542658 w 10663261"/>
              <a:gd name="connsiteY13" fmla="*/ 8810374 h 8810500"/>
              <a:gd name="connsiteX0" fmla="*/ 13210 w 10635550"/>
              <a:gd name="connsiteY0" fmla="*/ 0 h 8810508"/>
              <a:gd name="connsiteX1" fmla="*/ 2744459 w 10635550"/>
              <a:gd name="connsiteY1" fmla="*/ 475083 h 8810508"/>
              <a:gd name="connsiteX2" fmla="*/ 3420981 w 10635550"/>
              <a:gd name="connsiteY2" fmla="*/ 1707757 h 8810508"/>
              <a:gd name="connsiteX3" fmla="*/ 4581297 w 10635550"/>
              <a:gd name="connsiteY3" fmla="*/ 2185565 h 8810508"/>
              <a:gd name="connsiteX4" fmla="*/ 5322931 w 10635550"/>
              <a:gd name="connsiteY4" fmla="*/ 3416929 h 8810508"/>
              <a:gd name="connsiteX5" fmla="*/ 6656529 w 10635550"/>
              <a:gd name="connsiteY5" fmla="*/ 3807472 h 8810508"/>
              <a:gd name="connsiteX6" fmla="*/ 7545108 w 10635550"/>
              <a:gd name="connsiteY6" fmla="*/ 4914090 h 8810508"/>
              <a:gd name="connsiteX7" fmla="*/ 9362341 w 10635550"/>
              <a:gd name="connsiteY7" fmla="*/ 5250205 h 8810508"/>
              <a:gd name="connsiteX8" fmla="*/ 9242704 w 10635550"/>
              <a:gd name="connsiteY8" fmla="*/ 6497859 h 8810508"/>
              <a:gd name="connsiteX9" fmla="*/ 10259233 w 10635550"/>
              <a:gd name="connsiteY9" fmla="*/ 6972167 h 8810508"/>
              <a:gd name="connsiteX10" fmla="*/ 10154072 w 10635550"/>
              <a:gd name="connsiteY10" fmla="*/ 7659595 h 8810508"/>
              <a:gd name="connsiteX11" fmla="*/ 10612637 w 10635550"/>
              <a:gd name="connsiteY11" fmla="*/ 8019947 h 8810508"/>
              <a:gd name="connsiteX12" fmla="*/ 10564127 w 10635550"/>
              <a:gd name="connsiteY12" fmla="*/ 8454663 h 8810508"/>
              <a:gd name="connsiteX13" fmla="*/ 10542658 w 10635550"/>
              <a:gd name="connsiteY13" fmla="*/ 8810374 h 8810508"/>
              <a:gd name="connsiteX0" fmla="*/ 13210 w 10626142"/>
              <a:gd name="connsiteY0" fmla="*/ 0 h 8810529"/>
              <a:gd name="connsiteX1" fmla="*/ 2744459 w 10626142"/>
              <a:gd name="connsiteY1" fmla="*/ 475083 h 8810529"/>
              <a:gd name="connsiteX2" fmla="*/ 3420981 w 10626142"/>
              <a:gd name="connsiteY2" fmla="*/ 1707757 h 8810529"/>
              <a:gd name="connsiteX3" fmla="*/ 4581297 w 10626142"/>
              <a:gd name="connsiteY3" fmla="*/ 2185565 h 8810529"/>
              <a:gd name="connsiteX4" fmla="*/ 5322931 w 10626142"/>
              <a:gd name="connsiteY4" fmla="*/ 3416929 h 8810529"/>
              <a:gd name="connsiteX5" fmla="*/ 6656529 w 10626142"/>
              <a:gd name="connsiteY5" fmla="*/ 3807472 h 8810529"/>
              <a:gd name="connsiteX6" fmla="*/ 7545108 w 10626142"/>
              <a:gd name="connsiteY6" fmla="*/ 4914090 h 8810529"/>
              <a:gd name="connsiteX7" fmla="*/ 9362341 w 10626142"/>
              <a:gd name="connsiteY7" fmla="*/ 5250205 h 8810529"/>
              <a:gd name="connsiteX8" fmla="*/ 9242704 w 10626142"/>
              <a:gd name="connsiteY8" fmla="*/ 6497859 h 8810529"/>
              <a:gd name="connsiteX9" fmla="*/ 10259233 w 10626142"/>
              <a:gd name="connsiteY9" fmla="*/ 6972167 h 8810529"/>
              <a:gd name="connsiteX10" fmla="*/ 10154072 w 10626142"/>
              <a:gd name="connsiteY10" fmla="*/ 7659595 h 8810529"/>
              <a:gd name="connsiteX11" fmla="*/ 10612637 w 10626142"/>
              <a:gd name="connsiteY11" fmla="*/ 8019947 h 8810529"/>
              <a:gd name="connsiteX12" fmla="*/ 10507616 w 10626142"/>
              <a:gd name="connsiteY12" fmla="*/ 8486689 h 8810529"/>
              <a:gd name="connsiteX13" fmla="*/ 10542658 w 10626142"/>
              <a:gd name="connsiteY13" fmla="*/ 8810374 h 8810529"/>
              <a:gd name="connsiteX0" fmla="*/ 13210 w 10626140"/>
              <a:gd name="connsiteY0" fmla="*/ 0 h 8810529"/>
              <a:gd name="connsiteX1" fmla="*/ 2744459 w 10626140"/>
              <a:gd name="connsiteY1" fmla="*/ 475083 h 8810529"/>
              <a:gd name="connsiteX2" fmla="*/ 3420981 w 10626140"/>
              <a:gd name="connsiteY2" fmla="*/ 1707757 h 8810529"/>
              <a:gd name="connsiteX3" fmla="*/ 4581297 w 10626140"/>
              <a:gd name="connsiteY3" fmla="*/ 2185565 h 8810529"/>
              <a:gd name="connsiteX4" fmla="*/ 5322931 w 10626140"/>
              <a:gd name="connsiteY4" fmla="*/ 3416929 h 8810529"/>
              <a:gd name="connsiteX5" fmla="*/ 6844368 w 10626140"/>
              <a:gd name="connsiteY5" fmla="*/ 3800117 h 8810529"/>
              <a:gd name="connsiteX6" fmla="*/ 7545108 w 10626140"/>
              <a:gd name="connsiteY6" fmla="*/ 4914090 h 8810529"/>
              <a:gd name="connsiteX7" fmla="*/ 9362341 w 10626140"/>
              <a:gd name="connsiteY7" fmla="*/ 5250205 h 8810529"/>
              <a:gd name="connsiteX8" fmla="*/ 9242704 w 10626140"/>
              <a:gd name="connsiteY8" fmla="*/ 6497859 h 8810529"/>
              <a:gd name="connsiteX9" fmla="*/ 10259233 w 10626140"/>
              <a:gd name="connsiteY9" fmla="*/ 6972167 h 8810529"/>
              <a:gd name="connsiteX10" fmla="*/ 10154072 w 10626140"/>
              <a:gd name="connsiteY10" fmla="*/ 7659595 h 8810529"/>
              <a:gd name="connsiteX11" fmla="*/ 10612637 w 10626140"/>
              <a:gd name="connsiteY11" fmla="*/ 8019947 h 8810529"/>
              <a:gd name="connsiteX12" fmla="*/ 10507616 w 10626140"/>
              <a:gd name="connsiteY12" fmla="*/ 8486689 h 8810529"/>
              <a:gd name="connsiteX13" fmla="*/ 10542658 w 10626140"/>
              <a:gd name="connsiteY13" fmla="*/ 8810374 h 8810529"/>
              <a:gd name="connsiteX0" fmla="*/ 13210 w 10626142"/>
              <a:gd name="connsiteY0" fmla="*/ 0 h 8810529"/>
              <a:gd name="connsiteX1" fmla="*/ 2744459 w 10626142"/>
              <a:gd name="connsiteY1" fmla="*/ 475083 h 8810529"/>
              <a:gd name="connsiteX2" fmla="*/ 3420981 w 10626142"/>
              <a:gd name="connsiteY2" fmla="*/ 1707757 h 8810529"/>
              <a:gd name="connsiteX3" fmla="*/ 4581297 w 10626142"/>
              <a:gd name="connsiteY3" fmla="*/ 2185565 h 8810529"/>
              <a:gd name="connsiteX4" fmla="*/ 5166114 w 10626142"/>
              <a:gd name="connsiteY4" fmla="*/ 3611150 h 8810529"/>
              <a:gd name="connsiteX5" fmla="*/ 6844368 w 10626142"/>
              <a:gd name="connsiteY5" fmla="*/ 3800117 h 8810529"/>
              <a:gd name="connsiteX6" fmla="*/ 7545108 w 10626142"/>
              <a:gd name="connsiteY6" fmla="*/ 4914090 h 8810529"/>
              <a:gd name="connsiteX7" fmla="*/ 9362341 w 10626142"/>
              <a:gd name="connsiteY7" fmla="*/ 5250205 h 8810529"/>
              <a:gd name="connsiteX8" fmla="*/ 9242704 w 10626142"/>
              <a:gd name="connsiteY8" fmla="*/ 6497859 h 8810529"/>
              <a:gd name="connsiteX9" fmla="*/ 10259233 w 10626142"/>
              <a:gd name="connsiteY9" fmla="*/ 6972167 h 8810529"/>
              <a:gd name="connsiteX10" fmla="*/ 10154072 w 10626142"/>
              <a:gd name="connsiteY10" fmla="*/ 7659595 h 8810529"/>
              <a:gd name="connsiteX11" fmla="*/ 10612637 w 10626142"/>
              <a:gd name="connsiteY11" fmla="*/ 8019947 h 8810529"/>
              <a:gd name="connsiteX12" fmla="*/ 10507616 w 10626142"/>
              <a:gd name="connsiteY12" fmla="*/ 8486689 h 8810529"/>
              <a:gd name="connsiteX13" fmla="*/ 10542658 w 10626142"/>
              <a:gd name="connsiteY13" fmla="*/ 8810374 h 8810529"/>
              <a:gd name="connsiteX0" fmla="*/ 13122 w 10626052"/>
              <a:gd name="connsiteY0" fmla="*/ 0 h 8810529"/>
              <a:gd name="connsiteX1" fmla="*/ 2744371 w 10626052"/>
              <a:gd name="connsiteY1" fmla="*/ 475083 h 8810529"/>
              <a:gd name="connsiteX2" fmla="*/ 3317521 w 10626052"/>
              <a:gd name="connsiteY2" fmla="*/ 1781983 h 8810529"/>
              <a:gd name="connsiteX3" fmla="*/ 4581209 w 10626052"/>
              <a:gd name="connsiteY3" fmla="*/ 2185565 h 8810529"/>
              <a:gd name="connsiteX4" fmla="*/ 5166026 w 10626052"/>
              <a:gd name="connsiteY4" fmla="*/ 3611150 h 8810529"/>
              <a:gd name="connsiteX5" fmla="*/ 6844280 w 10626052"/>
              <a:gd name="connsiteY5" fmla="*/ 3800117 h 8810529"/>
              <a:gd name="connsiteX6" fmla="*/ 7545020 w 10626052"/>
              <a:gd name="connsiteY6" fmla="*/ 4914090 h 8810529"/>
              <a:gd name="connsiteX7" fmla="*/ 9362253 w 10626052"/>
              <a:gd name="connsiteY7" fmla="*/ 5250205 h 8810529"/>
              <a:gd name="connsiteX8" fmla="*/ 9242616 w 10626052"/>
              <a:gd name="connsiteY8" fmla="*/ 6497859 h 8810529"/>
              <a:gd name="connsiteX9" fmla="*/ 10259145 w 10626052"/>
              <a:gd name="connsiteY9" fmla="*/ 6972167 h 8810529"/>
              <a:gd name="connsiteX10" fmla="*/ 10153984 w 10626052"/>
              <a:gd name="connsiteY10" fmla="*/ 7659595 h 8810529"/>
              <a:gd name="connsiteX11" fmla="*/ 10612549 w 10626052"/>
              <a:gd name="connsiteY11" fmla="*/ 8019947 h 8810529"/>
              <a:gd name="connsiteX12" fmla="*/ 10507528 w 10626052"/>
              <a:gd name="connsiteY12" fmla="*/ 8486689 h 8810529"/>
              <a:gd name="connsiteX13" fmla="*/ 10542570 w 10626052"/>
              <a:gd name="connsiteY13" fmla="*/ 8810374 h 8810529"/>
              <a:gd name="connsiteX0" fmla="*/ 13829 w 10626760"/>
              <a:gd name="connsiteY0" fmla="*/ 0 h 8810529"/>
              <a:gd name="connsiteX1" fmla="*/ 2614549 w 10626760"/>
              <a:gd name="connsiteY1" fmla="*/ 380071 h 8810529"/>
              <a:gd name="connsiteX2" fmla="*/ 3318228 w 10626760"/>
              <a:gd name="connsiteY2" fmla="*/ 1781983 h 8810529"/>
              <a:gd name="connsiteX3" fmla="*/ 4581916 w 10626760"/>
              <a:gd name="connsiteY3" fmla="*/ 2185565 h 8810529"/>
              <a:gd name="connsiteX4" fmla="*/ 5166733 w 10626760"/>
              <a:gd name="connsiteY4" fmla="*/ 3611150 h 8810529"/>
              <a:gd name="connsiteX5" fmla="*/ 6844987 w 10626760"/>
              <a:gd name="connsiteY5" fmla="*/ 3800117 h 8810529"/>
              <a:gd name="connsiteX6" fmla="*/ 7545727 w 10626760"/>
              <a:gd name="connsiteY6" fmla="*/ 4914090 h 8810529"/>
              <a:gd name="connsiteX7" fmla="*/ 9362960 w 10626760"/>
              <a:gd name="connsiteY7" fmla="*/ 5250205 h 8810529"/>
              <a:gd name="connsiteX8" fmla="*/ 9243323 w 10626760"/>
              <a:gd name="connsiteY8" fmla="*/ 6497859 h 8810529"/>
              <a:gd name="connsiteX9" fmla="*/ 10259852 w 10626760"/>
              <a:gd name="connsiteY9" fmla="*/ 6972167 h 8810529"/>
              <a:gd name="connsiteX10" fmla="*/ 10154691 w 10626760"/>
              <a:gd name="connsiteY10" fmla="*/ 7659595 h 8810529"/>
              <a:gd name="connsiteX11" fmla="*/ 10613256 w 10626760"/>
              <a:gd name="connsiteY11" fmla="*/ 8019947 h 8810529"/>
              <a:gd name="connsiteX12" fmla="*/ 10508235 w 10626760"/>
              <a:gd name="connsiteY12" fmla="*/ 8486689 h 8810529"/>
              <a:gd name="connsiteX13" fmla="*/ 10543277 w 10626760"/>
              <a:gd name="connsiteY13" fmla="*/ 8810374 h 8810529"/>
              <a:gd name="connsiteX0" fmla="*/ 13829 w 10626760"/>
              <a:gd name="connsiteY0" fmla="*/ 0 h 8810529"/>
              <a:gd name="connsiteX1" fmla="*/ 2614549 w 10626760"/>
              <a:gd name="connsiteY1" fmla="*/ 380071 h 8810529"/>
              <a:gd name="connsiteX2" fmla="*/ 3318228 w 10626760"/>
              <a:gd name="connsiteY2" fmla="*/ 1781983 h 8810529"/>
              <a:gd name="connsiteX3" fmla="*/ 4581916 w 10626760"/>
              <a:gd name="connsiteY3" fmla="*/ 2185565 h 8810529"/>
              <a:gd name="connsiteX4" fmla="*/ 6844987 w 10626760"/>
              <a:gd name="connsiteY4" fmla="*/ 3800117 h 8810529"/>
              <a:gd name="connsiteX5" fmla="*/ 7545727 w 10626760"/>
              <a:gd name="connsiteY5" fmla="*/ 4914090 h 8810529"/>
              <a:gd name="connsiteX6" fmla="*/ 9362960 w 10626760"/>
              <a:gd name="connsiteY6" fmla="*/ 5250205 h 8810529"/>
              <a:gd name="connsiteX7" fmla="*/ 9243323 w 10626760"/>
              <a:gd name="connsiteY7" fmla="*/ 6497859 h 8810529"/>
              <a:gd name="connsiteX8" fmla="*/ 10259852 w 10626760"/>
              <a:gd name="connsiteY8" fmla="*/ 6972167 h 8810529"/>
              <a:gd name="connsiteX9" fmla="*/ 10154691 w 10626760"/>
              <a:gd name="connsiteY9" fmla="*/ 7659595 h 8810529"/>
              <a:gd name="connsiteX10" fmla="*/ 10613256 w 10626760"/>
              <a:gd name="connsiteY10" fmla="*/ 8019947 h 8810529"/>
              <a:gd name="connsiteX11" fmla="*/ 10508235 w 10626760"/>
              <a:gd name="connsiteY11" fmla="*/ 8486689 h 8810529"/>
              <a:gd name="connsiteX12" fmla="*/ 10543277 w 10626760"/>
              <a:gd name="connsiteY12" fmla="*/ 8810374 h 8810529"/>
              <a:gd name="connsiteX0" fmla="*/ 13829 w 10626760"/>
              <a:gd name="connsiteY0" fmla="*/ 0 h 8810529"/>
              <a:gd name="connsiteX1" fmla="*/ 2614549 w 10626760"/>
              <a:gd name="connsiteY1" fmla="*/ 380071 h 8810529"/>
              <a:gd name="connsiteX2" fmla="*/ 3318228 w 10626760"/>
              <a:gd name="connsiteY2" fmla="*/ 1781983 h 8810529"/>
              <a:gd name="connsiteX3" fmla="*/ 6844987 w 10626760"/>
              <a:gd name="connsiteY3" fmla="*/ 3800117 h 8810529"/>
              <a:gd name="connsiteX4" fmla="*/ 7545727 w 10626760"/>
              <a:gd name="connsiteY4" fmla="*/ 4914090 h 8810529"/>
              <a:gd name="connsiteX5" fmla="*/ 9362960 w 10626760"/>
              <a:gd name="connsiteY5" fmla="*/ 5250205 h 8810529"/>
              <a:gd name="connsiteX6" fmla="*/ 9243323 w 10626760"/>
              <a:gd name="connsiteY6" fmla="*/ 6497859 h 8810529"/>
              <a:gd name="connsiteX7" fmla="*/ 10259852 w 10626760"/>
              <a:gd name="connsiteY7" fmla="*/ 6972167 h 8810529"/>
              <a:gd name="connsiteX8" fmla="*/ 10154691 w 10626760"/>
              <a:gd name="connsiteY8" fmla="*/ 7659595 h 8810529"/>
              <a:gd name="connsiteX9" fmla="*/ 10613256 w 10626760"/>
              <a:gd name="connsiteY9" fmla="*/ 8019947 h 8810529"/>
              <a:gd name="connsiteX10" fmla="*/ 10508235 w 10626760"/>
              <a:gd name="connsiteY10" fmla="*/ 8486689 h 8810529"/>
              <a:gd name="connsiteX11" fmla="*/ 10543277 w 10626760"/>
              <a:gd name="connsiteY11" fmla="*/ 8810374 h 8810529"/>
              <a:gd name="connsiteX0" fmla="*/ 13829 w 10626760"/>
              <a:gd name="connsiteY0" fmla="*/ 0 h 8810529"/>
              <a:gd name="connsiteX1" fmla="*/ 2614549 w 10626760"/>
              <a:gd name="connsiteY1" fmla="*/ 380071 h 8810529"/>
              <a:gd name="connsiteX2" fmla="*/ 3318228 w 10626760"/>
              <a:gd name="connsiteY2" fmla="*/ 1781983 h 8810529"/>
              <a:gd name="connsiteX3" fmla="*/ 5693268 w 10626760"/>
              <a:gd name="connsiteY3" fmla="*/ 2959073 h 8810529"/>
              <a:gd name="connsiteX4" fmla="*/ 7545727 w 10626760"/>
              <a:gd name="connsiteY4" fmla="*/ 4914090 h 8810529"/>
              <a:gd name="connsiteX5" fmla="*/ 9362960 w 10626760"/>
              <a:gd name="connsiteY5" fmla="*/ 5250205 h 8810529"/>
              <a:gd name="connsiteX6" fmla="*/ 9243323 w 10626760"/>
              <a:gd name="connsiteY6" fmla="*/ 6497859 h 8810529"/>
              <a:gd name="connsiteX7" fmla="*/ 10259852 w 10626760"/>
              <a:gd name="connsiteY7" fmla="*/ 6972167 h 8810529"/>
              <a:gd name="connsiteX8" fmla="*/ 10154691 w 10626760"/>
              <a:gd name="connsiteY8" fmla="*/ 7659595 h 8810529"/>
              <a:gd name="connsiteX9" fmla="*/ 10613256 w 10626760"/>
              <a:gd name="connsiteY9" fmla="*/ 8019947 h 8810529"/>
              <a:gd name="connsiteX10" fmla="*/ 10508235 w 10626760"/>
              <a:gd name="connsiteY10" fmla="*/ 8486689 h 8810529"/>
              <a:gd name="connsiteX11" fmla="*/ 10543277 w 10626760"/>
              <a:gd name="connsiteY11" fmla="*/ 8810374 h 8810529"/>
              <a:gd name="connsiteX0" fmla="*/ 13829 w 10626760"/>
              <a:gd name="connsiteY0" fmla="*/ 0 h 8810529"/>
              <a:gd name="connsiteX1" fmla="*/ 2614549 w 10626760"/>
              <a:gd name="connsiteY1" fmla="*/ 380071 h 8810529"/>
              <a:gd name="connsiteX2" fmla="*/ 3318228 w 10626760"/>
              <a:gd name="connsiteY2" fmla="*/ 1781983 h 8810529"/>
              <a:gd name="connsiteX3" fmla="*/ 5693268 w 10626760"/>
              <a:gd name="connsiteY3" fmla="*/ 2959073 h 8810529"/>
              <a:gd name="connsiteX4" fmla="*/ 6793759 w 10626760"/>
              <a:gd name="connsiteY4" fmla="*/ 4622579 h 8810529"/>
              <a:gd name="connsiteX5" fmla="*/ 9362960 w 10626760"/>
              <a:gd name="connsiteY5" fmla="*/ 5250205 h 8810529"/>
              <a:gd name="connsiteX6" fmla="*/ 9243323 w 10626760"/>
              <a:gd name="connsiteY6" fmla="*/ 6497859 h 8810529"/>
              <a:gd name="connsiteX7" fmla="*/ 10259852 w 10626760"/>
              <a:gd name="connsiteY7" fmla="*/ 6972167 h 8810529"/>
              <a:gd name="connsiteX8" fmla="*/ 10154691 w 10626760"/>
              <a:gd name="connsiteY8" fmla="*/ 7659595 h 8810529"/>
              <a:gd name="connsiteX9" fmla="*/ 10613256 w 10626760"/>
              <a:gd name="connsiteY9" fmla="*/ 8019947 h 8810529"/>
              <a:gd name="connsiteX10" fmla="*/ 10508235 w 10626760"/>
              <a:gd name="connsiteY10" fmla="*/ 8486689 h 8810529"/>
              <a:gd name="connsiteX11" fmla="*/ 10543277 w 10626760"/>
              <a:gd name="connsiteY11" fmla="*/ 8810374 h 8810529"/>
              <a:gd name="connsiteX0" fmla="*/ 13829 w 10626760"/>
              <a:gd name="connsiteY0" fmla="*/ 0 h 8810529"/>
              <a:gd name="connsiteX1" fmla="*/ 2614549 w 10626760"/>
              <a:gd name="connsiteY1" fmla="*/ 380071 h 8810529"/>
              <a:gd name="connsiteX2" fmla="*/ 3318228 w 10626760"/>
              <a:gd name="connsiteY2" fmla="*/ 1781983 h 8810529"/>
              <a:gd name="connsiteX3" fmla="*/ 5647124 w 10626760"/>
              <a:gd name="connsiteY3" fmla="*/ 2885086 h 8810529"/>
              <a:gd name="connsiteX4" fmla="*/ 6793759 w 10626760"/>
              <a:gd name="connsiteY4" fmla="*/ 4622579 h 8810529"/>
              <a:gd name="connsiteX5" fmla="*/ 9362960 w 10626760"/>
              <a:gd name="connsiteY5" fmla="*/ 5250205 h 8810529"/>
              <a:gd name="connsiteX6" fmla="*/ 9243323 w 10626760"/>
              <a:gd name="connsiteY6" fmla="*/ 6497859 h 8810529"/>
              <a:gd name="connsiteX7" fmla="*/ 10259852 w 10626760"/>
              <a:gd name="connsiteY7" fmla="*/ 6972167 h 8810529"/>
              <a:gd name="connsiteX8" fmla="*/ 10154691 w 10626760"/>
              <a:gd name="connsiteY8" fmla="*/ 7659595 h 8810529"/>
              <a:gd name="connsiteX9" fmla="*/ 10613256 w 10626760"/>
              <a:gd name="connsiteY9" fmla="*/ 8019947 h 8810529"/>
              <a:gd name="connsiteX10" fmla="*/ 10508235 w 10626760"/>
              <a:gd name="connsiteY10" fmla="*/ 8486689 h 8810529"/>
              <a:gd name="connsiteX11" fmla="*/ 10543277 w 10626760"/>
              <a:gd name="connsiteY11" fmla="*/ 8810374 h 8810529"/>
              <a:gd name="connsiteX0" fmla="*/ 13847 w 10626778"/>
              <a:gd name="connsiteY0" fmla="*/ 0 h 8810529"/>
              <a:gd name="connsiteX1" fmla="*/ 2614567 w 10626778"/>
              <a:gd name="connsiteY1" fmla="*/ 380071 h 8810529"/>
              <a:gd name="connsiteX2" fmla="*/ 3338538 w 10626778"/>
              <a:gd name="connsiteY2" fmla="*/ 2374443 h 8810529"/>
              <a:gd name="connsiteX3" fmla="*/ 5647142 w 10626778"/>
              <a:gd name="connsiteY3" fmla="*/ 2885086 h 8810529"/>
              <a:gd name="connsiteX4" fmla="*/ 6793777 w 10626778"/>
              <a:gd name="connsiteY4" fmla="*/ 4622579 h 8810529"/>
              <a:gd name="connsiteX5" fmla="*/ 9362978 w 10626778"/>
              <a:gd name="connsiteY5" fmla="*/ 5250205 h 8810529"/>
              <a:gd name="connsiteX6" fmla="*/ 9243341 w 10626778"/>
              <a:gd name="connsiteY6" fmla="*/ 6497859 h 8810529"/>
              <a:gd name="connsiteX7" fmla="*/ 10259870 w 10626778"/>
              <a:gd name="connsiteY7" fmla="*/ 6972167 h 8810529"/>
              <a:gd name="connsiteX8" fmla="*/ 10154709 w 10626778"/>
              <a:gd name="connsiteY8" fmla="*/ 7659595 h 8810529"/>
              <a:gd name="connsiteX9" fmla="*/ 10613274 w 10626778"/>
              <a:gd name="connsiteY9" fmla="*/ 8019947 h 8810529"/>
              <a:gd name="connsiteX10" fmla="*/ 10508253 w 10626778"/>
              <a:gd name="connsiteY10" fmla="*/ 8486689 h 8810529"/>
              <a:gd name="connsiteX11" fmla="*/ 10543295 w 10626778"/>
              <a:gd name="connsiteY11" fmla="*/ 8810374 h 8810529"/>
              <a:gd name="connsiteX0" fmla="*/ 14274 w 10627205"/>
              <a:gd name="connsiteY0" fmla="*/ 0 h 8810529"/>
              <a:gd name="connsiteX1" fmla="*/ 2542911 w 10627205"/>
              <a:gd name="connsiteY1" fmla="*/ 778709 h 8810529"/>
              <a:gd name="connsiteX2" fmla="*/ 3338965 w 10627205"/>
              <a:gd name="connsiteY2" fmla="*/ 2374443 h 8810529"/>
              <a:gd name="connsiteX3" fmla="*/ 5647569 w 10627205"/>
              <a:gd name="connsiteY3" fmla="*/ 2885086 h 8810529"/>
              <a:gd name="connsiteX4" fmla="*/ 6794204 w 10627205"/>
              <a:gd name="connsiteY4" fmla="*/ 4622579 h 8810529"/>
              <a:gd name="connsiteX5" fmla="*/ 9363405 w 10627205"/>
              <a:gd name="connsiteY5" fmla="*/ 5250205 h 8810529"/>
              <a:gd name="connsiteX6" fmla="*/ 9243768 w 10627205"/>
              <a:gd name="connsiteY6" fmla="*/ 6497859 h 8810529"/>
              <a:gd name="connsiteX7" fmla="*/ 10260297 w 10627205"/>
              <a:gd name="connsiteY7" fmla="*/ 6972167 h 8810529"/>
              <a:gd name="connsiteX8" fmla="*/ 10155136 w 10627205"/>
              <a:gd name="connsiteY8" fmla="*/ 7659595 h 8810529"/>
              <a:gd name="connsiteX9" fmla="*/ 10613701 w 10627205"/>
              <a:gd name="connsiteY9" fmla="*/ 8019947 h 8810529"/>
              <a:gd name="connsiteX10" fmla="*/ 10508680 w 10627205"/>
              <a:gd name="connsiteY10" fmla="*/ 8486689 h 8810529"/>
              <a:gd name="connsiteX11" fmla="*/ 10543722 w 10627205"/>
              <a:gd name="connsiteY11" fmla="*/ 8810374 h 8810529"/>
              <a:gd name="connsiteX0" fmla="*/ 13064 w 10886005"/>
              <a:gd name="connsiteY0" fmla="*/ 0 h 8450384"/>
              <a:gd name="connsiteX1" fmla="*/ 2801711 w 10886005"/>
              <a:gd name="connsiteY1" fmla="*/ 418564 h 8450384"/>
              <a:gd name="connsiteX2" fmla="*/ 3597765 w 10886005"/>
              <a:gd name="connsiteY2" fmla="*/ 2014298 h 8450384"/>
              <a:gd name="connsiteX3" fmla="*/ 5906369 w 10886005"/>
              <a:gd name="connsiteY3" fmla="*/ 2524941 h 8450384"/>
              <a:gd name="connsiteX4" fmla="*/ 7053004 w 10886005"/>
              <a:gd name="connsiteY4" fmla="*/ 4262434 h 8450384"/>
              <a:gd name="connsiteX5" fmla="*/ 9622205 w 10886005"/>
              <a:gd name="connsiteY5" fmla="*/ 4890060 h 8450384"/>
              <a:gd name="connsiteX6" fmla="*/ 9502568 w 10886005"/>
              <a:gd name="connsiteY6" fmla="*/ 6137714 h 8450384"/>
              <a:gd name="connsiteX7" fmla="*/ 10519097 w 10886005"/>
              <a:gd name="connsiteY7" fmla="*/ 6612022 h 8450384"/>
              <a:gd name="connsiteX8" fmla="*/ 10413936 w 10886005"/>
              <a:gd name="connsiteY8" fmla="*/ 7299450 h 8450384"/>
              <a:gd name="connsiteX9" fmla="*/ 10872501 w 10886005"/>
              <a:gd name="connsiteY9" fmla="*/ 7659802 h 8450384"/>
              <a:gd name="connsiteX10" fmla="*/ 10767480 w 10886005"/>
              <a:gd name="connsiteY10" fmla="*/ 8126544 h 8450384"/>
              <a:gd name="connsiteX11" fmla="*/ 10802522 w 10886005"/>
              <a:gd name="connsiteY11" fmla="*/ 8450229 h 8450384"/>
              <a:gd name="connsiteX0" fmla="*/ 13064 w 10886005"/>
              <a:gd name="connsiteY0" fmla="*/ 0 h 8450384"/>
              <a:gd name="connsiteX1" fmla="*/ 2801711 w 10886005"/>
              <a:gd name="connsiteY1" fmla="*/ 418564 h 8450384"/>
              <a:gd name="connsiteX2" fmla="*/ 3597765 w 10886005"/>
              <a:gd name="connsiteY2" fmla="*/ 2014298 h 8450384"/>
              <a:gd name="connsiteX3" fmla="*/ 5906369 w 10886005"/>
              <a:gd name="connsiteY3" fmla="*/ 2524941 h 8450384"/>
              <a:gd name="connsiteX4" fmla="*/ 7053004 w 10886005"/>
              <a:gd name="connsiteY4" fmla="*/ 4262434 h 8450384"/>
              <a:gd name="connsiteX5" fmla="*/ 9786841 w 10886005"/>
              <a:gd name="connsiteY5" fmla="*/ 4776941 h 8450384"/>
              <a:gd name="connsiteX6" fmla="*/ 9502568 w 10886005"/>
              <a:gd name="connsiteY6" fmla="*/ 6137714 h 8450384"/>
              <a:gd name="connsiteX7" fmla="*/ 10519097 w 10886005"/>
              <a:gd name="connsiteY7" fmla="*/ 6612022 h 8450384"/>
              <a:gd name="connsiteX8" fmla="*/ 10413936 w 10886005"/>
              <a:gd name="connsiteY8" fmla="*/ 7299450 h 8450384"/>
              <a:gd name="connsiteX9" fmla="*/ 10872501 w 10886005"/>
              <a:gd name="connsiteY9" fmla="*/ 7659802 h 8450384"/>
              <a:gd name="connsiteX10" fmla="*/ 10767480 w 10886005"/>
              <a:gd name="connsiteY10" fmla="*/ 8126544 h 8450384"/>
              <a:gd name="connsiteX11" fmla="*/ 10802522 w 10886005"/>
              <a:gd name="connsiteY11" fmla="*/ 8450229 h 8450384"/>
              <a:gd name="connsiteX0" fmla="*/ 13064 w 10886005"/>
              <a:gd name="connsiteY0" fmla="*/ 0 h 8450384"/>
              <a:gd name="connsiteX1" fmla="*/ 2801711 w 10886005"/>
              <a:gd name="connsiteY1" fmla="*/ 418564 h 8450384"/>
              <a:gd name="connsiteX2" fmla="*/ 3597765 w 10886005"/>
              <a:gd name="connsiteY2" fmla="*/ 2014298 h 8450384"/>
              <a:gd name="connsiteX3" fmla="*/ 5906369 w 10886005"/>
              <a:gd name="connsiteY3" fmla="*/ 2524941 h 8450384"/>
              <a:gd name="connsiteX4" fmla="*/ 7213862 w 10886005"/>
              <a:gd name="connsiteY4" fmla="*/ 4177534 h 8450384"/>
              <a:gd name="connsiteX5" fmla="*/ 9786841 w 10886005"/>
              <a:gd name="connsiteY5" fmla="*/ 4776941 h 8450384"/>
              <a:gd name="connsiteX6" fmla="*/ 9502568 w 10886005"/>
              <a:gd name="connsiteY6" fmla="*/ 6137714 h 8450384"/>
              <a:gd name="connsiteX7" fmla="*/ 10519097 w 10886005"/>
              <a:gd name="connsiteY7" fmla="*/ 6612022 h 8450384"/>
              <a:gd name="connsiteX8" fmla="*/ 10413936 w 10886005"/>
              <a:gd name="connsiteY8" fmla="*/ 7299450 h 8450384"/>
              <a:gd name="connsiteX9" fmla="*/ 10872501 w 10886005"/>
              <a:gd name="connsiteY9" fmla="*/ 7659802 h 8450384"/>
              <a:gd name="connsiteX10" fmla="*/ 10767480 w 10886005"/>
              <a:gd name="connsiteY10" fmla="*/ 8126544 h 8450384"/>
              <a:gd name="connsiteX11" fmla="*/ 10802522 w 10886005"/>
              <a:gd name="connsiteY11" fmla="*/ 8450229 h 8450384"/>
              <a:gd name="connsiteX0" fmla="*/ 13064 w 10886005"/>
              <a:gd name="connsiteY0" fmla="*/ 0 h 8450384"/>
              <a:gd name="connsiteX1" fmla="*/ 2801711 w 10886005"/>
              <a:gd name="connsiteY1" fmla="*/ 418564 h 8450384"/>
              <a:gd name="connsiteX2" fmla="*/ 3597765 w 10886005"/>
              <a:gd name="connsiteY2" fmla="*/ 2014298 h 8450384"/>
              <a:gd name="connsiteX3" fmla="*/ 5906369 w 10886005"/>
              <a:gd name="connsiteY3" fmla="*/ 2524941 h 8450384"/>
              <a:gd name="connsiteX4" fmla="*/ 6861036 w 10886005"/>
              <a:gd name="connsiteY4" fmla="*/ 4114620 h 8450384"/>
              <a:gd name="connsiteX5" fmla="*/ 9786841 w 10886005"/>
              <a:gd name="connsiteY5" fmla="*/ 4776941 h 8450384"/>
              <a:gd name="connsiteX6" fmla="*/ 9502568 w 10886005"/>
              <a:gd name="connsiteY6" fmla="*/ 6137714 h 8450384"/>
              <a:gd name="connsiteX7" fmla="*/ 10519097 w 10886005"/>
              <a:gd name="connsiteY7" fmla="*/ 6612022 h 8450384"/>
              <a:gd name="connsiteX8" fmla="*/ 10413936 w 10886005"/>
              <a:gd name="connsiteY8" fmla="*/ 7299450 h 8450384"/>
              <a:gd name="connsiteX9" fmla="*/ 10872501 w 10886005"/>
              <a:gd name="connsiteY9" fmla="*/ 7659802 h 8450384"/>
              <a:gd name="connsiteX10" fmla="*/ 10767480 w 10886005"/>
              <a:gd name="connsiteY10" fmla="*/ 8126544 h 8450384"/>
              <a:gd name="connsiteX11" fmla="*/ 10802522 w 10886005"/>
              <a:gd name="connsiteY11" fmla="*/ 8450229 h 8450384"/>
              <a:gd name="connsiteX0" fmla="*/ 13064 w 10886005"/>
              <a:gd name="connsiteY0" fmla="*/ 0 h 8450384"/>
              <a:gd name="connsiteX1" fmla="*/ 2801711 w 10886005"/>
              <a:gd name="connsiteY1" fmla="*/ 418564 h 8450384"/>
              <a:gd name="connsiteX2" fmla="*/ 3597765 w 10886005"/>
              <a:gd name="connsiteY2" fmla="*/ 2014298 h 8450384"/>
              <a:gd name="connsiteX3" fmla="*/ 5906369 w 10886005"/>
              <a:gd name="connsiteY3" fmla="*/ 2524941 h 8450384"/>
              <a:gd name="connsiteX4" fmla="*/ 6861036 w 10886005"/>
              <a:gd name="connsiteY4" fmla="*/ 4114620 h 8450384"/>
              <a:gd name="connsiteX5" fmla="*/ 9652446 w 10886005"/>
              <a:gd name="connsiteY5" fmla="*/ 4664303 h 8450384"/>
              <a:gd name="connsiteX6" fmla="*/ 9502568 w 10886005"/>
              <a:gd name="connsiteY6" fmla="*/ 6137714 h 8450384"/>
              <a:gd name="connsiteX7" fmla="*/ 10519097 w 10886005"/>
              <a:gd name="connsiteY7" fmla="*/ 6612022 h 8450384"/>
              <a:gd name="connsiteX8" fmla="*/ 10413936 w 10886005"/>
              <a:gd name="connsiteY8" fmla="*/ 7299450 h 8450384"/>
              <a:gd name="connsiteX9" fmla="*/ 10872501 w 10886005"/>
              <a:gd name="connsiteY9" fmla="*/ 7659802 h 8450384"/>
              <a:gd name="connsiteX10" fmla="*/ 10767480 w 10886005"/>
              <a:gd name="connsiteY10" fmla="*/ 8126544 h 8450384"/>
              <a:gd name="connsiteX11" fmla="*/ 10802522 w 10886005"/>
              <a:gd name="connsiteY11" fmla="*/ 8450229 h 8450384"/>
              <a:gd name="connsiteX0" fmla="*/ 14742 w 10887683"/>
              <a:gd name="connsiteY0" fmla="*/ 0 h 8450384"/>
              <a:gd name="connsiteX1" fmla="*/ 2511745 w 10887683"/>
              <a:gd name="connsiteY1" fmla="*/ 270907 h 8450384"/>
              <a:gd name="connsiteX2" fmla="*/ 3599443 w 10887683"/>
              <a:gd name="connsiteY2" fmla="*/ 2014298 h 8450384"/>
              <a:gd name="connsiteX3" fmla="*/ 5908047 w 10887683"/>
              <a:gd name="connsiteY3" fmla="*/ 2524941 h 8450384"/>
              <a:gd name="connsiteX4" fmla="*/ 6862714 w 10887683"/>
              <a:gd name="connsiteY4" fmla="*/ 4114620 h 8450384"/>
              <a:gd name="connsiteX5" fmla="*/ 9654124 w 10887683"/>
              <a:gd name="connsiteY5" fmla="*/ 4664303 h 8450384"/>
              <a:gd name="connsiteX6" fmla="*/ 9504246 w 10887683"/>
              <a:gd name="connsiteY6" fmla="*/ 6137714 h 8450384"/>
              <a:gd name="connsiteX7" fmla="*/ 10520775 w 10887683"/>
              <a:gd name="connsiteY7" fmla="*/ 6612022 h 8450384"/>
              <a:gd name="connsiteX8" fmla="*/ 10415614 w 10887683"/>
              <a:gd name="connsiteY8" fmla="*/ 7299450 h 8450384"/>
              <a:gd name="connsiteX9" fmla="*/ 10874179 w 10887683"/>
              <a:gd name="connsiteY9" fmla="*/ 7659802 h 8450384"/>
              <a:gd name="connsiteX10" fmla="*/ 10769158 w 10887683"/>
              <a:gd name="connsiteY10" fmla="*/ 8126544 h 8450384"/>
              <a:gd name="connsiteX11" fmla="*/ 10804200 w 10887683"/>
              <a:gd name="connsiteY11" fmla="*/ 8450229 h 8450384"/>
              <a:gd name="connsiteX0" fmla="*/ 14742 w 10887683"/>
              <a:gd name="connsiteY0" fmla="*/ 0 h 8450384"/>
              <a:gd name="connsiteX1" fmla="*/ 2511745 w 10887683"/>
              <a:gd name="connsiteY1" fmla="*/ 270907 h 8450384"/>
              <a:gd name="connsiteX2" fmla="*/ 3599443 w 10887683"/>
              <a:gd name="connsiteY2" fmla="*/ 2014298 h 8450384"/>
              <a:gd name="connsiteX3" fmla="*/ 5908047 w 10887683"/>
              <a:gd name="connsiteY3" fmla="*/ 2524941 h 8450384"/>
              <a:gd name="connsiteX4" fmla="*/ 6862714 w 10887683"/>
              <a:gd name="connsiteY4" fmla="*/ 4114620 h 8450384"/>
              <a:gd name="connsiteX5" fmla="*/ 9654124 w 10887683"/>
              <a:gd name="connsiteY5" fmla="*/ 4664303 h 8450384"/>
              <a:gd name="connsiteX6" fmla="*/ 9504246 w 10887683"/>
              <a:gd name="connsiteY6" fmla="*/ 6137714 h 8450384"/>
              <a:gd name="connsiteX7" fmla="*/ 10415614 w 10887683"/>
              <a:gd name="connsiteY7" fmla="*/ 7299450 h 8450384"/>
              <a:gd name="connsiteX8" fmla="*/ 10874179 w 10887683"/>
              <a:gd name="connsiteY8" fmla="*/ 7659802 h 8450384"/>
              <a:gd name="connsiteX9" fmla="*/ 10769158 w 10887683"/>
              <a:gd name="connsiteY9" fmla="*/ 8126544 h 8450384"/>
              <a:gd name="connsiteX10" fmla="*/ 10804200 w 10887683"/>
              <a:gd name="connsiteY10" fmla="*/ 8450229 h 8450384"/>
              <a:gd name="connsiteX0" fmla="*/ 14742 w 10887683"/>
              <a:gd name="connsiteY0" fmla="*/ 0 h 8450384"/>
              <a:gd name="connsiteX1" fmla="*/ 2511745 w 10887683"/>
              <a:gd name="connsiteY1" fmla="*/ 270907 h 8450384"/>
              <a:gd name="connsiteX2" fmla="*/ 3599443 w 10887683"/>
              <a:gd name="connsiteY2" fmla="*/ 2014298 h 8450384"/>
              <a:gd name="connsiteX3" fmla="*/ 5908047 w 10887683"/>
              <a:gd name="connsiteY3" fmla="*/ 2524941 h 8450384"/>
              <a:gd name="connsiteX4" fmla="*/ 6862714 w 10887683"/>
              <a:gd name="connsiteY4" fmla="*/ 4114620 h 8450384"/>
              <a:gd name="connsiteX5" fmla="*/ 9654124 w 10887683"/>
              <a:gd name="connsiteY5" fmla="*/ 4664303 h 8450384"/>
              <a:gd name="connsiteX6" fmla="*/ 10415614 w 10887683"/>
              <a:gd name="connsiteY6" fmla="*/ 7299450 h 8450384"/>
              <a:gd name="connsiteX7" fmla="*/ 10874179 w 10887683"/>
              <a:gd name="connsiteY7" fmla="*/ 7659802 h 8450384"/>
              <a:gd name="connsiteX8" fmla="*/ 10769158 w 10887683"/>
              <a:gd name="connsiteY8" fmla="*/ 8126544 h 8450384"/>
              <a:gd name="connsiteX9" fmla="*/ 10804200 w 10887683"/>
              <a:gd name="connsiteY9" fmla="*/ 8450229 h 8450384"/>
              <a:gd name="connsiteX0" fmla="*/ 14742 w 10911112"/>
              <a:gd name="connsiteY0" fmla="*/ 0 h 8450384"/>
              <a:gd name="connsiteX1" fmla="*/ 2511745 w 10911112"/>
              <a:gd name="connsiteY1" fmla="*/ 270907 h 8450384"/>
              <a:gd name="connsiteX2" fmla="*/ 3599443 w 10911112"/>
              <a:gd name="connsiteY2" fmla="*/ 2014298 h 8450384"/>
              <a:gd name="connsiteX3" fmla="*/ 5908047 w 10911112"/>
              <a:gd name="connsiteY3" fmla="*/ 2524941 h 8450384"/>
              <a:gd name="connsiteX4" fmla="*/ 6862714 w 10911112"/>
              <a:gd name="connsiteY4" fmla="*/ 4114620 h 8450384"/>
              <a:gd name="connsiteX5" fmla="*/ 9654124 w 10911112"/>
              <a:gd name="connsiteY5" fmla="*/ 4664303 h 8450384"/>
              <a:gd name="connsiteX6" fmla="*/ 10042584 w 10911112"/>
              <a:gd name="connsiteY6" fmla="*/ 6689923 h 8450384"/>
              <a:gd name="connsiteX7" fmla="*/ 10874179 w 10911112"/>
              <a:gd name="connsiteY7" fmla="*/ 7659802 h 8450384"/>
              <a:gd name="connsiteX8" fmla="*/ 10769158 w 10911112"/>
              <a:gd name="connsiteY8" fmla="*/ 8126544 h 8450384"/>
              <a:gd name="connsiteX9" fmla="*/ 10804200 w 10911112"/>
              <a:gd name="connsiteY9" fmla="*/ 8450229 h 8450384"/>
              <a:gd name="connsiteX0" fmla="*/ 14742 w 10916799"/>
              <a:gd name="connsiteY0" fmla="*/ 0 h 8450384"/>
              <a:gd name="connsiteX1" fmla="*/ 2511745 w 10916799"/>
              <a:gd name="connsiteY1" fmla="*/ 270907 h 8450384"/>
              <a:gd name="connsiteX2" fmla="*/ 3599443 w 10916799"/>
              <a:gd name="connsiteY2" fmla="*/ 2014298 h 8450384"/>
              <a:gd name="connsiteX3" fmla="*/ 5908047 w 10916799"/>
              <a:gd name="connsiteY3" fmla="*/ 2524941 h 8450384"/>
              <a:gd name="connsiteX4" fmla="*/ 6862714 w 10916799"/>
              <a:gd name="connsiteY4" fmla="*/ 4114620 h 8450384"/>
              <a:gd name="connsiteX5" fmla="*/ 9654124 w 10916799"/>
              <a:gd name="connsiteY5" fmla="*/ 4664303 h 8450384"/>
              <a:gd name="connsiteX6" fmla="*/ 9958114 w 10916799"/>
              <a:gd name="connsiteY6" fmla="*/ 6623050 h 8450384"/>
              <a:gd name="connsiteX7" fmla="*/ 10874179 w 10916799"/>
              <a:gd name="connsiteY7" fmla="*/ 7659802 h 8450384"/>
              <a:gd name="connsiteX8" fmla="*/ 10769158 w 10916799"/>
              <a:gd name="connsiteY8" fmla="*/ 8126544 h 8450384"/>
              <a:gd name="connsiteX9" fmla="*/ 10804200 w 10916799"/>
              <a:gd name="connsiteY9" fmla="*/ 8450229 h 8450384"/>
              <a:gd name="connsiteX0" fmla="*/ 14742 w 10925211"/>
              <a:gd name="connsiteY0" fmla="*/ 0 h 8450384"/>
              <a:gd name="connsiteX1" fmla="*/ 2511745 w 10925211"/>
              <a:gd name="connsiteY1" fmla="*/ 270907 h 8450384"/>
              <a:gd name="connsiteX2" fmla="*/ 3599443 w 10925211"/>
              <a:gd name="connsiteY2" fmla="*/ 2014298 h 8450384"/>
              <a:gd name="connsiteX3" fmla="*/ 5908047 w 10925211"/>
              <a:gd name="connsiteY3" fmla="*/ 2524941 h 8450384"/>
              <a:gd name="connsiteX4" fmla="*/ 6862714 w 10925211"/>
              <a:gd name="connsiteY4" fmla="*/ 4114620 h 8450384"/>
              <a:gd name="connsiteX5" fmla="*/ 9654124 w 10925211"/>
              <a:gd name="connsiteY5" fmla="*/ 4664303 h 8450384"/>
              <a:gd name="connsiteX6" fmla="*/ 9835147 w 10925211"/>
              <a:gd name="connsiteY6" fmla="*/ 6471598 h 8450384"/>
              <a:gd name="connsiteX7" fmla="*/ 10874179 w 10925211"/>
              <a:gd name="connsiteY7" fmla="*/ 7659802 h 8450384"/>
              <a:gd name="connsiteX8" fmla="*/ 10769158 w 10925211"/>
              <a:gd name="connsiteY8" fmla="*/ 8126544 h 8450384"/>
              <a:gd name="connsiteX9" fmla="*/ 10804200 w 10925211"/>
              <a:gd name="connsiteY9" fmla="*/ 8450229 h 8450384"/>
              <a:gd name="connsiteX0" fmla="*/ 14742 w 10804199"/>
              <a:gd name="connsiteY0" fmla="*/ 0 h 8450427"/>
              <a:gd name="connsiteX1" fmla="*/ 2511745 w 10804199"/>
              <a:gd name="connsiteY1" fmla="*/ 270907 h 8450427"/>
              <a:gd name="connsiteX2" fmla="*/ 3599443 w 10804199"/>
              <a:gd name="connsiteY2" fmla="*/ 2014298 h 8450427"/>
              <a:gd name="connsiteX3" fmla="*/ 5908047 w 10804199"/>
              <a:gd name="connsiteY3" fmla="*/ 2524941 h 8450427"/>
              <a:gd name="connsiteX4" fmla="*/ 6862714 w 10804199"/>
              <a:gd name="connsiteY4" fmla="*/ 4114620 h 8450427"/>
              <a:gd name="connsiteX5" fmla="*/ 9654124 w 10804199"/>
              <a:gd name="connsiteY5" fmla="*/ 4664303 h 8450427"/>
              <a:gd name="connsiteX6" fmla="*/ 9835147 w 10804199"/>
              <a:gd name="connsiteY6" fmla="*/ 6471598 h 8450427"/>
              <a:gd name="connsiteX7" fmla="*/ 10616817 w 10804199"/>
              <a:gd name="connsiteY7" fmla="*/ 7395710 h 8450427"/>
              <a:gd name="connsiteX8" fmla="*/ 10769158 w 10804199"/>
              <a:gd name="connsiteY8" fmla="*/ 8126544 h 8450427"/>
              <a:gd name="connsiteX9" fmla="*/ 10804200 w 10804199"/>
              <a:gd name="connsiteY9" fmla="*/ 8450229 h 8450427"/>
              <a:gd name="connsiteX0" fmla="*/ 14742 w 10804201"/>
              <a:gd name="connsiteY0" fmla="*/ 0 h 8450380"/>
              <a:gd name="connsiteX1" fmla="*/ 2511745 w 10804201"/>
              <a:gd name="connsiteY1" fmla="*/ 270907 h 8450380"/>
              <a:gd name="connsiteX2" fmla="*/ 3599443 w 10804201"/>
              <a:gd name="connsiteY2" fmla="*/ 2014298 h 8450380"/>
              <a:gd name="connsiteX3" fmla="*/ 5908047 w 10804201"/>
              <a:gd name="connsiteY3" fmla="*/ 2524941 h 8450380"/>
              <a:gd name="connsiteX4" fmla="*/ 6862714 w 10804201"/>
              <a:gd name="connsiteY4" fmla="*/ 4114620 h 8450380"/>
              <a:gd name="connsiteX5" fmla="*/ 9654124 w 10804201"/>
              <a:gd name="connsiteY5" fmla="*/ 4664303 h 8450380"/>
              <a:gd name="connsiteX6" fmla="*/ 9835147 w 10804201"/>
              <a:gd name="connsiteY6" fmla="*/ 6471598 h 8450380"/>
              <a:gd name="connsiteX7" fmla="*/ 10616817 w 10804201"/>
              <a:gd name="connsiteY7" fmla="*/ 7395710 h 8450380"/>
              <a:gd name="connsiteX8" fmla="*/ 10539041 w 10804201"/>
              <a:gd name="connsiteY8" fmla="*/ 8077540 h 8450380"/>
              <a:gd name="connsiteX9" fmla="*/ 10804200 w 10804201"/>
              <a:gd name="connsiteY9" fmla="*/ 8450229 h 8450380"/>
              <a:gd name="connsiteX0" fmla="*/ 14742 w 10653674"/>
              <a:gd name="connsiteY0" fmla="*/ 0 h 8433007"/>
              <a:gd name="connsiteX1" fmla="*/ 2511745 w 10653674"/>
              <a:gd name="connsiteY1" fmla="*/ 270907 h 8433007"/>
              <a:gd name="connsiteX2" fmla="*/ 3599443 w 10653674"/>
              <a:gd name="connsiteY2" fmla="*/ 2014298 h 8433007"/>
              <a:gd name="connsiteX3" fmla="*/ 5908047 w 10653674"/>
              <a:gd name="connsiteY3" fmla="*/ 2524941 h 8433007"/>
              <a:gd name="connsiteX4" fmla="*/ 6862714 w 10653674"/>
              <a:gd name="connsiteY4" fmla="*/ 4114620 h 8433007"/>
              <a:gd name="connsiteX5" fmla="*/ 9654124 w 10653674"/>
              <a:gd name="connsiteY5" fmla="*/ 4664303 h 8433007"/>
              <a:gd name="connsiteX6" fmla="*/ 9835147 w 10653674"/>
              <a:gd name="connsiteY6" fmla="*/ 6471598 h 8433007"/>
              <a:gd name="connsiteX7" fmla="*/ 10616817 w 10653674"/>
              <a:gd name="connsiteY7" fmla="*/ 7395710 h 8433007"/>
              <a:gd name="connsiteX8" fmla="*/ 10539041 w 10653674"/>
              <a:gd name="connsiteY8" fmla="*/ 8077540 h 8433007"/>
              <a:gd name="connsiteX9" fmla="*/ 10650819 w 10653674"/>
              <a:gd name="connsiteY9" fmla="*/ 8432845 h 8433007"/>
              <a:gd name="connsiteX0" fmla="*/ 14742 w 10653674"/>
              <a:gd name="connsiteY0" fmla="*/ 0 h 8433009"/>
              <a:gd name="connsiteX1" fmla="*/ 2511745 w 10653674"/>
              <a:gd name="connsiteY1" fmla="*/ 270907 h 8433009"/>
              <a:gd name="connsiteX2" fmla="*/ 3599443 w 10653674"/>
              <a:gd name="connsiteY2" fmla="*/ 2014298 h 8433009"/>
              <a:gd name="connsiteX3" fmla="*/ 5908047 w 10653674"/>
              <a:gd name="connsiteY3" fmla="*/ 2524941 h 8433009"/>
              <a:gd name="connsiteX4" fmla="*/ 6862714 w 10653674"/>
              <a:gd name="connsiteY4" fmla="*/ 4114620 h 8433009"/>
              <a:gd name="connsiteX5" fmla="*/ 9739030 w 10653674"/>
              <a:gd name="connsiteY5" fmla="*/ 4960414 h 8433009"/>
              <a:gd name="connsiteX6" fmla="*/ 9835147 w 10653674"/>
              <a:gd name="connsiteY6" fmla="*/ 6471598 h 8433009"/>
              <a:gd name="connsiteX7" fmla="*/ 10616817 w 10653674"/>
              <a:gd name="connsiteY7" fmla="*/ 7395710 h 8433009"/>
              <a:gd name="connsiteX8" fmla="*/ 10539041 w 10653674"/>
              <a:gd name="connsiteY8" fmla="*/ 8077540 h 8433009"/>
              <a:gd name="connsiteX9" fmla="*/ 10650819 w 10653674"/>
              <a:gd name="connsiteY9" fmla="*/ 8432845 h 8433009"/>
              <a:gd name="connsiteX0" fmla="*/ 14742 w 10652098"/>
              <a:gd name="connsiteY0" fmla="*/ 0 h 8433007"/>
              <a:gd name="connsiteX1" fmla="*/ 2511745 w 10652098"/>
              <a:gd name="connsiteY1" fmla="*/ 270907 h 8433007"/>
              <a:gd name="connsiteX2" fmla="*/ 3599443 w 10652098"/>
              <a:gd name="connsiteY2" fmla="*/ 2014298 h 8433007"/>
              <a:gd name="connsiteX3" fmla="*/ 5908047 w 10652098"/>
              <a:gd name="connsiteY3" fmla="*/ 2524941 h 8433007"/>
              <a:gd name="connsiteX4" fmla="*/ 6862714 w 10652098"/>
              <a:gd name="connsiteY4" fmla="*/ 4114620 h 8433007"/>
              <a:gd name="connsiteX5" fmla="*/ 9739030 w 10652098"/>
              <a:gd name="connsiteY5" fmla="*/ 4960414 h 8433007"/>
              <a:gd name="connsiteX6" fmla="*/ 9858439 w 10652098"/>
              <a:gd name="connsiteY6" fmla="*/ 6623210 h 8433007"/>
              <a:gd name="connsiteX7" fmla="*/ 10616817 w 10652098"/>
              <a:gd name="connsiteY7" fmla="*/ 7395710 h 8433007"/>
              <a:gd name="connsiteX8" fmla="*/ 10539041 w 10652098"/>
              <a:gd name="connsiteY8" fmla="*/ 8077540 h 8433007"/>
              <a:gd name="connsiteX9" fmla="*/ 10650819 w 10652098"/>
              <a:gd name="connsiteY9" fmla="*/ 8432845 h 8433007"/>
              <a:gd name="connsiteX0" fmla="*/ 14742 w 10650819"/>
              <a:gd name="connsiteY0" fmla="*/ 0 h 8433024"/>
              <a:gd name="connsiteX1" fmla="*/ 2511745 w 10650819"/>
              <a:gd name="connsiteY1" fmla="*/ 270907 h 8433024"/>
              <a:gd name="connsiteX2" fmla="*/ 3599443 w 10650819"/>
              <a:gd name="connsiteY2" fmla="*/ 2014298 h 8433024"/>
              <a:gd name="connsiteX3" fmla="*/ 5908047 w 10650819"/>
              <a:gd name="connsiteY3" fmla="*/ 2524941 h 8433024"/>
              <a:gd name="connsiteX4" fmla="*/ 6862714 w 10650819"/>
              <a:gd name="connsiteY4" fmla="*/ 4114620 h 8433024"/>
              <a:gd name="connsiteX5" fmla="*/ 9739030 w 10650819"/>
              <a:gd name="connsiteY5" fmla="*/ 4960414 h 8433024"/>
              <a:gd name="connsiteX6" fmla="*/ 9858439 w 10650819"/>
              <a:gd name="connsiteY6" fmla="*/ 6623210 h 8433024"/>
              <a:gd name="connsiteX7" fmla="*/ 10616817 w 10650819"/>
              <a:gd name="connsiteY7" fmla="*/ 7395710 h 8433024"/>
              <a:gd name="connsiteX8" fmla="*/ 10393393 w 10650819"/>
              <a:gd name="connsiteY8" fmla="*/ 8095409 h 8433024"/>
              <a:gd name="connsiteX9" fmla="*/ 10650819 w 10650819"/>
              <a:gd name="connsiteY9" fmla="*/ 8432845 h 8433024"/>
              <a:gd name="connsiteX0" fmla="*/ 14742 w 10665678"/>
              <a:gd name="connsiteY0" fmla="*/ 0 h 8433123"/>
              <a:gd name="connsiteX1" fmla="*/ 2511745 w 10665678"/>
              <a:gd name="connsiteY1" fmla="*/ 270907 h 8433123"/>
              <a:gd name="connsiteX2" fmla="*/ 3599443 w 10665678"/>
              <a:gd name="connsiteY2" fmla="*/ 2014298 h 8433123"/>
              <a:gd name="connsiteX3" fmla="*/ 5908047 w 10665678"/>
              <a:gd name="connsiteY3" fmla="*/ 2524941 h 8433123"/>
              <a:gd name="connsiteX4" fmla="*/ 6862714 w 10665678"/>
              <a:gd name="connsiteY4" fmla="*/ 4114620 h 8433123"/>
              <a:gd name="connsiteX5" fmla="*/ 9739030 w 10665678"/>
              <a:gd name="connsiteY5" fmla="*/ 4960414 h 8433123"/>
              <a:gd name="connsiteX6" fmla="*/ 9858439 w 10665678"/>
              <a:gd name="connsiteY6" fmla="*/ 6623210 h 8433123"/>
              <a:gd name="connsiteX7" fmla="*/ 10616817 w 10665678"/>
              <a:gd name="connsiteY7" fmla="*/ 7395710 h 8433123"/>
              <a:gd name="connsiteX8" fmla="*/ 10596702 w 10665678"/>
              <a:gd name="connsiteY8" fmla="*/ 8158564 h 8433123"/>
              <a:gd name="connsiteX9" fmla="*/ 10650819 w 10665678"/>
              <a:gd name="connsiteY9" fmla="*/ 8432845 h 8433123"/>
              <a:gd name="connsiteX0" fmla="*/ 14742 w 10650819"/>
              <a:gd name="connsiteY0" fmla="*/ 0 h 8433039"/>
              <a:gd name="connsiteX1" fmla="*/ 2511745 w 10650819"/>
              <a:gd name="connsiteY1" fmla="*/ 270907 h 8433039"/>
              <a:gd name="connsiteX2" fmla="*/ 3599443 w 10650819"/>
              <a:gd name="connsiteY2" fmla="*/ 2014298 h 8433039"/>
              <a:gd name="connsiteX3" fmla="*/ 5908047 w 10650819"/>
              <a:gd name="connsiteY3" fmla="*/ 2524941 h 8433039"/>
              <a:gd name="connsiteX4" fmla="*/ 6862714 w 10650819"/>
              <a:gd name="connsiteY4" fmla="*/ 4114620 h 8433039"/>
              <a:gd name="connsiteX5" fmla="*/ 9739030 w 10650819"/>
              <a:gd name="connsiteY5" fmla="*/ 4960414 h 8433039"/>
              <a:gd name="connsiteX6" fmla="*/ 9858439 w 10650819"/>
              <a:gd name="connsiteY6" fmla="*/ 6623210 h 8433039"/>
              <a:gd name="connsiteX7" fmla="*/ 10616817 w 10650819"/>
              <a:gd name="connsiteY7" fmla="*/ 7395710 h 8433039"/>
              <a:gd name="connsiteX8" fmla="*/ 10516100 w 10650819"/>
              <a:gd name="connsiteY8" fmla="*/ 8109318 h 8433039"/>
              <a:gd name="connsiteX9" fmla="*/ 10650819 w 10650819"/>
              <a:gd name="connsiteY9" fmla="*/ 8432845 h 8433039"/>
              <a:gd name="connsiteX0" fmla="*/ 14742 w 10650819"/>
              <a:gd name="connsiteY0" fmla="*/ 0 h 8433039"/>
              <a:gd name="connsiteX1" fmla="*/ 2511745 w 10650819"/>
              <a:gd name="connsiteY1" fmla="*/ 270907 h 8433039"/>
              <a:gd name="connsiteX2" fmla="*/ 3599443 w 10650819"/>
              <a:gd name="connsiteY2" fmla="*/ 2014298 h 8433039"/>
              <a:gd name="connsiteX3" fmla="*/ 5908047 w 10650819"/>
              <a:gd name="connsiteY3" fmla="*/ 2524941 h 8433039"/>
              <a:gd name="connsiteX4" fmla="*/ 6862714 w 10650819"/>
              <a:gd name="connsiteY4" fmla="*/ 4114620 h 8433039"/>
              <a:gd name="connsiteX5" fmla="*/ 9739030 w 10650819"/>
              <a:gd name="connsiteY5" fmla="*/ 4960414 h 8433039"/>
              <a:gd name="connsiteX6" fmla="*/ 9858439 w 10650819"/>
              <a:gd name="connsiteY6" fmla="*/ 6623210 h 8433039"/>
              <a:gd name="connsiteX7" fmla="*/ 10616817 w 10650819"/>
              <a:gd name="connsiteY7" fmla="*/ 7395710 h 8433039"/>
              <a:gd name="connsiteX8" fmla="*/ 10516100 w 10650819"/>
              <a:gd name="connsiteY8" fmla="*/ 8109318 h 8433039"/>
              <a:gd name="connsiteX9" fmla="*/ 10650819 w 10650819"/>
              <a:gd name="connsiteY9" fmla="*/ 8432845 h 8433039"/>
              <a:gd name="connsiteX0" fmla="*/ 14742 w 10650819"/>
              <a:gd name="connsiteY0" fmla="*/ 0 h 8433047"/>
              <a:gd name="connsiteX1" fmla="*/ 2511745 w 10650819"/>
              <a:gd name="connsiteY1" fmla="*/ 270907 h 8433047"/>
              <a:gd name="connsiteX2" fmla="*/ 3599443 w 10650819"/>
              <a:gd name="connsiteY2" fmla="*/ 2014298 h 8433047"/>
              <a:gd name="connsiteX3" fmla="*/ 5908047 w 10650819"/>
              <a:gd name="connsiteY3" fmla="*/ 2524941 h 8433047"/>
              <a:gd name="connsiteX4" fmla="*/ 6862714 w 10650819"/>
              <a:gd name="connsiteY4" fmla="*/ 4114620 h 8433047"/>
              <a:gd name="connsiteX5" fmla="*/ 9739030 w 10650819"/>
              <a:gd name="connsiteY5" fmla="*/ 4960414 h 8433047"/>
              <a:gd name="connsiteX6" fmla="*/ 9858439 w 10650819"/>
              <a:gd name="connsiteY6" fmla="*/ 6623210 h 8433047"/>
              <a:gd name="connsiteX7" fmla="*/ 10616817 w 10650819"/>
              <a:gd name="connsiteY7" fmla="*/ 7395710 h 8433047"/>
              <a:gd name="connsiteX8" fmla="*/ 10516100 w 10650819"/>
              <a:gd name="connsiteY8" fmla="*/ 8109318 h 8433047"/>
              <a:gd name="connsiteX9" fmla="*/ 10650819 w 10650819"/>
              <a:gd name="connsiteY9" fmla="*/ 8432845 h 8433047"/>
              <a:gd name="connsiteX0" fmla="*/ 14742 w 10650819"/>
              <a:gd name="connsiteY0" fmla="*/ 0 h 8433045"/>
              <a:gd name="connsiteX1" fmla="*/ 2511745 w 10650819"/>
              <a:gd name="connsiteY1" fmla="*/ 270907 h 8433045"/>
              <a:gd name="connsiteX2" fmla="*/ 3599443 w 10650819"/>
              <a:gd name="connsiteY2" fmla="*/ 2014298 h 8433045"/>
              <a:gd name="connsiteX3" fmla="*/ 5908047 w 10650819"/>
              <a:gd name="connsiteY3" fmla="*/ 2524941 h 8433045"/>
              <a:gd name="connsiteX4" fmla="*/ 6862714 w 10650819"/>
              <a:gd name="connsiteY4" fmla="*/ 4114620 h 8433045"/>
              <a:gd name="connsiteX5" fmla="*/ 9551280 w 10650819"/>
              <a:gd name="connsiteY5" fmla="*/ 5013616 h 8433045"/>
              <a:gd name="connsiteX6" fmla="*/ 9858439 w 10650819"/>
              <a:gd name="connsiteY6" fmla="*/ 6623210 h 8433045"/>
              <a:gd name="connsiteX7" fmla="*/ 10616817 w 10650819"/>
              <a:gd name="connsiteY7" fmla="*/ 7395710 h 8433045"/>
              <a:gd name="connsiteX8" fmla="*/ 10516100 w 10650819"/>
              <a:gd name="connsiteY8" fmla="*/ 8109318 h 8433045"/>
              <a:gd name="connsiteX9" fmla="*/ 10650819 w 10650819"/>
              <a:gd name="connsiteY9" fmla="*/ 8432845 h 8433045"/>
              <a:gd name="connsiteX0" fmla="*/ 14742 w 10650819"/>
              <a:gd name="connsiteY0" fmla="*/ 0 h 8433047"/>
              <a:gd name="connsiteX1" fmla="*/ 2511745 w 10650819"/>
              <a:gd name="connsiteY1" fmla="*/ 270907 h 8433047"/>
              <a:gd name="connsiteX2" fmla="*/ 3599443 w 10650819"/>
              <a:gd name="connsiteY2" fmla="*/ 2014298 h 8433047"/>
              <a:gd name="connsiteX3" fmla="*/ 5908047 w 10650819"/>
              <a:gd name="connsiteY3" fmla="*/ 2524941 h 8433047"/>
              <a:gd name="connsiteX4" fmla="*/ 6993242 w 10650819"/>
              <a:gd name="connsiteY4" fmla="*/ 4209632 h 8433047"/>
              <a:gd name="connsiteX5" fmla="*/ 9551280 w 10650819"/>
              <a:gd name="connsiteY5" fmla="*/ 5013616 h 8433047"/>
              <a:gd name="connsiteX6" fmla="*/ 9858439 w 10650819"/>
              <a:gd name="connsiteY6" fmla="*/ 6623210 h 8433047"/>
              <a:gd name="connsiteX7" fmla="*/ 10616817 w 10650819"/>
              <a:gd name="connsiteY7" fmla="*/ 7395710 h 8433047"/>
              <a:gd name="connsiteX8" fmla="*/ 10516100 w 10650819"/>
              <a:gd name="connsiteY8" fmla="*/ 8109318 h 8433047"/>
              <a:gd name="connsiteX9" fmla="*/ 10650819 w 10650819"/>
              <a:gd name="connsiteY9" fmla="*/ 8432845 h 8433047"/>
              <a:gd name="connsiteX0" fmla="*/ 28174 w 10664251"/>
              <a:gd name="connsiteY0" fmla="*/ 0 h 8433045"/>
              <a:gd name="connsiteX1" fmla="*/ 1436795 w 10664251"/>
              <a:gd name="connsiteY1" fmla="*/ 1213620 h 8433045"/>
              <a:gd name="connsiteX2" fmla="*/ 3612875 w 10664251"/>
              <a:gd name="connsiteY2" fmla="*/ 2014298 h 8433045"/>
              <a:gd name="connsiteX3" fmla="*/ 5921479 w 10664251"/>
              <a:gd name="connsiteY3" fmla="*/ 2524941 h 8433045"/>
              <a:gd name="connsiteX4" fmla="*/ 7006674 w 10664251"/>
              <a:gd name="connsiteY4" fmla="*/ 4209632 h 8433045"/>
              <a:gd name="connsiteX5" fmla="*/ 9564712 w 10664251"/>
              <a:gd name="connsiteY5" fmla="*/ 5013616 h 8433045"/>
              <a:gd name="connsiteX6" fmla="*/ 9871871 w 10664251"/>
              <a:gd name="connsiteY6" fmla="*/ 6623210 h 8433045"/>
              <a:gd name="connsiteX7" fmla="*/ 10630249 w 10664251"/>
              <a:gd name="connsiteY7" fmla="*/ 7395710 h 8433045"/>
              <a:gd name="connsiteX8" fmla="*/ 10529532 w 10664251"/>
              <a:gd name="connsiteY8" fmla="*/ 8109318 h 8433045"/>
              <a:gd name="connsiteX9" fmla="*/ 10664251 w 10664251"/>
              <a:gd name="connsiteY9" fmla="*/ 8432845 h 8433045"/>
              <a:gd name="connsiteX0" fmla="*/ 26518 w 10752392"/>
              <a:gd name="connsiteY0" fmla="*/ 0 h 8470047"/>
              <a:gd name="connsiteX1" fmla="*/ 1524936 w 10752392"/>
              <a:gd name="connsiteY1" fmla="*/ 1250620 h 8470047"/>
              <a:gd name="connsiteX2" fmla="*/ 3701016 w 10752392"/>
              <a:gd name="connsiteY2" fmla="*/ 2051298 h 8470047"/>
              <a:gd name="connsiteX3" fmla="*/ 6009620 w 10752392"/>
              <a:gd name="connsiteY3" fmla="*/ 2561941 h 8470047"/>
              <a:gd name="connsiteX4" fmla="*/ 7094815 w 10752392"/>
              <a:gd name="connsiteY4" fmla="*/ 4246632 h 8470047"/>
              <a:gd name="connsiteX5" fmla="*/ 9652853 w 10752392"/>
              <a:gd name="connsiteY5" fmla="*/ 5050616 h 8470047"/>
              <a:gd name="connsiteX6" fmla="*/ 9960012 w 10752392"/>
              <a:gd name="connsiteY6" fmla="*/ 6660210 h 8470047"/>
              <a:gd name="connsiteX7" fmla="*/ 10718390 w 10752392"/>
              <a:gd name="connsiteY7" fmla="*/ 7432710 h 8470047"/>
              <a:gd name="connsiteX8" fmla="*/ 10617673 w 10752392"/>
              <a:gd name="connsiteY8" fmla="*/ 8146318 h 8470047"/>
              <a:gd name="connsiteX9" fmla="*/ 10752392 w 10752392"/>
              <a:gd name="connsiteY9" fmla="*/ 8469845 h 8470047"/>
              <a:gd name="connsiteX0" fmla="*/ 48067 w 10773941"/>
              <a:gd name="connsiteY0" fmla="*/ 30095 h 8500141"/>
              <a:gd name="connsiteX1" fmla="*/ 1546485 w 10773941"/>
              <a:gd name="connsiteY1" fmla="*/ 1280715 h 8500141"/>
              <a:gd name="connsiteX2" fmla="*/ 3722565 w 10773941"/>
              <a:gd name="connsiteY2" fmla="*/ 2081393 h 8500141"/>
              <a:gd name="connsiteX3" fmla="*/ 6031169 w 10773941"/>
              <a:gd name="connsiteY3" fmla="*/ 2592036 h 8500141"/>
              <a:gd name="connsiteX4" fmla="*/ 7116364 w 10773941"/>
              <a:gd name="connsiteY4" fmla="*/ 4276727 h 8500141"/>
              <a:gd name="connsiteX5" fmla="*/ 9674402 w 10773941"/>
              <a:gd name="connsiteY5" fmla="*/ 5080711 h 8500141"/>
              <a:gd name="connsiteX6" fmla="*/ 9981561 w 10773941"/>
              <a:gd name="connsiteY6" fmla="*/ 6690305 h 8500141"/>
              <a:gd name="connsiteX7" fmla="*/ 10739939 w 10773941"/>
              <a:gd name="connsiteY7" fmla="*/ 7462805 h 8500141"/>
              <a:gd name="connsiteX8" fmla="*/ 10639222 w 10773941"/>
              <a:gd name="connsiteY8" fmla="*/ 8176413 h 8500141"/>
              <a:gd name="connsiteX9" fmla="*/ 10773941 w 10773941"/>
              <a:gd name="connsiteY9" fmla="*/ 8499940 h 8500141"/>
              <a:gd name="connsiteX0" fmla="*/ 34741 w 10760615"/>
              <a:gd name="connsiteY0" fmla="*/ 48161 h 8518207"/>
              <a:gd name="connsiteX1" fmla="*/ 1533159 w 10760615"/>
              <a:gd name="connsiteY1" fmla="*/ 1298781 h 8518207"/>
              <a:gd name="connsiteX2" fmla="*/ 3709239 w 10760615"/>
              <a:gd name="connsiteY2" fmla="*/ 2099459 h 8518207"/>
              <a:gd name="connsiteX3" fmla="*/ 6017843 w 10760615"/>
              <a:gd name="connsiteY3" fmla="*/ 2610102 h 8518207"/>
              <a:gd name="connsiteX4" fmla="*/ 7103038 w 10760615"/>
              <a:gd name="connsiteY4" fmla="*/ 4294793 h 8518207"/>
              <a:gd name="connsiteX5" fmla="*/ 9661076 w 10760615"/>
              <a:gd name="connsiteY5" fmla="*/ 5098777 h 8518207"/>
              <a:gd name="connsiteX6" fmla="*/ 9968235 w 10760615"/>
              <a:gd name="connsiteY6" fmla="*/ 6708371 h 8518207"/>
              <a:gd name="connsiteX7" fmla="*/ 10726613 w 10760615"/>
              <a:gd name="connsiteY7" fmla="*/ 7480871 h 8518207"/>
              <a:gd name="connsiteX8" fmla="*/ 10625896 w 10760615"/>
              <a:gd name="connsiteY8" fmla="*/ 8194479 h 8518207"/>
              <a:gd name="connsiteX9" fmla="*/ 10760615 w 10760615"/>
              <a:gd name="connsiteY9" fmla="*/ 8518006 h 8518207"/>
              <a:gd name="connsiteX0" fmla="*/ 37731 w 10636377"/>
              <a:gd name="connsiteY0" fmla="*/ 42934 h 8722467"/>
              <a:gd name="connsiteX1" fmla="*/ 1408921 w 10636377"/>
              <a:gd name="connsiteY1" fmla="*/ 1503041 h 8722467"/>
              <a:gd name="connsiteX2" fmla="*/ 3585001 w 10636377"/>
              <a:gd name="connsiteY2" fmla="*/ 2303719 h 8722467"/>
              <a:gd name="connsiteX3" fmla="*/ 5893605 w 10636377"/>
              <a:gd name="connsiteY3" fmla="*/ 2814362 h 8722467"/>
              <a:gd name="connsiteX4" fmla="*/ 6978800 w 10636377"/>
              <a:gd name="connsiteY4" fmla="*/ 4499053 h 8722467"/>
              <a:gd name="connsiteX5" fmla="*/ 9536838 w 10636377"/>
              <a:gd name="connsiteY5" fmla="*/ 5303037 h 8722467"/>
              <a:gd name="connsiteX6" fmla="*/ 9843997 w 10636377"/>
              <a:gd name="connsiteY6" fmla="*/ 6912631 h 8722467"/>
              <a:gd name="connsiteX7" fmla="*/ 10602375 w 10636377"/>
              <a:gd name="connsiteY7" fmla="*/ 7685131 h 8722467"/>
              <a:gd name="connsiteX8" fmla="*/ 10501658 w 10636377"/>
              <a:gd name="connsiteY8" fmla="*/ 8398739 h 8722467"/>
              <a:gd name="connsiteX9" fmla="*/ 10636377 w 10636377"/>
              <a:gd name="connsiteY9" fmla="*/ 8722266 h 8722467"/>
              <a:gd name="connsiteX0" fmla="*/ 35822 w 10634468"/>
              <a:gd name="connsiteY0" fmla="*/ 49839 h 8729372"/>
              <a:gd name="connsiteX1" fmla="*/ 1473172 w 10634468"/>
              <a:gd name="connsiteY1" fmla="*/ 1285242 h 8729372"/>
              <a:gd name="connsiteX2" fmla="*/ 3583092 w 10634468"/>
              <a:gd name="connsiteY2" fmla="*/ 2310624 h 8729372"/>
              <a:gd name="connsiteX3" fmla="*/ 5891696 w 10634468"/>
              <a:gd name="connsiteY3" fmla="*/ 2821267 h 8729372"/>
              <a:gd name="connsiteX4" fmla="*/ 6976891 w 10634468"/>
              <a:gd name="connsiteY4" fmla="*/ 4505958 h 8729372"/>
              <a:gd name="connsiteX5" fmla="*/ 9534929 w 10634468"/>
              <a:gd name="connsiteY5" fmla="*/ 5309942 h 8729372"/>
              <a:gd name="connsiteX6" fmla="*/ 9842088 w 10634468"/>
              <a:gd name="connsiteY6" fmla="*/ 6919536 h 8729372"/>
              <a:gd name="connsiteX7" fmla="*/ 10600466 w 10634468"/>
              <a:gd name="connsiteY7" fmla="*/ 7692036 h 8729372"/>
              <a:gd name="connsiteX8" fmla="*/ 10499749 w 10634468"/>
              <a:gd name="connsiteY8" fmla="*/ 8405644 h 8729372"/>
              <a:gd name="connsiteX9" fmla="*/ 10634468 w 10634468"/>
              <a:gd name="connsiteY9" fmla="*/ 8729171 h 8729372"/>
              <a:gd name="connsiteX0" fmla="*/ 37834 w 10636480"/>
              <a:gd name="connsiteY0" fmla="*/ 52199 h 8731732"/>
              <a:gd name="connsiteX1" fmla="*/ 1475184 w 10636480"/>
              <a:gd name="connsiteY1" fmla="*/ 1287602 h 8731732"/>
              <a:gd name="connsiteX2" fmla="*/ 3585104 w 10636480"/>
              <a:gd name="connsiteY2" fmla="*/ 2312984 h 8731732"/>
              <a:gd name="connsiteX3" fmla="*/ 5893708 w 10636480"/>
              <a:gd name="connsiteY3" fmla="*/ 2823627 h 8731732"/>
              <a:gd name="connsiteX4" fmla="*/ 6978903 w 10636480"/>
              <a:gd name="connsiteY4" fmla="*/ 4508318 h 8731732"/>
              <a:gd name="connsiteX5" fmla="*/ 9536941 w 10636480"/>
              <a:gd name="connsiteY5" fmla="*/ 5312302 h 8731732"/>
              <a:gd name="connsiteX6" fmla="*/ 9844100 w 10636480"/>
              <a:gd name="connsiteY6" fmla="*/ 6921896 h 8731732"/>
              <a:gd name="connsiteX7" fmla="*/ 10602478 w 10636480"/>
              <a:gd name="connsiteY7" fmla="*/ 7694396 h 8731732"/>
              <a:gd name="connsiteX8" fmla="*/ 10501761 w 10636480"/>
              <a:gd name="connsiteY8" fmla="*/ 8408004 h 8731732"/>
              <a:gd name="connsiteX9" fmla="*/ 10636480 w 10636480"/>
              <a:gd name="connsiteY9" fmla="*/ 8731531 h 8731732"/>
              <a:gd name="connsiteX0" fmla="*/ 37834 w 10896639"/>
              <a:gd name="connsiteY0" fmla="*/ 52200 h 8731733"/>
              <a:gd name="connsiteX1" fmla="*/ 1475184 w 10896639"/>
              <a:gd name="connsiteY1" fmla="*/ 1287603 h 8731733"/>
              <a:gd name="connsiteX2" fmla="*/ 3585104 w 10896639"/>
              <a:gd name="connsiteY2" fmla="*/ 2312985 h 8731733"/>
              <a:gd name="connsiteX3" fmla="*/ 5893708 w 10896639"/>
              <a:gd name="connsiteY3" fmla="*/ 2823628 h 8731733"/>
              <a:gd name="connsiteX4" fmla="*/ 6978903 w 10896639"/>
              <a:gd name="connsiteY4" fmla="*/ 4508319 h 8731733"/>
              <a:gd name="connsiteX5" fmla="*/ 9536941 w 10896639"/>
              <a:gd name="connsiteY5" fmla="*/ 5312303 h 8731733"/>
              <a:gd name="connsiteX6" fmla="*/ 9844100 w 10896639"/>
              <a:gd name="connsiteY6" fmla="*/ 6921897 h 8731733"/>
              <a:gd name="connsiteX7" fmla="*/ 10881369 w 10896639"/>
              <a:gd name="connsiteY7" fmla="*/ 7849721 h 8731733"/>
              <a:gd name="connsiteX8" fmla="*/ 10501761 w 10896639"/>
              <a:gd name="connsiteY8" fmla="*/ 8408005 h 8731733"/>
              <a:gd name="connsiteX9" fmla="*/ 10636480 w 10896639"/>
              <a:gd name="connsiteY9" fmla="*/ 8731532 h 8731733"/>
              <a:gd name="connsiteX0" fmla="*/ 37834 w 10981127"/>
              <a:gd name="connsiteY0" fmla="*/ 52200 h 9054149"/>
              <a:gd name="connsiteX1" fmla="*/ 1475184 w 10981127"/>
              <a:gd name="connsiteY1" fmla="*/ 1287603 h 9054149"/>
              <a:gd name="connsiteX2" fmla="*/ 3585104 w 10981127"/>
              <a:gd name="connsiteY2" fmla="*/ 2312985 h 9054149"/>
              <a:gd name="connsiteX3" fmla="*/ 5893708 w 10981127"/>
              <a:gd name="connsiteY3" fmla="*/ 2823628 h 9054149"/>
              <a:gd name="connsiteX4" fmla="*/ 6978903 w 10981127"/>
              <a:gd name="connsiteY4" fmla="*/ 4508319 h 9054149"/>
              <a:gd name="connsiteX5" fmla="*/ 9536941 w 10981127"/>
              <a:gd name="connsiteY5" fmla="*/ 5312303 h 9054149"/>
              <a:gd name="connsiteX6" fmla="*/ 9844100 w 10981127"/>
              <a:gd name="connsiteY6" fmla="*/ 6921897 h 9054149"/>
              <a:gd name="connsiteX7" fmla="*/ 10881369 w 10981127"/>
              <a:gd name="connsiteY7" fmla="*/ 7849721 h 9054149"/>
              <a:gd name="connsiteX8" fmla="*/ 10501761 w 10981127"/>
              <a:gd name="connsiteY8" fmla="*/ 8408005 h 9054149"/>
              <a:gd name="connsiteX9" fmla="*/ 10981127 w 10981127"/>
              <a:gd name="connsiteY9" fmla="*/ 9054083 h 9054149"/>
              <a:gd name="connsiteX0" fmla="*/ 37834 w 10896641"/>
              <a:gd name="connsiteY0" fmla="*/ 52200 h 8408005"/>
              <a:gd name="connsiteX1" fmla="*/ 1475184 w 10896641"/>
              <a:gd name="connsiteY1" fmla="*/ 1287603 h 8408005"/>
              <a:gd name="connsiteX2" fmla="*/ 3585104 w 10896641"/>
              <a:gd name="connsiteY2" fmla="*/ 2312985 h 8408005"/>
              <a:gd name="connsiteX3" fmla="*/ 5893708 w 10896641"/>
              <a:gd name="connsiteY3" fmla="*/ 2823628 h 8408005"/>
              <a:gd name="connsiteX4" fmla="*/ 6978903 w 10896641"/>
              <a:gd name="connsiteY4" fmla="*/ 4508319 h 8408005"/>
              <a:gd name="connsiteX5" fmla="*/ 9536941 w 10896641"/>
              <a:gd name="connsiteY5" fmla="*/ 5312303 h 8408005"/>
              <a:gd name="connsiteX6" fmla="*/ 9844100 w 10896641"/>
              <a:gd name="connsiteY6" fmla="*/ 6921897 h 8408005"/>
              <a:gd name="connsiteX7" fmla="*/ 10881369 w 10896641"/>
              <a:gd name="connsiteY7" fmla="*/ 7849721 h 8408005"/>
              <a:gd name="connsiteX8" fmla="*/ 10501761 w 10896641"/>
              <a:gd name="connsiteY8" fmla="*/ 8408005 h 8408005"/>
              <a:gd name="connsiteX0" fmla="*/ 37834 w 10899657"/>
              <a:gd name="connsiteY0" fmla="*/ 52200 h 8932548"/>
              <a:gd name="connsiteX1" fmla="*/ 1475184 w 10899657"/>
              <a:gd name="connsiteY1" fmla="*/ 1287603 h 8932548"/>
              <a:gd name="connsiteX2" fmla="*/ 3585104 w 10899657"/>
              <a:gd name="connsiteY2" fmla="*/ 2312985 h 8932548"/>
              <a:gd name="connsiteX3" fmla="*/ 5893708 w 10899657"/>
              <a:gd name="connsiteY3" fmla="*/ 2823628 h 8932548"/>
              <a:gd name="connsiteX4" fmla="*/ 6978903 w 10899657"/>
              <a:gd name="connsiteY4" fmla="*/ 4508319 h 8932548"/>
              <a:gd name="connsiteX5" fmla="*/ 9536941 w 10899657"/>
              <a:gd name="connsiteY5" fmla="*/ 5312303 h 8932548"/>
              <a:gd name="connsiteX6" fmla="*/ 9844100 w 10899657"/>
              <a:gd name="connsiteY6" fmla="*/ 6921897 h 8932548"/>
              <a:gd name="connsiteX7" fmla="*/ 10881369 w 10899657"/>
              <a:gd name="connsiteY7" fmla="*/ 7849721 h 8932548"/>
              <a:gd name="connsiteX8" fmla="*/ 10544656 w 10899657"/>
              <a:gd name="connsiteY8" fmla="*/ 8932548 h 8932548"/>
              <a:gd name="connsiteX0" fmla="*/ 37834 w 10905673"/>
              <a:gd name="connsiteY0" fmla="*/ 52200 h 8932548"/>
              <a:gd name="connsiteX1" fmla="*/ 1475184 w 10905673"/>
              <a:gd name="connsiteY1" fmla="*/ 1287603 h 8932548"/>
              <a:gd name="connsiteX2" fmla="*/ 3585104 w 10905673"/>
              <a:gd name="connsiteY2" fmla="*/ 2312985 h 8932548"/>
              <a:gd name="connsiteX3" fmla="*/ 5893708 w 10905673"/>
              <a:gd name="connsiteY3" fmla="*/ 2823628 h 8932548"/>
              <a:gd name="connsiteX4" fmla="*/ 6978903 w 10905673"/>
              <a:gd name="connsiteY4" fmla="*/ 4508319 h 8932548"/>
              <a:gd name="connsiteX5" fmla="*/ 9536941 w 10905673"/>
              <a:gd name="connsiteY5" fmla="*/ 5312303 h 8932548"/>
              <a:gd name="connsiteX6" fmla="*/ 9710670 w 10905673"/>
              <a:gd name="connsiteY6" fmla="*/ 7148546 h 8932548"/>
              <a:gd name="connsiteX7" fmla="*/ 10881369 w 10905673"/>
              <a:gd name="connsiteY7" fmla="*/ 7849721 h 8932548"/>
              <a:gd name="connsiteX8" fmla="*/ 10544656 w 10905673"/>
              <a:gd name="connsiteY8" fmla="*/ 8932548 h 8932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5673" h="8932548">
                <a:moveTo>
                  <a:pt x="37834" y="52200"/>
                </a:moveTo>
                <a:cubicBezTo>
                  <a:pt x="-209493" y="-250728"/>
                  <a:pt x="811712" y="844563"/>
                  <a:pt x="1475184" y="1287603"/>
                </a:cubicBezTo>
                <a:cubicBezTo>
                  <a:pt x="2138656" y="1730643"/>
                  <a:pt x="2848683" y="2056981"/>
                  <a:pt x="3585104" y="2312985"/>
                </a:cubicBezTo>
                <a:cubicBezTo>
                  <a:pt x="4321525" y="2568989"/>
                  <a:pt x="5328075" y="2457739"/>
                  <a:pt x="5893708" y="2823628"/>
                </a:cubicBezTo>
                <a:cubicBezTo>
                  <a:pt x="6459341" y="3189517"/>
                  <a:pt x="6371698" y="4093540"/>
                  <a:pt x="6978903" y="4508319"/>
                </a:cubicBezTo>
                <a:cubicBezTo>
                  <a:pt x="7586108" y="4923098"/>
                  <a:pt x="9081647" y="4872265"/>
                  <a:pt x="9536941" y="5312303"/>
                </a:cubicBezTo>
                <a:cubicBezTo>
                  <a:pt x="9992236" y="5752341"/>
                  <a:pt x="9486599" y="6725643"/>
                  <a:pt x="9710670" y="7148546"/>
                </a:cubicBezTo>
                <a:cubicBezTo>
                  <a:pt x="9934741" y="7571449"/>
                  <a:pt x="10742371" y="7552387"/>
                  <a:pt x="10881369" y="7849721"/>
                </a:cubicBezTo>
                <a:cubicBezTo>
                  <a:pt x="11020367" y="8147055"/>
                  <a:pt x="10516568" y="8754106"/>
                  <a:pt x="10544656" y="8932548"/>
                </a:cubicBezTo>
              </a:path>
            </a:pathLst>
          </a:custGeom>
          <a:noFill/>
          <a:ln w="38100" cap="rnd">
            <a:solidFill>
              <a:schemeClr val="tx2">
                <a:lumMod val="60000"/>
                <a:lumOff val="40000"/>
              </a:schemeClr>
            </a:solidFill>
            <a:prstDash val="sysDot"/>
            <a:headEnd type="none"/>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GE Inspira Sans"/>
              <a:ea typeface="+mn-ea"/>
              <a:cs typeface="+mn-cs"/>
            </a:endParaRPr>
          </a:p>
        </p:txBody>
      </p:sp>
      <p:sp>
        <p:nvSpPr>
          <p:cNvPr id="117" name="Freeform: Shape 78">
            <a:extLst>
              <a:ext uri="{FF2B5EF4-FFF2-40B4-BE49-F238E27FC236}">
                <a16:creationId xmlns:a16="http://schemas.microsoft.com/office/drawing/2014/main" id="{241E3FE2-979F-4142-8D6E-0821B7320B93}"/>
              </a:ext>
            </a:extLst>
          </p:cNvPr>
          <p:cNvSpPr/>
          <p:nvPr/>
        </p:nvSpPr>
        <p:spPr>
          <a:xfrm rot="2298835" flipV="1">
            <a:off x="1807800" y="-446355"/>
            <a:ext cx="8576396" cy="8682139"/>
          </a:xfrm>
          <a:custGeom>
            <a:avLst/>
            <a:gdLst>
              <a:gd name="connsiteX0" fmla="*/ 468186 w 6629995"/>
              <a:gd name="connsiteY0" fmla="*/ 0 h 4489005"/>
              <a:gd name="connsiteX1" fmla="*/ 904605 w 6629995"/>
              <a:gd name="connsiteY1" fmla="*/ 332510 h 4489005"/>
              <a:gd name="connsiteX2" fmla="*/ 1018905 w 6629995"/>
              <a:gd name="connsiteY2" fmla="*/ 1153391 h 4489005"/>
              <a:gd name="connsiteX3" fmla="*/ 208414 w 6629995"/>
              <a:gd name="connsiteY3" fmla="*/ 1465119 h 4489005"/>
              <a:gd name="connsiteX4" fmla="*/ 114895 w 6629995"/>
              <a:gd name="connsiteY4" fmla="*/ 1059873 h 4489005"/>
              <a:gd name="connsiteX5" fmla="*/ 1631968 w 6629995"/>
              <a:gd name="connsiteY5" fmla="*/ 706582 h 4489005"/>
              <a:gd name="connsiteX6" fmla="*/ 3003568 w 6629995"/>
              <a:gd name="connsiteY6" fmla="*/ 748146 h 4489005"/>
              <a:gd name="connsiteX7" fmla="*/ 3388032 w 6629995"/>
              <a:gd name="connsiteY7" fmla="*/ 1319646 h 4489005"/>
              <a:gd name="connsiteX8" fmla="*/ 3668586 w 6629995"/>
              <a:gd name="connsiteY8" fmla="*/ 2317173 h 4489005"/>
              <a:gd name="connsiteX9" fmla="*/ 4167350 w 6629995"/>
              <a:gd name="connsiteY9" fmla="*/ 2982191 h 4489005"/>
              <a:gd name="connsiteX10" fmla="*/ 3803668 w 6629995"/>
              <a:gd name="connsiteY10" fmla="*/ 4187537 h 4489005"/>
              <a:gd name="connsiteX11" fmla="*/ 5881850 w 6629995"/>
              <a:gd name="connsiteY11" fmla="*/ 4488873 h 4489005"/>
              <a:gd name="connsiteX12" fmla="*/ 6629995 w 6629995"/>
              <a:gd name="connsiteY12" fmla="*/ 4229100 h 4489005"/>
              <a:gd name="connsiteX13" fmla="*/ 6629995 w 6629995"/>
              <a:gd name="connsiteY13" fmla="*/ 4229100 h 4489005"/>
              <a:gd name="connsiteX0" fmla="*/ 468186 w 6629995"/>
              <a:gd name="connsiteY0" fmla="*/ 0 h 4489005"/>
              <a:gd name="connsiteX1" fmla="*/ 904605 w 6629995"/>
              <a:gd name="connsiteY1" fmla="*/ 332510 h 4489005"/>
              <a:gd name="connsiteX2" fmla="*/ 1018905 w 6629995"/>
              <a:gd name="connsiteY2" fmla="*/ 1153391 h 4489005"/>
              <a:gd name="connsiteX3" fmla="*/ 208414 w 6629995"/>
              <a:gd name="connsiteY3" fmla="*/ 1465119 h 4489005"/>
              <a:gd name="connsiteX4" fmla="*/ 114895 w 6629995"/>
              <a:gd name="connsiteY4" fmla="*/ 1059873 h 4489005"/>
              <a:gd name="connsiteX5" fmla="*/ 1631968 w 6629995"/>
              <a:gd name="connsiteY5" fmla="*/ 706582 h 4489005"/>
              <a:gd name="connsiteX6" fmla="*/ 3003568 w 6629995"/>
              <a:gd name="connsiteY6" fmla="*/ 748146 h 4489005"/>
              <a:gd name="connsiteX7" fmla="*/ 3388032 w 6629995"/>
              <a:gd name="connsiteY7" fmla="*/ 1319646 h 4489005"/>
              <a:gd name="connsiteX8" fmla="*/ 2781895 w 6629995"/>
              <a:gd name="connsiteY8" fmla="*/ 2275610 h 4489005"/>
              <a:gd name="connsiteX9" fmla="*/ 4167350 w 6629995"/>
              <a:gd name="connsiteY9" fmla="*/ 2982191 h 4489005"/>
              <a:gd name="connsiteX10" fmla="*/ 3803668 w 6629995"/>
              <a:gd name="connsiteY10" fmla="*/ 4187537 h 4489005"/>
              <a:gd name="connsiteX11" fmla="*/ 5881850 w 6629995"/>
              <a:gd name="connsiteY11" fmla="*/ 4488873 h 4489005"/>
              <a:gd name="connsiteX12" fmla="*/ 6629995 w 6629995"/>
              <a:gd name="connsiteY12" fmla="*/ 4229100 h 4489005"/>
              <a:gd name="connsiteX13" fmla="*/ 6629995 w 6629995"/>
              <a:gd name="connsiteY13" fmla="*/ 4229100 h 4489005"/>
              <a:gd name="connsiteX0" fmla="*/ 468186 w 6629995"/>
              <a:gd name="connsiteY0" fmla="*/ 0 h 4489005"/>
              <a:gd name="connsiteX1" fmla="*/ 904605 w 6629995"/>
              <a:gd name="connsiteY1" fmla="*/ 332510 h 4489005"/>
              <a:gd name="connsiteX2" fmla="*/ 1018905 w 6629995"/>
              <a:gd name="connsiteY2" fmla="*/ 1153391 h 4489005"/>
              <a:gd name="connsiteX3" fmla="*/ 208414 w 6629995"/>
              <a:gd name="connsiteY3" fmla="*/ 1465119 h 4489005"/>
              <a:gd name="connsiteX4" fmla="*/ 114895 w 6629995"/>
              <a:gd name="connsiteY4" fmla="*/ 1059873 h 4489005"/>
              <a:gd name="connsiteX5" fmla="*/ 1631968 w 6629995"/>
              <a:gd name="connsiteY5" fmla="*/ 706582 h 4489005"/>
              <a:gd name="connsiteX6" fmla="*/ 3003568 w 6629995"/>
              <a:gd name="connsiteY6" fmla="*/ 748146 h 4489005"/>
              <a:gd name="connsiteX7" fmla="*/ 3388032 w 6629995"/>
              <a:gd name="connsiteY7" fmla="*/ 1319646 h 4489005"/>
              <a:gd name="connsiteX8" fmla="*/ 2781895 w 6629995"/>
              <a:gd name="connsiteY8" fmla="*/ 2275610 h 4489005"/>
              <a:gd name="connsiteX9" fmla="*/ 4444441 w 6629995"/>
              <a:gd name="connsiteY9" fmla="*/ 2926773 h 4489005"/>
              <a:gd name="connsiteX10" fmla="*/ 3803668 w 6629995"/>
              <a:gd name="connsiteY10" fmla="*/ 4187537 h 4489005"/>
              <a:gd name="connsiteX11" fmla="*/ 5881850 w 6629995"/>
              <a:gd name="connsiteY11" fmla="*/ 4488873 h 4489005"/>
              <a:gd name="connsiteX12" fmla="*/ 6629995 w 6629995"/>
              <a:gd name="connsiteY12" fmla="*/ 4229100 h 4489005"/>
              <a:gd name="connsiteX13" fmla="*/ 6629995 w 6629995"/>
              <a:gd name="connsiteY13" fmla="*/ 4229100 h 4489005"/>
              <a:gd name="connsiteX0" fmla="*/ 469854 w 6631663"/>
              <a:gd name="connsiteY0" fmla="*/ 0 h 4489005"/>
              <a:gd name="connsiteX1" fmla="*/ 906273 w 6631663"/>
              <a:gd name="connsiteY1" fmla="*/ 332510 h 4489005"/>
              <a:gd name="connsiteX2" fmla="*/ 1062137 w 6631663"/>
              <a:gd name="connsiteY2" fmla="*/ 1305791 h 4489005"/>
              <a:gd name="connsiteX3" fmla="*/ 210082 w 6631663"/>
              <a:gd name="connsiteY3" fmla="*/ 1465119 h 4489005"/>
              <a:gd name="connsiteX4" fmla="*/ 116563 w 6631663"/>
              <a:gd name="connsiteY4" fmla="*/ 1059873 h 4489005"/>
              <a:gd name="connsiteX5" fmla="*/ 1633636 w 6631663"/>
              <a:gd name="connsiteY5" fmla="*/ 706582 h 4489005"/>
              <a:gd name="connsiteX6" fmla="*/ 3005236 w 6631663"/>
              <a:gd name="connsiteY6" fmla="*/ 748146 h 4489005"/>
              <a:gd name="connsiteX7" fmla="*/ 3389700 w 6631663"/>
              <a:gd name="connsiteY7" fmla="*/ 1319646 h 4489005"/>
              <a:gd name="connsiteX8" fmla="*/ 2783563 w 6631663"/>
              <a:gd name="connsiteY8" fmla="*/ 2275610 h 4489005"/>
              <a:gd name="connsiteX9" fmla="*/ 4446109 w 6631663"/>
              <a:gd name="connsiteY9" fmla="*/ 2926773 h 4489005"/>
              <a:gd name="connsiteX10" fmla="*/ 3805336 w 6631663"/>
              <a:gd name="connsiteY10" fmla="*/ 4187537 h 4489005"/>
              <a:gd name="connsiteX11" fmla="*/ 5883518 w 6631663"/>
              <a:gd name="connsiteY11" fmla="*/ 4488873 h 4489005"/>
              <a:gd name="connsiteX12" fmla="*/ 6631663 w 6631663"/>
              <a:gd name="connsiteY12" fmla="*/ 4229100 h 4489005"/>
              <a:gd name="connsiteX13" fmla="*/ 6631663 w 6631663"/>
              <a:gd name="connsiteY13" fmla="*/ 4229100 h 4489005"/>
              <a:gd name="connsiteX0" fmla="*/ 464962 w 6626771"/>
              <a:gd name="connsiteY0" fmla="*/ 0 h 4489005"/>
              <a:gd name="connsiteX1" fmla="*/ 901381 w 6626771"/>
              <a:gd name="connsiteY1" fmla="*/ 332510 h 4489005"/>
              <a:gd name="connsiteX2" fmla="*/ 1057245 w 6626771"/>
              <a:gd name="connsiteY2" fmla="*/ 1305791 h 4489005"/>
              <a:gd name="connsiteX3" fmla="*/ 219044 w 6626771"/>
              <a:gd name="connsiteY3" fmla="*/ 1603665 h 4489005"/>
              <a:gd name="connsiteX4" fmla="*/ 111671 w 6626771"/>
              <a:gd name="connsiteY4" fmla="*/ 1059873 h 4489005"/>
              <a:gd name="connsiteX5" fmla="*/ 1628744 w 6626771"/>
              <a:gd name="connsiteY5" fmla="*/ 706582 h 4489005"/>
              <a:gd name="connsiteX6" fmla="*/ 3000344 w 6626771"/>
              <a:gd name="connsiteY6" fmla="*/ 748146 h 4489005"/>
              <a:gd name="connsiteX7" fmla="*/ 3384808 w 6626771"/>
              <a:gd name="connsiteY7" fmla="*/ 1319646 h 4489005"/>
              <a:gd name="connsiteX8" fmla="*/ 2778671 w 6626771"/>
              <a:gd name="connsiteY8" fmla="*/ 2275610 h 4489005"/>
              <a:gd name="connsiteX9" fmla="*/ 4441217 w 6626771"/>
              <a:gd name="connsiteY9" fmla="*/ 2926773 h 4489005"/>
              <a:gd name="connsiteX10" fmla="*/ 3800444 w 6626771"/>
              <a:gd name="connsiteY10" fmla="*/ 4187537 h 4489005"/>
              <a:gd name="connsiteX11" fmla="*/ 5878626 w 6626771"/>
              <a:gd name="connsiteY11" fmla="*/ 4488873 h 4489005"/>
              <a:gd name="connsiteX12" fmla="*/ 6626771 w 6626771"/>
              <a:gd name="connsiteY12" fmla="*/ 4229100 h 4489005"/>
              <a:gd name="connsiteX13" fmla="*/ 6626771 w 6626771"/>
              <a:gd name="connsiteY13" fmla="*/ 4229100 h 4489005"/>
              <a:gd name="connsiteX0" fmla="*/ 521095 w 6682904"/>
              <a:gd name="connsiteY0" fmla="*/ 0 h 4489005"/>
              <a:gd name="connsiteX1" fmla="*/ 957514 w 6682904"/>
              <a:gd name="connsiteY1" fmla="*/ 332510 h 4489005"/>
              <a:gd name="connsiteX2" fmla="*/ 1113378 w 6682904"/>
              <a:gd name="connsiteY2" fmla="*/ 1305791 h 4489005"/>
              <a:gd name="connsiteX3" fmla="*/ 275177 w 6682904"/>
              <a:gd name="connsiteY3" fmla="*/ 1603665 h 4489005"/>
              <a:gd name="connsiteX4" fmla="*/ 167804 w 6682904"/>
              <a:gd name="connsiteY4" fmla="*/ 1059873 h 4489005"/>
              <a:gd name="connsiteX5" fmla="*/ 1684877 w 6682904"/>
              <a:gd name="connsiteY5" fmla="*/ 706582 h 4489005"/>
              <a:gd name="connsiteX6" fmla="*/ 3056477 w 6682904"/>
              <a:gd name="connsiteY6" fmla="*/ 748146 h 4489005"/>
              <a:gd name="connsiteX7" fmla="*/ 3440941 w 6682904"/>
              <a:gd name="connsiteY7" fmla="*/ 1319646 h 4489005"/>
              <a:gd name="connsiteX8" fmla="*/ 2834804 w 6682904"/>
              <a:gd name="connsiteY8" fmla="*/ 2275610 h 4489005"/>
              <a:gd name="connsiteX9" fmla="*/ 4497350 w 6682904"/>
              <a:gd name="connsiteY9" fmla="*/ 2926773 h 4489005"/>
              <a:gd name="connsiteX10" fmla="*/ 3856577 w 6682904"/>
              <a:gd name="connsiteY10" fmla="*/ 4187537 h 4489005"/>
              <a:gd name="connsiteX11" fmla="*/ 5934759 w 6682904"/>
              <a:gd name="connsiteY11" fmla="*/ 4488873 h 4489005"/>
              <a:gd name="connsiteX12" fmla="*/ 6682904 w 6682904"/>
              <a:gd name="connsiteY12" fmla="*/ 4229100 h 4489005"/>
              <a:gd name="connsiteX13" fmla="*/ 6682904 w 6682904"/>
              <a:gd name="connsiteY13" fmla="*/ 4229100 h 4489005"/>
              <a:gd name="connsiteX0" fmla="*/ 521095 w 6682904"/>
              <a:gd name="connsiteY0" fmla="*/ 0 h 4489005"/>
              <a:gd name="connsiteX1" fmla="*/ 957514 w 6682904"/>
              <a:gd name="connsiteY1" fmla="*/ 332510 h 4489005"/>
              <a:gd name="connsiteX2" fmla="*/ 1113378 w 6682904"/>
              <a:gd name="connsiteY2" fmla="*/ 1305791 h 4489005"/>
              <a:gd name="connsiteX3" fmla="*/ 275177 w 6682904"/>
              <a:gd name="connsiteY3" fmla="*/ 1603665 h 4489005"/>
              <a:gd name="connsiteX4" fmla="*/ 167804 w 6682904"/>
              <a:gd name="connsiteY4" fmla="*/ 1059873 h 4489005"/>
              <a:gd name="connsiteX5" fmla="*/ 1684877 w 6682904"/>
              <a:gd name="connsiteY5" fmla="*/ 706582 h 4489005"/>
              <a:gd name="connsiteX6" fmla="*/ 3056477 w 6682904"/>
              <a:gd name="connsiteY6" fmla="*/ 748146 h 4489005"/>
              <a:gd name="connsiteX7" fmla="*/ 3440941 w 6682904"/>
              <a:gd name="connsiteY7" fmla="*/ 1319646 h 4489005"/>
              <a:gd name="connsiteX8" fmla="*/ 2834804 w 6682904"/>
              <a:gd name="connsiteY8" fmla="*/ 2275610 h 4489005"/>
              <a:gd name="connsiteX9" fmla="*/ 4372659 w 6682904"/>
              <a:gd name="connsiteY9" fmla="*/ 2926773 h 4489005"/>
              <a:gd name="connsiteX10" fmla="*/ 3856577 w 6682904"/>
              <a:gd name="connsiteY10" fmla="*/ 4187537 h 4489005"/>
              <a:gd name="connsiteX11" fmla="*/ 5934759 w 6682904"/>
              <a:gd name="connsiteY11" fmla="*/ 4488873 h 4489005"/>
              <a:gd name="connsiteX12" fmla="*/ 6682904 w 6682904"/>
              <a:gd name="connsiteY12" fmla="*/ 4229100 h 4489005"/>
              <a:gd name="connsiteX13" fmla="*/ 6682904 w 6682904"/>
              <a:gd name="connsiteY13" fmla="*/ 4229100 h 4489005"/>
              <a:gd name="connsiteX0" fmla="*/ 360269 w 6522078"/>
              <a:gd name="connsiteY0" fmla="*/ 0 h 4489005"/>
              <a:gd name="connsiteX1" fmla="*/ 796688 w 6522078"/>
              <a:gd name="connsiteY1" fmla="*/ 332510 h 4489005"/>
              <a:gd name="connsiteX2" fmla="*/ 952552 w 6522078"/>
              <a:gd name="connsiteY2" fmla="*/ 1305791 h 4489005"/>
              <a:gd name="connsiteX3" fmla="*/ 6978 w 6522078"/>
              <a:gd name="connsiteY3" fmla="*/ 1059873 h 4489005"/>
              <a:gd name="connsiteX4" fmla="*/ 1524051 w 6522078"/>
              <a:gd name="connsiteY4" fmla="*/ 706582 h 4489005"/>
              <a:gd name="connsiteX5" fmla="*/ 2895651 w 6522078"/>
              <a:gd name="connsiteY5" fmla="*/ 748146 h 4489005"/>
              <a:gd name="connsiteX6" fmla="*/ 3280115 w 6522078"/>
              <a:gd name="connsiteY6" fmla="*/ 1319646 h 4489005"/>
              <a:gd name="connsiteX7" fmla="*/ 2673978 w 6522078"/>
              <a:gd name="connsiteY7" fmla="*/ 2275610 h 4489005"/>
              <a:gd name="connsiteX8" fmla="*/ 4211833 w 6522078"/>
              <a:gd name="connsiteY8" fmla="*/ 2926773 h 4489005"/>
              <a:gd name="connsiteX9" fmla="*/ 3695751 w 6522078"/>
              <a:gd name="connsiteY9" fmla="*/ 4187537 h 4489005"/>
              <a:gd name="connsiteX10" fmla="*/ 5773933 w 6522078"/>
              <a:gd name="connsiteY10" fmla="*/ 4488873 h 4489005"/>
              <a:gd name="connsiteX11" fmla="*/ 6522078 w 6522078"/>
              <a:gd name="connsiteY11" fmla="*/ 4229100 h 4489005"/>
              <a:gd name="connsiteX12" fmla="*/ 6522078 w 6522078"/>
              <a:gd name="connsiteY12" fmla="*/ 4229100 h 4489005"/>
              <a:gd name="connsiteX0" fmla="*/ 0 w 6161809"/>
              <a:gd name="connsiteY0" fmla="*/ 0 h 4489005"/>
              <a:gd name="connsiteX1" fmla="*/ 436419 w 6161809"/>
              <a:gd name="connsiteY1" fmla="*/ 332510 h 4489005"/>
              <a:gd name="connsiteX2" fmla="*/ 592283 w 6161809"/>
              <a:gd name="connsiteY2" fmla="*/ 1305791 h 4489005"/>
              <a:gd name="connsiteX3" fmla="*/ 1163782 w 6161809"/>
              <a:gd name="connsiteY3" fmla="*/ 706582 h 4489005"/>
              <a:gd name="connsiteX4" fmla="*/ 2535382 w 6161809"/>
              <a:gd name="connsiteY4" fmla="*/ 748146 h 4489005"/>
              <a:gd name="connsiteX5" fmla="*/ 2919846 w 6161809"/>
              <a:gd name="connsiteY5" fmla="*/ 1319646 h 4489005"/>
              <a:gd name="connsiteX6" fmla="*/ 2313709 w 6161809"/>
              <a:gd name="connsiteY6" fmla="*/ 2275610 h 4489005"/>
              <a:gd name="connsiteX7" fmla="*/ 3851564 w 6161809"/>
              <a:gd name="connsiteY7" fmla="*/ 2926773 h 4489005"/>
              <a:gd name="connsiteX8" fmla="*/ 3335482 w 6161809"/>
              <a:gd name="connsiteY8" fmla="*/ 4187537 h 4489005"/>
              <a:gd name="connsiteX9" fmla="*/ 5413664 w 6161809"/>
              <a:gd name="connsiteY9" fmla="*/ 4488873 h 4489005"/>
              <a:gd name="connsiteX10" fmla="*/ 6161809 w 6161809"/>
              <a:gd name="connsiteY10" fmla="*/ 4229100 h 4489005"/>
              <a:gd name="connsiteX11" fmla="*/ 6161809 w 6161809"/>
              <a:gd name="connsiteY11" fmla="*/ 4229100 h 4489005"/>
              <a:gd name="connsiteX0" fmla="*/ 0 w 6161809"/>
              <a:gd name="connsiteY0" fmla="*/ 0 h 4489005"/>
              <a:gd name="connsiteX1" fmla="*/ 436419 w 6161809"/>
              <a:gd name="connsiteY1" fmla="*/ 332510 h 4489005"/>
              <a:gd name="connsiteX2" fmla="*/ 1163782 w 6161809"/>
              <a:gd name="connsiteY2" fmla="*/ 706582 h 4489005"/>
              <a:gd name="connsiteX3" fmla="*/ 2535382 w 6161809"/>
              <a:gd name="connsiteY3" fmla="*/ 748146 h 4489005"/>
              <a:gd name="connsiteX4" fmla="*/ 2919846 w 6161809"/>
              <a:gd name="connsiteY4" fmla="*/ 1319646 h 4489005"/>
              <a:gd name="connsiteX5" fmla="*/ 2313709 w 6161809"/>
              <a:gd name="connsiteY5" fmla="*/ 2275610 h 4489005"/>
              <a:gd name="connsiteX6" fmla="*/ 3851564 w 6161809"/>
              <a:gd name="connsiteY6" fmla="*/ 2926773 h 4489005"/>
              <a:gd name="connsiteX7" fmla="*/ 3335482 w 6161809"/>
              <a:gd name="connsiteY7" fmla="*/ 4187537 h 4489005"/>
              <a:gd name="connsiteX8" fmla="*/ 5413664 w 6161809"/>
              <a:gd name="connsiteY8" fmla="*/ 4488873 h 4489005"/>
              <a:gd name="connsiteX9" fmla="*/ 6161809 w 6161809"/>
              <a:gd name="connsiteY9" fmla="*/ 4229100 h 4489005"/>
              <a:gd name="connsiteX10" fmla="*/ 6161809 w 6161809"/>
              <a:gd name="connsiteY10" fmla="*/ 4229100 h 4489005"/>
              <a:gd name="connsiteX0" fmla="*/ 0 w 6161809"/>
              <a:gd name="connsiteY0" fmla="*/ 0 h 4479616"/>
              <a:gd name="connsiteX1" fmla="*/ 436419 w 6161809"/>
              <a:gd name="connsiteY1" fmla="*/ 332510 h 4479616"/>
              <a:gd name="connsiteX2" fmla="*/ 1163782 w 6161809"/>
              <a:gd name="connsiteY2" fmla="*/ 706582 h 4479616"/>
              <a:gd name="connsiteX3" fmla="*/ 2535382 w 6161809"/>
              <a:gd name="connsiteY3" fmla="*/ 748146 h 4479616"/>
              <a:gd name="connsiteX4" fmla="*/ 2919846 w 6161809"/>
              <a:gd name="connsiteY4" fmla="*/ 1319646 h 4479616"/>
              <a:gd name="connsiteX5" fmla="*/ 2313709 w 6161809"/>
              <a:gd name="connsiteY5" fmla="*/ 2275610 h 4479616"/>
              <a:gd name="connsiteX6" fmla="*/ 3851564 w 6161809"/>
              <a:gd name="connsiteY6" fmla="*/ 2926773 h 4479616"/>
              <a:gd name="connsiteX7" fmla="*/ 3335482 w 6161809"/>
              <a:gd name="connsiteY7" fmla="*/ 4187537 h 4479616"/>
              <a:gd name="connsiteX8" fmla="*/ 4767620 w 6161809"/>
              <a:gd name="connsiteY8" fmla="*/ 4479479 h 4479616"/>
              <a:gd name="connsiteX9" fmla="*/ 6161809 w 6161809"/>
              <a:gd name="connsiteY9" fmla="*/ 4229100 h 4479616"/>
              <a:gd name="connsiteX10" fmla="*/ 6161809 w 6161809"/>
              <a:gd name="connsiteY10" fmla="*/ 4229100 h 4479616"/>
              <a:gd name="connsiteX0" fmla="*/ 0 w 6161809"/>
              <a:gd name="connsiteY0" fmla="*/ 0 h 4479616"/>
              <a:gd name="connsiteX1" fmla="*/ 436419 w 6161809"/>
              <a:gd name="connsiteY1" fmla="*/ 332510 h 4479616"/>
              <a:gd name="connsiteX2" fmla="*/ 1163782 w 6161809"/>
              <a:gd name="connsiteY2" fmla="*/ 706582 h 4479616"/>
              <a:gd name="connsiteX3" fmla="*/ 2535382 w 6161809"/>
              <a:gd name="connsiteY3" fmla="*/ 748146 h 4479616"/>
              <a:gd name="connsiteX4" fmla="*/ 2329755 w 6161809"/>
              <a:gd name="connsiteY4" fmla="*/ 1231675 h 4479616"/>
              <a:gd name="connsiteX5" fmla="*/ 2313709 w 6161809"/>
              <a:gd name="connsiteY5" fmla="*/ 2275610 h 4479616"/>
              <a:gd name="connsiteX6" fmla="*/ 3851564 w 6161809"/>
              <a:gd name="connsiteY6" fmla="*/ 2926773 h 4479616"/>
              <a:gd name="connsiteX7" fmla="*/ 3335482 w 6161809"/>
              <a:gd name="connsiteY7" fmla="*/ 4187537 h 4479616"/>
              <a:gd name="connsiteX8" fmla="*/ 4767620 w 6161809"/>
              <a:gd name="connsiteY8" fmla="*/ 4479479 h 4479616"/>
              <a:gd name="connsiteX9" fmla="*/ 6161809 w 6161809"/>
              <a:gd name="connsiteY9" fmla="*/ 4229100 h 4479616"/>
              <a:gd name="connsiteX10" fmla="*/ 6161809 w 6161809"/>
              <a:gd name="connsiteY10" fmla="*/ 4229100 h 4479616"/>
              <a:gd name="connsiteX0" fmla="*/ 0 w 6161809"/>
              <a:gd name="connsiteY0" fmla="*/ 0 h 4479616"/>
              <a:gd name="connsiteX1" fmla="*/ 436419 w 6161809"/>
              <a:gd name="connsiteY1" fmla="*/ 332510 h 4479616"/>
              <a:gd name="connsiteX2" fmla="*/ 1163782 w 6161809"/>
              <a:gd name="connsiteY2" fmla="*/ 706582 h 4479616"/>
              <a:gd name="connsiteX3" fmla="*/ 1824277 w 6161809"/>
              <a:gd name="connsiteY3" fmla="*/ 970173 h 4479616"/>
              <a:gd name="connsiteX4" fmla="*/ 2329755 w 6161809"/>
              <a:gd name="connsiteY4" fmla="*/ 1231675 h 4479616"/>
              <a:gd name="connsiteX5" fmla="*/ 2313709 w 6161809"/>
              <a:gd name="connsiteY5" fmla="*/ 2275610 h 4479616"/>
              <a:gd name="connsiteX6" fmla="*/ 3851564 w 6161809"/>
              <a:gd name="connsiteY6" fmla="*/ 2926773 h 4479616"/>
              <a:gd name="connsiteX7" fmla="*/ 3335482 w 6161809"/>
              <a:gd name="connsiteY7" fmla="*/ 4187537 h 4479616"/>
              <a:gd name="connsiteX8" fmla="*/ 4767620 w 6161809"/>
              <a:gd name="connsiteY8" fmla="*/ 4479479 h 4479616"/>
              <a:gd name="connsiteX9" fmla="*/ 6161809 w 6161809"/>
              <a:gd name="connsiteY9" fmla="*/ 4229100 h 4479616"/>
              <a:gd name="connsiteX10" fmla="*/ 6161809 w 6161809"/>
              <a:gd name="connsiteY10" fmla="*/ 4229100 h 4479616"/>
              <a:gd name="connsiteX0" fmla="*/ 0 w 6161809"/>
              <a:gd name="connsiteY0" fmla="*/ 0 h 4479616"/>
              <a:gd name="connsiteX1" fmla="*/ 436419 w 6161809"/>
              <a:gd name="connsiteY1" fmla="*/ 332510 h 4479616"/>
              <a:gd name="connsiteX2" fmla="*/ 1163782 w 6161809"/>
              <a:gd name="connsiteY2" fmla="*/ 706582 h 4479616"/>
              <a:gd name="connsiteX3" fmla="*/ 1824277 w 6161809"/>
              <a:gd name="connsiteY3" fmla="*/ 970173 h 4479616"/>
              <a:gd name="connsiteX4" fmla="*/ 2329755 w 6161809"/>
              <a:gd name="connsiteY4" fmla="*/ 1231675 h 4479616"/>
              <a:gd name="connsiteX5" fmla="*/ 2313709 w 6161809"/>
              <a:gd name="connsiteY5" fmla="*/ 2275610 h 4479616"/>
              <a:gd name="connsiteX6" fmla="*/ 3170201 w 6161809"/>
              <a:gd name="connsiteY6" fmla="*/ 3030457 h 4479616"/>
              <a:gd name="connsiteX7" fmla="*/ 3335482 w 6161809"/>
              <a:gd name="connsiteY7" fmla="*/ 4187537 h 4479616"/>
              <a:gd name="connsiteX8" fmla="*/ 4767620 w 6161809"/>
              <a:gd name="connsiteY8" fmla="*/ 4479479 h 4479616"/>
              <a:gd name="connsiteX9" fmla="*/ 6161809 w 6161809"/>
              <a:gd name="connsiteY9" fmla="*/ 4229100 h 4479616"/>
              <a:gd name="connsiteX10" fmla="*/ 6161809 w 6161809"/>
              <a:gd name="connsiteY10" fmla="*/ 4229100 h 4479616"/>
              <a:gd name="connsiteX0" fmla="*/ 0 w 6161809"/>
              <a:gd name="connsiteY0" fmla="*/ 0 h 4524341"/>
              <a:gd name="connsiteX1" fmla="*/ 436419 w 6161809"/>
              <a:gd name="connsiteY1" fmla="*/ 332510 h 4524341"/>
              <a:gd name="connsiteX2" fmla="*/ 1163782 w 6161809"/>
              <a:gd name="connsiteY2" fmla="*/ 706582 h 4524341"/>
              <a:gd name="connsiteX3" fmla="*/ 1824277 w 6161809"/>
              <a:gd name="connsiteY3" fmla="*/ 970173 h 4524341"/>
              <a:gd name="connsiteX4" fmla="*/ 2329755 w 6161809"/>
              <a:gd name="connsiteY4" fmla="*/ 1231675 h 4524341"/>
              <a:gd name="connsiteX5" fmla="*/ 2313709 w 6161809"/>
              <a:gd name="connsiteY5" fmla="*/ 2275610 h 4524341"/>
              <a:gd name="connsiteX6" fmla="*/ 3170201 w 6161809"/>
              <a:gd name="connsiteY6" fmla="*/ 3030457 h 4524341"/>
              <a:gd name="connsiteX7" fmla="*/ 4009843 w 6161809"/>
              <a:gd name="connsiteY7" fmla="*/ 4370412 h 4524341"/>
              <a:gd name="connsiteX8" fmla="*/ 4767620 w 6161809"/>
              <a:gd name="connsiteY8" fmla="*/ 4479479 h 4524341"/>
              <a:gd name="connsiteX9" fmla="*/ 6161809 w 6161809"/>
              <a:gd name="connsiteY9" fmla="*/ 4229100 h 4524341"/>
              <a:gd name="connsiteX10" fmla="*/ 6161809 w 6161809"/>
              <a:gd name="connsiteY10" fmla="*/ 4229100 h 4524341"/>
              <a:gd name="connsiteX0" fmla="*/ 0 w 6161809"/>
              <a:gd name="connsiteY0" fmla="*/ 0 h 4544897"/>
              <a:gd name="connsiteX1" fmla="*/ 436419 w 6161809"/>
              <a:gd name="connsiteY1" fmla="*/ 332510 h 4544897"/>
              <a:gd name="connsiteX2" fmla="*/ 1163782 w 6161809"/>
              <a:gd name="connsiteY2" fmla="*/ 706582 h 4544897"/>
              <a:gd name="connsiteX3" fmla="*/ 1824277 w 6161809"/>
              <a:gd name="connsiteY3" fmla="*/ 970173 h 4544897"/>
              <a:gd name="connsiteX4" fmla="*/ 2329755 w 6161809"/>
              <a:gd name="connsiteY4" fmla="*/ 1231675 h 4544897"/>
              <a:gd name="connsiteX5" fmla="*/ 2313709 w 6161809"/>
              <a:gd name="connsiteY5" fmla="*/ 2275610 h 4544897"/>
              <a:gd name="connsiteX6" fmla="*/ 3263616 w 6161809"/>
              <a:gd name="connsiteY6" fmla="*/ 2713999 h 4544897"/>
              <a:gd name="connsiteX7" fmla="*/ 4009843 w 6161809"/>
              <a:gd name="connsiteY7" fmla="*/ 4370412 h 4544897"/>
              <a:gd name="connsiteX8" fmla="*/ 4767620 w 6161809"/>
              <a:gd name="connsiteY8" fmla="*/ 4479479 h 4544897"/>
              <a:gd name="connsiteX9" fmla="*/ 6161809 w 6161809"/>
              <a:gd name="connsiteY9" fmla="*/ 4229100 h 4544897"/>
              <a:gd name="connsiteX10" fmla="*/ 6161809 w 6161809"/>
              <a:gd name="connsiteY10" fmla="*/ 4229100 h 4544897"/>
              <a:gd name="connsiteX0" fmla="*/ 0 w 6161809"/>
              <a:gd name="connsiteY0" fmla="*/ 0 h 4544897"/>
              <a:gd name="connsiteX1" fmla="*/ 436419 w 6161809"/>
              <a:gd name="connsiteY1" fmla="*/ 332510 h 4544897"/>
              <a:gd name="connsiteX2" fmla="*/ 839060 w 6161809"/>
              <a:gd name="connsiteY2" fmla="*/ 1019032 h 4544897"/>
              <a:gd name="connsiteX3" fmla="*/ 1824277 w 6161809"/>
              <a:gd name="connsiteY3" fmla="*/ 970173 h 4544897"/>
              <a:gd name="connsiteX4" fmla="*/ 2329755 w 6161809"/>
              <a:gd name="connsiteY4" fmla="*/ 1231675 h 4544897"/>
              <a:gd name="connsiteX5" fmla="*/ 2313709 w 6161809"/>
              <a:gd name="connsiteY5" fmla="*/ 2275610 h 4544897"/>
              <a:gd name="connsiteX6" fmla="*/ 3263616 w 6161809"/>
              <a:gd name="connsiteY6" fmla="*/ 2713999 h 4544897"/>
              <a:gd name="connsiteX7" fmla="*/ 4009843 w 6161809"/>
              <a:gd name="connsiteY7" fmla="*/ 4370412 h 4544897"/>
              <a:gd name="connsiteX8" fmla="*/ 4767620 w 6161809"/>
              <a:gd name="connsiteY8" fmla="*/ 4479479 h 4544897"/>
              <a:gd name="connsiteX9" fmla="*/ 6161809 w 6161809"/>
              <a:gd name="connsiteY9" fmla="*/ 4229100 h 4544897"/>
              <a:gd name="connsiteX10" fmla="*/ 6161809 w 6161809"/>
              <a:gd name="connsiteY10" fmla="*/ 4229100 h 4544897"/>
              <a:gd name="connsiteX0" fmla="*/ 0 w 6161809"/>
              <a:gd name="connsiteY0" fmla="*/ 0 h 4509628"/>
              <a:gd name="connsiteX1" fmla="*/ 436419 w 6161809"/>
              <a:gd name="connsiteY1" fmla="*/ 332510 h 4509628"/>
              <a:gd name="connsiteX2" fmla="*/ 839060 w 6161809"/>
              <a:gd name="connsiteY2" fmla="*/ 1019032 h 4509628"/>
              <a:gd name="connsiteX3" fmla="*/ 1824277 w 6161809"/>
              <a:gd name="connsiteY3" fmla="*/ 970173 h 4509628"/>
              <a:gd name="connsiteX4" fmla="*/ 2329755 w 6161809"/>
              <a:gd name="connsiteY4" fmla="*/ 1231675 h 4509628"/>
              <a:gd name="connsiteX5" fmla="*/ 2313709 w 6161809"/>
              <a:gd name="connsiteY5" fmla="*/ 2275610 h 4509628"/>
              <a:gd name="connsiteX6" fmla="*/ 3263616 w 6161809"/>
              <a:gd name="connsiteY6" fmla="*/ 2713999 h 4509628"/>
              <a:gd name="connsiteX7" fmla="*/ 4025251 w 6161809"/>
              <a:gd name="connsiteY7" fmla="*/ 3277920 h 4509628"/>
              <a:gd name="connsiteX8" fmla="*/ 4009843 w 6161809"/>
              <a:gd name="connsiteY8" fmla="*/ 4370412 h 4509628"/>
              <a:gd name="connsiteX9" fmla="*/ 4767620 w 6161809"/>
              <a:gd name="connsiteY9" fmla="*/ 4479479 h 4509628"/>
              <a:gd name="connsiteX10" fmla="*/ 6161809 w 6161809"/>
              <a:gd name="connsiteY10" fmla="*/ 4229100 h 4509628"/>
              <a:gd name="connsiteX11" fmla="*/ 6161809 w 6161809"/>
              <a:gd name="connsiteY11" fmla="*/ 4229100 h 4509628"/>
              <a:gd name="connsiteX0" fmla="*/ 0 w 6161809"/>
              <a:gd name="connsiteY0" fmla="*/ 0 h 4681544"/>
              <a:gd name="connsiteX1" fmla="*/ 436419 w 6161809"/>
              <a:gd name="connsiteY1" fmla="*/ 332510 h 4681544"/>
              <a:gd name="connsiteX2" fmla="*/ 839060 w 6161809"/>
              <a:gd name="connsiteY2" fmla="*/ 1019032 h 4681544"/>
              <a:gd name="connsiteX3" fmla="*/ 1824277 w 6161809"/>
              <a:gd name="connsiteY3" fmla="*/ 970173 h 4681544"/>
              <a:gd name="connsiteX4" fmla="*/ 2329755 w 6161809"/>
              <a:gd name="connsiteY4" fmla="*/ 1231675 h 4681544"/>
              <a:gd name="connsiteX5" fmla="*/ 2313709 w 6161809"/>
              <a:gd name="connsiteY5" fmla="*/ 2275610 h 4681544"/>
              <a:gd name="connsiteX6" fmla="*/ 3263616 w 6161809"/>
              <a:gd name="connsiteY6" fmla="*/ 2713999 h 4681544"/>
              <a:gd name="connsiteX7" fmla="*/ 4025251 w 6161809"/>
              <a:gd name="connsiteY7" fmla="*/ 3277920 h 4681544"/>
              <a:gd name="connsiteX8" fmla="*/ 4329270 w 6161809"/>
              <a:gd name="connsiteY8" fmla="*/ 4608059 h 4681544"/>
              <a:gd name="connsiteX9" fmla="*/ 4767620 w 6161809"/>
              <a:gd name="connsiteY9" fmla="*/ 4479479 h 4681544"/>
              <a:gd name="connsiteX10" fmla="*/ 6161809 w 6161809"/>
              <a:gd name="connsiteY10" fmla="*/ 4229100 h 4681544"/>
              <a:gd name="connsiteX11" fmla="*/ 6161809 w 6161809"/>
              <a:gd name="connsiteY11" fmla="*/ 4229100 h 4681544"/>
              <a:gd name="connsiteX0" fmla="*/ 0 w 6161809"/>
              <a:gd name="connsiteY0" fmla="*/ 0 h 4726990"/>
              <a:gd name="connsiteX1" fmla="*/ 436419 w 6161809"/>
              <a:gd name="connsiteY1" fmla="*/ 332510 h 4726990"/>
              <a:gd name="connsiteX2" fmla="*/ 839060 w 6161809"/>
              <a:gd name="connsiteY2" fmla="*/ 1019032 h 4726990"/>
              <a:gd name="connsiteX3" fmla="*/ 1824277 w 6161809"/>
              <a:gd name="connsiteY3" fmla="*/ 970173 h 4726990"/>
              <a:gd name="connsiteX4" fmla="*/ 2329755 w 6161809"/>
              <a:gd name="connsiteY4" fmla="*/ 1231675 h 4726990"/>
              <a:gd name="connsiteX5" fmla="*/ 2313709 w 6161809"/>
              <a:gd name="connsiteY5" fmla="*/ 2275610 h 4726990"/>
              <a:gd name="connsiteX6" fmla="*/ 3263616 w 6161809"/>
              <a:gd name="connsiteY6" fmla="*/ 2713999 h 4726990"/>
              <a:gd name="connsiteX7" fmla="*/ 4025251 w 6161809"/>
              <a:gd name="connsiteY7" fmla="*/ 3277920 h 4726990"/>
              <a:gd name="connsiteX8" fmla="*/ 4329270 w 6161809"/>
              <a:gd name="connsiteY8" fmla="*/ 4608059 h 4726990"/>
              <a:gd name="connsiteX9" fmla="*/ 5206487 w 6161809"/>
              <a:gd name="connsiteY9" fmla="*/ 4619774 h 4726990"/>
              <a:gd name="connsiteX10" fmla="*/ 6161809 w 6161809"/>
              <a:gd name="connsiteY10" fmla="*/ 4229100 h 4726990"/>
              <a:gd name="connsiteX11" fmla="*/ 6161809 w 6161809"/>
              <a:gd name="connsiteY11" fmla="*/ 4229100 h 4726990"/>
              <a:gd name="connsiteX0" fmla="*/ 0 w 6161809"/>
              <a:gd name="connsiteY0" fmla="*/ 0 h 4620242"/>
              <a:gd name="connsiteX1" fmla="*/ 436419 w 6161809"/>
              <a:gd name="connsiteY1" fmla="*/ 332510 h 4620242"/>
              <a:gd name="connsiteX2" fmla="*/ 839060 w 6161809"/>
              <a:gd name="connsiteY2" fmla="*/ 1019032 h 4620242"/>
              <a:gd name="connsiteX3" fmla="*/ 1824277 w 6161809"/>
              <a:gd name="connsiteY3" fmla="*/ 970173 h 4620242"/>
              <a:gd name="connsiteX4" fmla="*/ 2329755 w 6161809"/>
              <a:gd name="connsiteY4" fmla="*/ 1231675 h 4620242"/>
              <a:gd name="connsiteX5" fmla="*/ 2313709 w 6161809"/>
              <a:gd name="connsiteY5" fmla="*/ 2275610 h 4620242"/>
              <a:gd name="connsiteX6" fmla="*/ 3263616 w 6161809"/>
              <a:gd name="connsiteY6" fmla="*/ 2713999 h 4620242"/>
              <a:gd name="connsiteX7" fmla="*/ 4025251 w 6161809"/>
              <a:gd name="connsiteY7" fmla="*/ 3277920 h 4620242"/>
              <a:gd name="connsiteX8" fmla="*/ 4654898 w 6161809"/>
              <a:gd name="connsiteY8" fmla="*/ 4283292 h 4620242"/>
              <a:gd name="connsiteX9" fmla="*/ 5206487 w 6161809"/>
              <a:gd name="connsiteY9" fmla="*/ 4619774 h 4620242"/>
              <a:gd name="connsiteX10" fmla="*/ 6161809 w 6161809"/>
              <a:gd name="connsiteY10" fmla="*/ 4229100 h 4620242"/>
              <a:gd name="connsiteX11" fmla="*/ 6161809 w 6161809"/>
              <a:gd name="connsiteY11" fmla="*/ 4229100 h 4620242"/>
              <a:gd name="connsiteX0" fmla="*/ 0 w 6161809"/>
              <a:gd name="connsiteY0" fmla="*/ 0 h 4637188"/>
              <a:gd name="connsiteX1" fmla="*/ 436419 w 6161809"/>
              <a:gd name="connsiteY1" fmla="*/ 332510 h 4637188"/>
              <a:gd name="connsiteX2" fmla="*/ 839060 w 6161809"/>
              <a:gd name="connsiteY2" fmla="*/ 1019032 h 4637188"/>
              <a:gd name="connsiteX3" fmla="*/ 1824277 w 6161809"/>
              <a:gd name="connsiteY3" fmla="*/ 970173 h 4637188"/>
              <a:gd name="connsiteX4" fmla="*/ 2329755 w 6161809"/>
              <a:gd name="connsiteY4" fmla="*/ 1231675 h 4637188"/>
              <a:gd name="connsiteX5" fmla="*/ 2313709 w 6161809"/>
              <a:gd name="connsiteY5" fmla="*/ 2275610 h 4637188"/>
              <a:gd name="connsiteX6" fmla="*/ 3263616 w 6161809"/>
              <a:gd name="connsiteY6" fmla="*/ 2713999 h 4637188"/>
              <a:gd name="connsiteX7" fmla="*/ 4025251 w 6161809"/>
              <a:gd name="connsiteY7" fmla="*/ 3277920 h 4637188"/>
              <a:gd name="connsiteX8" fmla="*/ 4913773 w 6161809"/>
              <a:gd name="connsiteY8" fmla="*/ 3529403 h 4637188"/>
              <a:gd name="connsiteX9" fmla="*/ 5206487 w 6161809"/>
              <a:gd name="connsiteY9" fmla="*/ 4619774 h 4637188"/>
              <a:gd name="connsiteX10" fmla="*/ 6161809 w 6161809"/>
              <a:gd name="connsiteY10" fmla="*/ 4229100 h 4637188"/>
              <a:gd name="connsiteX11" fmla="*/ 6161809 w 6161809"/>
              <a:gd name="connsiteY11" fmla="*/ 4229100 h 4637188"/>
              <a:gd name="connsiteX0" fmla="*/ 0 w 6161809"/>
              <a:gd name="connsiteY0" fmla="*/ 0 h 6240690"/>
              <a:gd name="connsiteX1" fmla="*/ 436419 w 6161809"/>
              <a:gd name="connsiteY1" fmla="*/ 332510 h 6240690"/>
              <a:gd name="connsiteX2" fmla="*/ 839060 w 6161809"/>
              <a:gd name="connsiteY2" fmla="*/ 1019032 h 6240690"/>
              <a:gd name="connsiteX3" fmla="*/ 1824277 w 6161809"/>
              <a:gd name="connsiteY3" fmla="*/ 970173 h 6240690"/>
              <a:gd name="connsiteX4" fmla="*/ 2329755 w 6161809"/>
              <a:gd name="connsiteY4" fmla="*/ 1231675 h 6240690"/>
              <a:gd name="connsiteX5" fmla="*/ 2313709 w 6161809"/>
              <a:gd name="connsiteY5" fmla="*/ 2275610 h 6240690"/>
              <a:gd name="connsiteX6" fmla="*/ 3263616 w 6161809"/>
              <a:gd name="connsiteY6" fmla="*/ 2713999 h 6240690"/>
              <a:gd name="connsiteX7" fmla="*/ 4025251 w 6161809"/>
              <a:gd name="connsiteY7" fmla="*/ 3277920 h 6240690"/>
              <a:gd name="connsiteX8" fmla="*/ 4913773 w 6161809"/>
              <a:gd name="connsiteY8" fmla="*/ 3529403 h 6240690"/>
              <a:gd name="connsiteX9" fmla="*/ 5206487 w 6161809"/>
              <a:gd name="connsiteY9" fmla="*/ 4619774 h 6240690"/>
              <a:gd name="connsiteX10" fmla="*/ 6161809 w 6161809"/>
              <a:gd name="connsiteY10" fmla="*/ 4229100 h 6240690"/>
              <a:gd name="connsiteX11" fmla="*/ 5922893 w 6161809"/>
              <a:gd name="connsiteY11" fmla="*/ 6240691 h 6240690"/>
              <a:gd name="connsiteX0" fmla="*/ 0 w 6161809"/>
              <a:gd name="connsiteY0" fmla="*/ 0 h 6240691"/>
              <a:gd name="connsiteX1" fmla="*/ 436419 w 6161809"/>
              <a:gd name="connsiteY1" fmla="*/ 332510 h 6240691"/>
              <a:gd name="connsiteX2" fmla="*/ 839060 w 6161809"/>
              <a:gd name="connsiteY2" fmla="*/ 1019032 h 6240691"/>
              <a:gd name="connsiteX3" fmla="*/ 1824277 w 6161809"/>
              <a:gd name="connsiteY3" fmla="*/ 970173 h 6240691"/>
              <a:gd name="connsiteX4" fmla="*/ 2329755 w 6161809"/>
              <a:gd name="connsiteY4" fmla="*/ 1231675 h 6240691"/>
              <a:gd name="connsiteX5" fmla="*/ 2313709 w 6161809"/>
              <a:gd name="connsiteY5" fmla="*/ 2275610 h 6240691"/>
              <a:gd name="connsiteX6" fmla="*/ 3263616 w 6161809"/>
              <a:gd name="connsiteY6" fmla="*/ 2713999 h 6240691"/>
              <a:gd name="connsiteX7" fmla="*/ 4025251 w 6161809"/>
              <a:gd name="connsiteY7" fmla="*/ 3277920 h 6240691"/>
              <a:gd name="connsiteX8" fmla="*/ 4913773 w 6161809"/>
              <a:gd name="connsiteY8" fmla="*/ 3529403 h 6240691"/>
              <a:gd name="connsiteX9" fmla="*/ 6161809 w 6161809"/>
              <a:gd name="connsiteY9" fmla="*/ 4229100 h 6240691"/>
              <a:gd name="connsiteX10" fmla="*/ 5922893 w 6161809"/>
              <a:gd name="connsiteY10" fmla="*/ 6240691 h 6240691"/>
              <a:gd name="connsiteX0" fmla="*/ 0 w 5922893"/>
              <a:gd name="connsiteY0" fmla="*/ 0 h 6240691"/>
              <a:gd name="connsiteX1" fmla="*/ 436419 w 5922893"/>
              <a:gd name="connsiteY1" fmla="*/ 332510 h 6240691"/>
              <a:gd name="connsiteX2" fmla="*/ 839060 w 5922893"/>
              <a:gd name="connsiteY2" fmla="*/ 1019032 h 6240691"/>
              <a:gd name="connsiteX3" fmla="*/ 1824277 w 5922893"/>
              <a:gd name="connsiteY3" fmla="*/ 970173 h 6240691"/>
              <a:gd name="connsiteX4" fmla="*/ 2329755 w 5922893"/>
              <a:gd name="connsiteY4" fmla="*/ 1231675 h 6240691"/>
              <a:gd name="connsiteX5" fmla="*/ 2313709 w 5922893"/>
              <a:gd name="connsiteY5" fmla="*/ 2275610 h 6240691"/>
              <a:gd name="connsiteX6" fmla="*/ 3263616 w 5922893"/>
              <a:gd name="connsiteY6" fmla="*/ 2713999 h 6240691"/>
              <a:gd name="connsiteX7" fmla="*/ 4025251 w 5922893"/>
              <a:gd name="connsiteY7" fmla="*/ 3277920 h 6240691"/>
              <a:gd name="connsiteX8" fmla="*/ 4913773 w 5922893"/>
              <a:gd name="connsiteY8" fmla="*/ 3529403 h 6240691"/>
              <a:gd name="connsiteX9" fmla="*/ 5547300 w 5922893"/>
              <a:gd name="connsiteY9" fmla="*/ 4473735 h 6240691"/>
              <a:gd name="connsiteX10" fmla="*/ 5922893 w 5922893"/>
              <a:gd name="connsiteY10" fmla="*/ 6240691 h 6240691"/>
              <a:gd name="connsiteX0" fmla="*/ 0 w 5922893"/>
              <a:gd name="connsiteY0" fmla="*/ 0 h 6240691"/>
              <a:gd name="connsiteX1" fmla="*/ 436419 w 5922893"/>
              <a:gd name="connsiteY1" fmla="*/ 332510 h 6240691"/>
              <a:gd name="connsiteX2" fmla="*/ 839060 w 5922893"/>
              <a:gd name="connsiteY2" fmla="*/ 1019032 h 6240691"/>
              <a:gd name="connsiteX3" fmla="*/ 1824277 w 5922893"/>
              <a:gd name="connsiteY3" fmla="*/ 970173 h 6240691"/>
              <a:gd name="connsiteX4" fmla="*/ 2329755 w 5922893"/>
              <a:gd name="connsiteY4" fmla="*/ 1231675 h 6240691"/>
              <a:gd name="connsiteX5" fmla="*/ 2313709 w 5922893"/>
              <a:gd name="connsiteY5" fmla="*/ 2275610 h 6240691"/>
              <a:gd name="connsiteX6" fmla="*/ 3263616 w 5922893"/>
              <a:gd name="connsiteY6" fmla="*/ 2713999 h 6240691"/>
              <a:gd name="connsiteX7" fmla="*/ 4025251 w 5922893"/>
              <a:gd name="connsiteY7" fmla="*/ 3277920 h 6240691"/>
              <a:gd name="connsiteX8" fmla="*/ 4913773 w 5922893"/>
              <a:gd name="connsiteY8" fmla="*/ 3529403 h 6240691"/>
              <a:gd name="connsiteX9" fmla="*/ 5092958 w 5922893"/>
              <a:gd name="connsiteY9" fmla="*/ 4831033 h 6240691"/>
              <a:gd name="connsiteX10" fmla="*/ 5922893 w 5922893"/>
              <a:gd name="connsiteY10" fmla="*/ 6240691 h 6240691"/>
              <a:gd name="connsiteX0" fmla="*/ 0 w 5922893"/>
              <a:gd name="connsiteY0" fmla="*/ 0 h 6240691"/>
              <a:gd name="connsiteX1" fmla="*/ 436419 w 5922893"/>
              <a:gd name="connsiteY1" fmla="*/ 332510 h 6240691"/>
              <a:gd name="connsiteX2" fmla="*/ 839060 w 5922893"/>
              <a:gd name="connsiteY2" fmla="*/ 1019032 h 6240691"/>
              <a:gd name="connsiteX3" fmla="*/ 1824277 w 5922893"/>
              <a:gd name="connsiteY3" fmla="*/ 970173 h 6240691"/>
              <a:gd name="connsiteX4" fmla="*/ 2329755 w 5922893"/>
              <a:gd name="connsiteY4" fmla="*/ 1231675 h 6240691"/>
              <a:gd name="connsiteX5" fmla="*/ 2313709 w 5922893"/>
              <a:gd name="connsiteY5" fmla="*/ 2275610 h 6240691"/>
              <a:gd name="connsiteX6" fmla="*/ 3263616 w 5922893"/>
              <a:gd name="connsiteY6" fmla="*/ 2713999 h 6240691"/>
              <a:gd name="connsiteX7" fmla="*/ 4219448 w 5922893"/>
              <a:gd name="connsiteY7" fmla="*/ 3022640 h 6240691"/>
              <a:gd name="connsiteX8" fmla="*/ 4913773 w 5922893"/>
              <a:gd name="connsiteY8" fmla="*/ 3529403 h 6240691"/>
              <a:gd name="connsiteX9" fmla="*/ 5092958 w 5922893"/>
              <a:gd name="connsiteY9" fmla="*/ 4831033 h 6240691"/>
              <a:gd name="connsiteX10" fmla="*/ 5922893 w 5922893"/>
              <a:gd name="connsiteY10" fmla="*/ 6240691 h 6240691"/>
              <a:gd name="connsiteX0" fmla="*/ 0 w 5922893"/>
              <a:gd name="connsiteY0" fmla="*/ 0 h 6240691"/>
              <a:gd name="connsiteX1" fmla="*/ 436419 w 5922893"/>
              <a:gd name="connsiteY1" fmla="*/ 332510 h 6240691"/>
              <a:gd name="connsiteX2" fmla="*/ 839060 w 5922893"/>
              <a:gd name="connsiteY2" fmla="*/ 1019032 h 6240691"/>
              <a:gd name="connsiteX3" fmla="*/ 1824277 w 5922893"/>
              <a:gd name="connsiteY3" fmla="*/ 970173 h 6240691"/>
              <a:gd name="connsiteX4" fmla="*/ 2329755 w 5922893"/>
              <a:gd name="connsiteY4" fmla="*/ 1231675 h 6240691"/>
              <a:gd name="connsiteX5" fmla="*/ 2313709 w 5922893"/>
              <a:gd name="connsiteY5" fmla="*/ 2275610 h 6240691"/>
              <a:gd name="connsiteX6" fmla="*/ 3479784 w 5922893"/>
              <a:gd name="connsiteY6" fmla="*/ 3115435 h 6240691"/>
              <a:gd name="connsiteX7" fmla="*/ 4219448 w 5922893"/>
              <a:gd name="connsiteY7" fmla="*/ 3022640 h 6240691"/>
              <a:gd name="connsiteX8" fmla="*/ 4913773 w 5922893"/>
              <a:gd name="connsiteY8" fmla="*/ 3529403 h 6240691"/>
              <a:gd name="connsiteX9" fmla="*/ 5092958 w 5922893"/>
              <a:gd name="connsiteY9" fmla="*/ 4831033 h 6240691"/>
              <a:gd name="connsiteX10" fmla="*/ 5922893 w 5922893"/>
              <a:gd name="connsiteY10" fmla="*/ 6240691 h 6240691"/>
              <a:gd name="connsiteX0" fmla="*/ 0 w 5922893"/>
              <a:gd name="connsiteY0" fmla="*/ 0 h 6240691"/>
              <a:gd name="connsiteX1" fmla="*/ 436419 w 5922893"/>
              <a:gd name="connsiteY1" fmla="*/ 332510 h 6240691"/>
              <a:gd name="connsiteX2" fmla="*/ 839060 w 5922893"/>
              <a:gd name="connsiteY2" fmla="*/ 1019032 h 6240691"/>
              <a:gd name="connsiteX3" fmla="*/ 1824277 w 5922893"/>
              <a:gd name="connsiteY3" fmla="*/ 970173 h 6240691"/>
              <a:gd name="connsiteX4" fmla="*/ 2329755 w 5922893"/>
              <a:gd name="connsiteY4" fmla="*/ 1231675 h 6240691"/>
              <a:gd name="connsiteX5" fmla="*/ 2587655 w 5922893"/>
              <a:gd name="connsiteY5" fmla="*/ 2176825 h 6240691"/>
              <a:gd name="connsiteX6" fmla="*/ 3479784 w 5922893"/>
              <a:gd name="connsiteY6" fmla="*/ 3115435 h 6240691"/>
              <a:gd name="connsiteX7" fmla="*/ 4219448 w 5922893"/>
              <a:gd name="connsiteY7" fmla="*/ 3022640 h 6240691"/>
              <a:gd name="connsiteX8" fmla="*/ 4913773 w 5922893"/>
              <a:gd name="connsiteY8" fmla="*/ 3529403 h 6240691"/>
              <a:gd name="connsiteX9" fmla="*/ 5092958 w 5922893"/>
              <a:gd name="connsiteY9" fmla="*/ 4831033 h 6240691"/>
              <a:gd name="connsiteX10" fmla="*/ 5922893 w 5922893"/>
              <a:gd name="connsiteY10" fmla="*/ 6240691 h 6240691"/>
              <a:gd name="connsiteX0" fmla="*/ 0 w 6236793"/>
              <a:gd name="connsiteY0" fmla="*/ 0 h 6840425"/>
              <a:gd name="connsiteX1" fmla="*/ 750319 w 6236793"/>
              <a:gd name="connsiteY1" fmla="*/ 932244 h 6840425"/>
              <a:gd name="connsiteX2" fmla="*/ 1152960 w 6236793"/>
              <a:gd name="connsiteY2" fmla="*/ 1618766 h 6840425"/>
              <a:gd name="connsiteX3" fmla="*/ 2138177 w 6236793"/>
              <a:gd name="connsiteY3" fmla="*/ 1569907 h 6840425"/>
              <a:gd name="connsiteX4" fmla="*/ 2643655 w 6236793"/>
              <a:gd name="connsiteY4" fmla="*/ 1831409 h 6840425"/>
              <a:gd name="connsiteX5" fmla="*/ 2901555 w 6236793"/>
              <a:gd name="connsiteY5" fmla="*/ 2776559 h 6840425"/>
              <a:gd name="connsiteX6" fmla="*/ 3793684 w 6236793"/>
              <a:gd name="connsiteY6" fmla="*/ 3715169 h 6840425"/>
              <a:gd name="connsiteX7" fmla="*/ 4533348 w 6236793"/>
              <a:gd name="connsiteY7" fmla="*/ 3622374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236793"/>
              <a:gd name="connsiteY0" fmla="*/ 0 h 6840425"/>
              <a:gd name="connsiteX1" fmla="*/ 834861 w 6236793"/>
              <a:gd name="connsiteY1" fmla="*/ 685252 h 6840425"/>
              <a:gd name="connsiteX2" fmla="*/ 1152960 w 6236793"/>
              <a:gd name="connsiteY2" fmla="*/ 1618766 h 6840425"/>
              <a:gd name="connsiteX3" fmla="*/ 2138177 w 6236793"/>
              <a:gd name="connsiteY3" fmla="*/ 1569907 h 6840425"/>
              <a:gd name="connsiteX4" fmla="*/ 2643655 w 6236793"/>
              <a:gd name="connsiteY4" fmla="*/ 1831409 h 6840425"/>
              <a:gd name="connsiteX5" fmla="*/ 2901555 w 6236793"/>
              <a:gd name="connsiteY5" fmla="*/ 2776559 h 6840425"/>
              <a:gd name="connsiteX6" fmla="*/ 3793684 w 6236793"/>
              <a:gd name="connsiteY6" fmla="*/ 3715169 h 6840425"/>
              <a:gd name="connsiteX7" fmla="*/ 4533348 w 6236793"/>
              <a:gd name="connsiteY7" fmla="*/ 3622374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236793"/>
              <a:gd name="connsiteY0" fmla="*/ 0 h 6840425"/>
              <a:gd name="connsiteX1" fmla="*/ 834861 w 6236793"/>
              <a:gd name="connsiteY1" fmla="*/ 685252 h 6840425"/>
              <a:gd name="connsiteX2" fmla="*/ 1152960 w 6236793"/>
              <a:gd name="connsiteY2" fmla="*/ 1618766 h 6840425"/>
              <a:gd name="connsiteX3" fmla="*/ 2050545 w 6236793"/>
              <a:gd name="connsiteY3" fmla="*/ 1519757 h 6840425"/>
              <a:gd name="connsiteX4" fmla="*/ 2643655 w 6236793"/>
              <a:gd name="connsiteY4" fmla="*/ 1831409 h 6840425"/>
              <a:gd name="connsiteX5" fmla="*/ 2901555 w 6236793"/>
              <a:gd name="connsiteY5" fmla="*/ 2776559 h 6840425"/>
              <a:gd name="connsiteX6" fmla="*/ 3793684 w 6236793"/>
              <a:gd name="connsiteY6" fmla="*/ 3715169 h 6840425"/>
              <a:gd name="connsiteX7" fmla="*/ 4533348 w 6236793"/>
              <a:gd name="connsiteY7" fmla="*/ 3622374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236793"/>
              <a:gd name="connsiteY0" fmla="*/ 0 h 6840425"/>
              <a:gd name="connsiteX1" fmla="*/ 834861 w 6236793"/>
              <a:gd name="connsiteY1" fmla="*/ 685252 h 6840425"/>
              <a:gd name="connsiteX2" fmla="*/ 1152960 w 6236793"/>
              <a:gd name="connsiteY2" fmla="*/ 1618766 h 6840425"/>
              <a:gd name="connsiteX3" fmla="*/ 2050545 w 6236793"/>
              <a:gd name="connsiteY3" fmla="*/ 1519757 h 6840425"/>
              <a:gd name="connsiteX4" fmla="*/ 2547864 w 6236793"/>
              <a:gd name="connsiteY4" fmla="*/ 1779351 h 6840425"/>
              <a:gd name="connsiteX5" fmla="*/ 2901555 w 6236793"/>
              <a:gd name="connsiteY5" fmla="*/ 2776559 h 6840425"/>
              <a:gd name="connsiteX6" fmla="*/ 3793684 w 6236793"/>
              <a:gd name="connsiteY6" fmla="*/ 3715169 h 6840425"/>
              <a:gd name="connsiteX7" fmla="*/ 4533348 w 6236793"/>
              <a:gd name="connsiteY7" fmla="*/ 3622374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236793"/>
              <a:gd name="connsiteY0" fmla="*/ 0 h 6840425"/>
              <a:gd name="connsiteX1" fmla="*/ 834861 w 6236793"/>
              <a:gd name="connsiteY1" fmla="*/ 685252 h 6840425"/>
              <a:gd name="connsiteX2" fmla="*/ 1152960 w 6236793"/>
              <a:gd name="connsiteY2" fmla="*/ 1618766 h 6840425"/>
              <a:gd name="connsiteX3" fmla="*/ 2050545 w 6236793"/>
              <a:gd name="connsiteY3" fmla="*/ 1519757 h 6840425"/>
              <a:gd name="connsiteX4" fmla="*/ 2547864 w 6236793"/>
              <a:gd name="connsiteY4" fmla="*/ 1779351 h 6840425"/>
              <a:gd name="connsiteX5" fmla="*/ 2852193 w 6236793"/>
              <a:gd name="connsiteY5" fmla="*/ 2883572 h 6840425"/>
              <a:gd name="connsiteX6" fmla="*/ 3793684 w 6236793"/>
              <a:gd name="connsiteY6" fmla="*/ 3715169 h 6840425"/>
              <a:gd name="connsiteX7" fmla="*/ 4533348 w 6236793"/>
              <a:gd name="connsiteY7" fmla="*/ 3622374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236793"/>
              <a:gd name="connsiteY0" fmla="*/ 0 h 6840425"/>
              <a:gd name="connsiteX1" fmla="*/ 834861 w 6236793"/>
              <a:gd name="connsiteY1" fmla="*/ 685252 h 6840425"/>
              <a:gd name="connsiteX2" fmla="*/ 1152960 w 6236793"/>
              <a:gd name="connsiteY2" fmla="*/ 1618766 h 6840425"/>
              <a:gd name="connsiteX3" fmla="*/ 2050545 w 6236793"/>
              <a:gd name="connsiteY3" fmla="*/ 1519757 h 6840425"/>
              <a:gd name="connsiteX4" fmla="*/ 2547864 w 6236793"/>
              <a:gd name="connsiteY4" fmla="*/ 1779351 h 6840425"/>
              <a:gd name="connsiteX5" fmla="*/ 2852193 w 6236793"/>
              <a:gd name="connsiteY5" fmla="*/ 2883572 h 6840425"/>
              <a:gd name="connsiteX6" fmla="*/ 3452115 w 6236793"/>
              <a:gd name="connsiteY6" fmla="*/ 3279536 h 6840425"/>
              <a:gd name="connsiteX7" fmla="*/ 4533348 w 6236793"/>
              <a:gd name="connsiteY7" fmla="*/ 3622374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236793"/>
              <a:gd name="connsiteY0" fmla="*/ 0 h 6840425"/>
              <a:gd name="connsiteX1" fmla="*/ 834861 w 6236793"/>
              <a:gd name="connsiteY1" fmla="*/ 685252 h 6840425"/>
              <a:gd name="connsiteX2" fmla="*/ 1152960 w 6236793"/>
              <a:gd name="connsiteY2" fmla="*/ 1618766 h 6840425"/>
              <a:gd name="connsiteX3" fmla="*/ 2050545 w 6236793"/>
              <a:gd name="connsiteY3" fmla="*/ 1519757 h 6840425"/>
              <a:gd name="connsiteX4" fmla="*/ 2547864 w 6236793"/>
              <a:gd name="connsiteY4" fmla="*/ 1779351 h 6840425"/>
              <a:gd name="connsiteX5" fmla="*/ 2852193 w 6236793"/>
              <a:gd name="connsiteY5" fmla="*/ 2883572 h 6840425"/>
              <a:gd name="connsiteX6" fmla="*/ 3452115 w 6236793"/>
              <a:gd name="connsiteY6" fmla="*/ 3279536 h 6840425"/>
              <a:gd name="connsiteX7" fmla="*/ 4346993 w 6236793"/>
              <a:gd name="connsiteY7" fmla="*/ 3786255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236793"/>
              <a:gd name="connsiteY0" fmla="*/ 0 h 6840425"/>
              <a:gd name="connsiteX1" fmla="*/ 834861 w 6236793"/>
              <a:gd name="connsiteY1" fmla="*/ 685252 h 6840425"/>
              <a:gd name="connsiteX2" fmla="*/ 1152960 w 6236793"/>
              <a:gd name="connsiteY2" fmla="*/ 1618766 h 6840425"/>
              <a:gd name="connsiteX3" fmla="*/ 2050545 w 6236793"/>
              <a:gd name="connsiteY3" fmla="*/ 1519757 h 6840425"/>
              <a:gd name="connsiteX4" fmla="*/ 2547864 w 6236793"/>
              <a:gd name="connsiteY4" fmla="*/ 1779351 h 6840425"/>
              <a:gd name="connsiteX5" fmla="*/ 2852193 w 6236793"/>
              <a:gd name="connsiteY5" fmla="*/ 2883572 h 6840425"/>
              <a:gd name="connsiteX6" fmla="*/ 3586296 w 6236793"/>
              <a:gd name="connsiteY6" fmla="*/ 3147909 h 6840425"/>
              <a:gd name="connsiteX7" fmla="*/ 4346993 w 6236793"/>
              <a:gd name="connsiteY7" fmla="*/ 3786255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236793"/>
              <a:gd name="connsiteY0" fmla="*/ 0 h 6840425"/>
              <a:gd name="connsiteX1" fmla="*/ 834861 w 6236793"/>
              <a:gd name="connsiteY1" fmla="*/ 685252 h 6840425"/>
              <a:gd name="connsiteX2" fmla="*/ 1152960 w 6236793"/>
              <a:gd name="connsiteY2" fmla="*/ 1618766 h 6840425"/>
              <a:gd name="connsiteX3" fmla="*/ 2050545 w 6236793"/>
              <a:gd name="connsiteY3" fmla="*/ 1519757 h 6840425"/>
              <a:gd name="connsiteX4" fmla="*/ 2547864 w 6236793"/>
              <a:gd name="connsiteY4" fmla="*/ 1779351 h 6840425"/>
              <a:gd name="connsiteX5" fmla="*/ 2852193 w 6236793"/>
              <a:gd name="connsiteY5" fmla="*/ 2883572 h 6840425"/>
              <a:gd name="connsiteX6" fmla="*/ 3586296 w 6236793"/>
              <a:gd name="connsiteY6" fmla="*/ 3147909 h 6840425"/>
              <a:gd name="connsiteX7" fmla="*/ 4230204 w 6236793"/>
              <a:gd name="connsiteY7" fmla="*/ 3907136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236793"/>
              <a:gd name="connsiteY0" fmla="*/ 0 h 6840425"/>
              <a:gd name="connsiteX1" fmla="*/ 834861 w 6236793"/>
              <a:gd name="connsiteY1" fmla="*/ 685252 h 6840425"/>
              <a:gd name="connsiteX2" fmla="*/ 1152960 w 6236793"/>
              <a:gd name="connsiteY2" fmla="*/ 1618766 h 6840425"/>
              <a:gd name="connsiteX3" fmla="*/ 2050545 w 6236793"/>
              <a:gd name="connsiteY3" fmla="*/ 1519757 h 6840425"/>
              <a:gd name="connsiteX4" fmla="*/ 2547864 w 6236793"/>
              <a:gd name="connsiteY4" fmla="*/ 1779351 h 6840425"/>
              <a:gd name="connsiteX5" fmla="*/ 2852193 w 6236793"/>
              <a:gd name="connsiteY5" fmla="*/ 2883572 h 6840425"/>
              <a:gd name="connsiteX6" fmla="*/ 3684624 w 6236793"/>
              <a:gd name="connsiteY6" fmla="*/ 3052352 h 6840425"/>
              <a:gd name="connsiteX7" fmla="*/ 4230204 w 6236793"/>
              <a:gd name="connsiteY7" fmla="*/ 3907136 h 6840425"/>
              <a:gd name="connsiteX8" fmla="*/ 5227673 w 6236793"/>
              <a:gd name="connsiteY8" fmla="*/ 4129137 h 6840425"/>
              <a:gd name="connsiteX9" fmla="*/ 5406858 w 6236793"/>
              <a:gd name="connsiteY9" fmla="*/ 5430767 h 6840425"/>
              <a:gd name="connsiteX10" fmla="*/ 6236793 w 6236793"/>
              <a:gd name="connsiteY10" fmla="*/ 6840425 h 6840425"/>
              <a:gd name="connsiteX0" fmla="*/ 0 w 6358457"/>
              <a:gd name="connsiteY0" fmla="*/ 0 h 6600705"/>
              <a:gd name="connsiteX1" fmla="*/ 956525 w 6358457"/>
              <a:gd name="connsiteY1" fmla="*/ 445532 h 6600705"/>
              <a:gd name="connsiteX2" fmla="*/ 1274624 w 6358457"/>
              <a:gd name="connsiteY2" fmla="*/ 1379046 h 6600705"/>
              <a:gd name="connsiteX3" fmla="*/ 2172209 w 6358457"/>
              <a:gd name="connsiteY3" fmla="*/ 1280037 h 6600705"/>
              <a:gd name="connsiteX4" fmla="*/ 2669528 w 6358457"/>
              <a:gd name="connsiteY4" fmla="*/ 1539631 h 6600705"/>
              <a:gd name="connsiteX5" fmla="*/ 2973857 w 6358457"/>
              <a:gd name="connsiteY5" fmla="*/ 2643852 h 6600705"/>
              <a:gd name="connsiteX6" fmla="*/ 3806288 w 6358457"/>
              <a:gd name="connsiteY6" fmla="*/ 2812632 h 6600705"/>
              <a:gd name="connsiteX7" fmla="*/ 4351868 w 6358457"/>
              <a:gd name="connsiteY7" fmla="*/ 3667416 h 6600705"/>
              <a:gd name="connsiteX8" fmla="*/ 5349337 w 6358457"/>
              <a:gd name="connsiteY8" fmla="*/ 3889417 h 6600705"/>
              <a:gd name="connsiteX9" fmla="*/ 5528522 w 6358457"/>
              <a:gd name="connsiteY9" fmla="*/ 5191047 h 6600705"/>
              <a:gd name="connsiteX10" fmla="*/ 6358457 w 6358457"/>
              <a:gd name="connsiteY10" fmla="*/ 6600705 h 6600705"/>
              <a:gd name="connsiteX0" fmla="*/ 0 w 6358457"/>
              <a:gd name="connsiteY0" fmla="*/ 0 h 6600705"/>
              <a:gd name="connsiteX1" fmla="*/ 993791 w 6358457"/>
              <a:gd name="connsiteY1" fmla="*/ 354333 h 6600705"/>
              <a:gd name="connsiteX2" fmla="*/ 1274624 w 6358457"/>
              <a:gd name="connsiteY2" fmla="*/ 1379046 h 6600705"/>
              <a:gd name="connsiteX3" fmla="*/ 2172209 w 6358457"/>
              <a:gd name="connsiteY3" fmla="*/ 1280037 h 6600705"/>
              <a:gd name="connsiteX4" fmla="*/ 2669528 w 6358457"/>
              <a:gd name="connsiteY4" fmla="*/ 1539631 h 6600705"/>
              <a:gd name="connsiteX5" fmla="*/ 2973857 w 6358457"/>
              <a:gd name="connsiteY5" fmla="*/ 2643852 h 6600705"/>
              <a:gd name="connsiteX6" fmla="*/ 3806288 w 6358457"/>
              <a:gd name="connsiteY6" fmla="*/ 2812632 h 6600705"/>
              <a:gd name="connsiteX7" fmla="*/ 4351868 w 6358457"/>
              <a:gd name="connsiteY7" fmla="*/ 3667416 h 6600705"/>
              <a:gd name="connsiteX8" fmla="*/ 5349337 w 6358457"/>
              <a:gd name="connsiteY8" fmla="*/ 3889417 h 6600705"/>
              <a:gd name="connsiteX9" fmla="*/ 5528522 w 6358457"/>
              <a:gd name="connsiteY9" fmla="*/ 5191047 h 6600705"/>
              <a:gd name="connsiteX10" fmla="*/ 6358457 w 6358457"/>
              <a:gd name="connsiteY10" fmla="*/ 6600705 h 6600705"/>
              <a:gd name="connsiteX0" fmla="*/ 0 w 6358457"/>
              <a:gd name="connsiteY0" fmla="*/ 0 h 6600705"/>
              <a:gd name="connsiteX1" fmla="*/ 993791 w 6358457"/>
              <a:gd name="connsiteY1" fmla="*/ 354333 h 6600705"/>
              <a:gd name="connsiteX2" fmla="*/ 1483998 w 6358457"/>
              <a:gd name="connsiteY2" fmla="*/ 1330826 h 6600705"/>
              <a:gd name="connsiteX3" fmla="*/ 2172209 w 6358457"/>
              <a:gd name="connsiteY3" fmla="*/ 1280037 h 6600705"/>
              <a:gd name="connsiteX4" fmla="*/ 2669528 w 6358457"/>
              <a:gd name="connsiteY4" fmla="*/ 1539631 h 6600705"/>
              <a:gd name="connsiteX5" fmla="*/ 2973857 w 6358457"/>
              <a:gd name="connsiteY5" fmla="*/ 2643852 h 6600705"/>
              <a:gd name="connsiteX6" fmla="*/ 3806288 w 6358457"/>
              <a:gd name="connsiteY6" fmla="*/ 2812632 h 6600705"/>
              <a:gd name="connsiteX7" fmla="*/ 4351868 w 6358457"/>
              <a:gd name="connsiteY7" fmla="*/ 3667416 h 6600705"/>
              <a:gd name="connsiteX8" fmla="*/ 5349337 w 6358457"/>
              <a:gd name="connsiteY8" fmla="*/ 3889417 h 6600705"/>
              <a:gd name="connsiteX9" fmla="*/ 5528522 w 6358457"/>
              <a:gd name="connsiteY9" fmla="*/ 5191047 h 6600705"/>
              <a:gd name="connsiteX10" fmla="*/ 6358457 w 6358457"/>
              <a:gd name="connsiteY10" fmla="*/ 6600705 h 6600705"/>
              <a:gd name="connsiteX0" fmla="*/ 0 w 6358457"/>
              <a:gd name="connsiteY0" fmla="*/ 0 h 6600705"/>
              <a:gd name="connsiteX1" fmla="*/ 993791 w 6358457"/>
              <a:gd name="connsiteY1" fmla="*/ 354333 h 6600705"/>
              <a:gd name="connsiteX2" fmla="*/ 1483998 w 6358457"/>
              <a:gd name="connsiteY2" fmla="*/ 1330826 h 6600705"/>
              <a:gd name="connsiteX3" fmla="*/ 2330944 w 6358457"/>
              <a:gd name="connsiteY3" fmla="*/ 1320930 h 6600705"/>
              <a:gd name="connsiteX4" fmla="*/ 2669528 w 6358457"/>
              <a:gd name="connsiteY4" fmla="*/ 1539631 h 6600705"/>
              <a:gd name="connsiteX5" fmla="*/ 2973857 w 6358457"/>
              <a:gd name="connsiteY5" fmla="*/ 2643852 h 6600705"/>
              <a:gd name="connsiteX6" fmla="*/ 3806288 w 6358457"/>
              <a:gd name="connsiteY6" fmla="*/ 2812632 h 6600705"/>
              <a:gd name="connsiteX7" fmla="*/ 4351868 w 6358457"/>
              <a:gd name="connsiteY7" fmla="*/ 3667416 h 6600705"/>
              <a:gd name="connsiteX8" fmla="*/ 5349337 w 6358457"/>
              <a:gd name="connsiteY8" fmla="*/ 3889417 h 6600705"/>
              <a:gd name="connsiteX9" fmla="*/ 5528522 w 6358457"/>
              <a:gd name="connsiteY9" fmla="*/ 5191047 h 6600705"/>
              <a:gd name="connsiteX10" fmla="*/ 6358457 w 6358457"/>
              <a:gd name="connsiteY10" fmla="*/ 6600705 h 6600705"/>
              <a:gd name="connsiteX0" fmla="*/ 0 w 6686511"/>
              <a:gd name="connsiteY0" fmla="*/ -1 h 6576232"/>
              <a:gd name="connsiteX1" fmla="*/ 1321845 w 6686511"/>
              <a:gd name="connsiteY1" fmla="*/ 329860 h 6576232"/>
              <a:gd name="connsiteX2" fmla="*/ 1812052 w 6686511"/>
              <a:gd name="connsiteY2" fmla="*/ 1306353 h 6576232"/>
              <a:gd name="connsiteX3" fmla="*/ 2658998 w 6686511"/>
              <a:gd name="connsiteY3" fmla="*/ 1296457 h 6576232"/>
              <a:gd name="connsiteX4" fmla="*/ 2997582 w 6686511"/>
              <a:gd name="connsiteY4" fmla="*/ 1515158 h 6576232"/>
              <a:gd name="connsiteX5" fmla="*/ 3301911 w 6686511"/>
              <a:gd name="connsiteY5" fmla="*/ 2619379 h 6576232"/>
              <a:gd name="connsiteX6" fmla="*/ 4134342 w 6686511"/>
              <a:gd name="connsiteY6" fmla="*/ 2788159 h 6576232"/>
              <a:gd name="connsiteX7" fmla="*/ 4679922 w 6686511"/>
              <a:gd name="connsiteY7" fmla="*/ 3642943 h 6576232"/>
              <a:gd name="connsiteX8" fmla="*/ 5677391 w 6686511"/>
              <a:gd name="connsiteY8" fmla="*/ 3864944 h 6576232"/>
              <a:gd name="connsiteX9" fmla="*/ 5856576 w 6686511"/>
              <a:gd name="connsiteY9" fmla="*/ 5166574 h 6576232"/>
              <a:gd name="connsiteX10" fmla="*/ 6686511 w 6686511"/>
              <a:gd name="connsiteY10" fmla="*/ 6576232 h 6576232"/>
              <a:gd name="connsiteX0" fmla="*/ 24146 w 6710657"/>
              <a:gd name="connsiteY0" fmla="*/ 0 h 6576233"/>
              <a:gd name="connsiteX1" fmla="*/ 1345991 w 6710657"/>
              <a:gd name="connsiteY1" fmla="*/ 329861 h 6576233"/>
              <a:gd name="connsiteX2" fmla="*/ 1836198 w 6710657"/>
              <a:gd name="connsiteY2" fmla="*/ 1306354 h 6576233"/>
              <a:gd name="connsiteX3" fmla="*/ 2683144 w 6710657"/>
              <a:gd name="connsiteY3" fmla="*/ 1296458 h 6576233"/>
              <a:gd name="connsiteX4" fmla="*/ 3021728 w 6710657"/>
              <a:gd name="connsiteY4" fmla="*/ 1515159 h 6576233"/>
              <a:gd name="connsiteX5" fmla="*/ 3326057 w 6710657"/>
              <a:gd name="connsiteY5" fmla="*/ 2619380 h 6576233"/>
              <a:gd name="connsiteX6" fmla="*/ 4158488 w 6710657"/>
              <a:gd name="connsiteY6" fmla="*/ 2788160 h 6576233"/>
              <a:gd name="connsiteX7" fmla="*/ 4704068 w 6710657"/>
              <a:gd name="connsiteY7" fmla="*/ 3642944 h 6576233"/>
              <a:gd name="connsiteX8" fmla="*/ 5701537 w 6710657"/>
              <a:gd name="connsiteY8" fmla="*/ 3864945 h 6576233"/>
              <a:gd name="connsiteX9" fmla="*/ 5880722 w 6710657"/>
              <a:gd name="connsiteY9" fmla="*/ 5166575 h 6576233"/>
              <a:gd name="connsiteX10" fmla="*/ 6710657 w 6710657"/>
              <a:gd name="connsiteY10" fmla="*/ 6576233 h 6576233"/>
              <a:gd name="connsiteX0" fmla="*/ 24146 w 7477787"/>
              <a:gd name="connsiteY0" fmla="*/ 0 h 5166575"/>
              <a:gd name="connsiteX1" fmla="*/ 1345991 w 7477787"/>
              <a:gd name="connsiteY1" fmla="*/ 329861 h 5166575"/>
              <a:gd name="connsiteX2" fmla="*/ 1836198 w 7477787"/>
              <a:gd name="connsiteY2" fmla="*/ 1306354 h 5166575"/>
              <a:gd name="connsiteX3" fmla="*/ 2683144 w 7477787"/>
              <a:gd name="connsiteY3" fmla="*/ 1296458 h 5166575"/>
              <a:gd name="connsiteX4" fmla="*/ 3021728 w 7477787"/>
              <a:gd name="connsiteY4" fmla="*/ 1515159 h 5166575"/>
              <a:gd name="connsiteX5" fmla="*/ 3326057 w 7477787"/>
              <a:gd name="connsiteY5" fmla="*/ 2619380 h 5166575"/>
              <a:gd name="connsiteX6" fmla="*/ 4158488 w 7477787"/>
              <a:gd name="connsiteY6" fmla="*/ 2788160 h 5166575"/>
              <a:gd name="connsiteX7" fmla="*/ 4704068 w 7477787"/>
              <a:gd name="connsiteY7" fmla="*/ 3642944 h 5166575"/>
              <a:gd name="connsiteX8" fmla="*/ 5701537 w 7477787"/>
              <a:gd name="connsiteY8" fmla="*/ 3864945 h 5166575"/>
              <a:gd name="connsiteX9" fmla="*/ 5880722 w 7477787"/>
              <a:gd name="connsiteY9" fmla="*/ 5166575 h 5166575"/>
              <a:gd name="connsiteX10" fmla="*/ 7477787 w 7477787"/>
              <a:gd name="connsiteY10" fmla="*/ 4411504 h 5166575"/>
              <a:gd name="connsiteX0" fmla="*/ 24146 w 7477787"/>
              <a:gd name="connsiteY0" fmla="*/ 0 h 4411504"/>
              <a:gd name="connsiteX1" fmla="*/ 1345991 w 7477787"/>
              <a:gd name="connsiteY1" fmla="*/ 329861 h 4411504"/>
              <a:gd name="connsiteX2" fmla="*/ 1836198 w 7477787"/>
              <a:gd name="connsiteY2" fmla="*/ 1306354 h 4411504"/>
              <a:gd name="connsiteX3" fmla="*/ 2683144 w 7477787"/>
              <a:gd name="connsiteY3" fmla="*/ 1296458 h 4411504"/>
              <a:gd name="connsiteX4" fmla="*/ 3021728 w 7477787"/>
              <a:gd name="connsiteY4" fmla="*/ 1515159 h 4411504"/>
              <a:gd name="connsiteX5" fmla="*/ 3326057 w 7477787"/>
              <a:gd name="connsiteY5" fmla="*/ 2619380 h 4411504"/>
              <a:gd name="connsiteX6" fmla="*/ 4158488 w 7477787"/>
              <a:gd name="connsiteY6" fmla="*/ 2788160 h 4411504"/>
              <a:gd name="connsiteX7" fmla="*/ 4704068 w 7477787"/>
              <a:gd name="connsiteY7" fmla="*/ 3642944 h 4411504"/>
              <a:gd name="connsiteX8" fmla="*/ 5701537 w 7477787"/>
              <a:gd name="connsiteY8" fmla="*/ 3864945 h 4411504"/>
              <a:gd name="connsiteX9" fmla="*/ 6194997 w 7477787"/>
              <a:gd name="connsiteY9" fmla="*/ 4140441 h 4411504"/>
              <a:gd name="connsiteX10" fmla="*/ 7477787 w 7477787"/>
              <a:gd name="connsiteY10" fmla="*/ 4411504 h 4411504"/>
              <a:gd name="connsiteX0" fmla="*/ 24146 w 7477787"/>
              <a:gd name="connsiteY0" fmla="*/ 0 h 4574757"/>
              <a:gd name="connsiteX1" fmla="*/ 1345991 w 7477787"/>
              <a:gd name="connsiteY1" fmla="*/ 329861 h 4574757"/>
              <a:gd name="connsiteX2" fmla="*/ 1836198 w 7477787"/>
              <a:gd name="connsiteY2" fmla="*/ 1306354 h 4574757"/>
              <a:gd name="connsiteX3" fmla="*/ 2683144 w 7477787"/>
              <a:gd name="connsiteY3" fmla="*/ 1296458 h 4574757"/>
              <a:gd name="connsiteX4" fmla="*/ 3021728 w 7477787"/>
              <a:gd name="connsiteY4" fmla="*/ 1515159 h 4574757"/>
              <a:gd name="connsiteX5" fmla="*/ 3326057 w 7477787"/>
              <a:gd name="connsiteY5" fmla="*/ 2619380 h 4574757"/>
              <a:gd name="connsiteX6" fmla="*/ 4158488 w 7477787"/>
              <a:gd name="connsiteY6" fmla="*/ 2788160 h 4574757"/>
              <a:gd name="connsiteX7" fmla="*/ 4704068 w 7477787"/>
              <a:gd name="connsiteY7" fmla="*/ 3642944 h 4574757"/>
              <a:gd name="connsiteX8" fmla="*/ 5701537 w 7477787"/>
              <a:gd name="connsiteY8" fmla="*/ 3864945 h 4574757"/>
              <a:gd name="connsiteX9" fmla="*/ 6194997 w 7477787"/>
              <a:gd name="connsiteY9" fmla="*/ 4140441 h 4574757"/>
              <a:gd name="connsiteX10" fmla="*/ 6500175 w 7477787"/>
              <a:gd name="connsiteY10" fmla="*/ 4574756 h 4574757"/>
              <a:gd name="connsiteX11" fmla="*/ 7477787 w 7477787"/>
              <a:gd name="connsiteY11" fmla="*/ 4411504 h 4574757"/>
              <a:gd name="connsiteX0" fmla="*/ 24146 w 7738965"/>
              <a:gd name="connsiteY0" fmla="*/ 0 h 5319841"/>
              <a:gd name="connsiteX1" fmla="*/ 1345991 w 7738965"/>
              <a:gd name="connsiteY1" fmla="*/ 329861 h 5319841"/>
              <a:gd name="connsiteX2" fmla="*/ 1836198 w 7738965"/>
              <a:gd name="connsiteY2" fmla="*/ 1306354 h 5319841"/>
              <a:gd name="connsiteX3" fmla="*/ 2683144 w 7738965"/>
              <a:gd name="connsiteY3" fmla="*/ 1296458 h 5319841"/>
              <a:gd name="connsiteX4" fmla="*/ 3021728 w 7738965"/>
              <a:gd name="connsiteY4" fmla="*/ 1515159 h 5319841"/>
              <a:gd name="connsiteX5" fmla="*/ 3326057 w 7738965"/>
              <a:gd name="connsiteY5" fmla="*/ 2619380 h 5319841"/>
              <a:gd name="connsiteX6" fmla="*/ 4158488 w 7738965"/>
              <a:gd name="connsiteY6" fmla="*/ 2788160 h 5319841"/>
              <a:gd name="connsiteX7" fmla="*/ 4704068 w 7738965"/>
              <a:gd name="connsiteY7" fmla="*/ 3642944 h 5319841"/>
              <a:gd name="connsiteX8" fmla="*/ 5701537 w 7738965"/>
              <a:gd name="connsiteY8" fmla="*/ 3864945 h 5319841"/>
              <a:gd name="connsiteX9" fmla="*/ 6194997 w 7738965"/>
              <a:gd name="connsiteY9" fmla="*/ 4140441 h 5319841"/>
              <a:gd name="connsiteX10" fmla="*/ 6500175 w 7738965"/>
              <a:gd name="connsiteY10" fmla="*/ 4574756 h 5319841"/>
              <a:gd name="connsiteX11" fmla="*/ 7738965 w 7738965"/>
              <a:gd name="connsiteY11" fmla="*/ 5319841 h 5319841"/>
              <a:gd name="connsiteX0" fmla="*/ 24146 w 7738965"/>
              <a:gd name="connsiteY0" fmla="*/ 0 h 5319841"/>
              <a:gd name="connsiteX1" fmla="*/ 1345991 w 7738965"/>
              <a:gd name="connsiteY1" fmla="*/ 329861 h 5319841"/>
              <a:gd name="connsiteX2" fmla="*/ 1836198 w 7738965"/>
              <a:gd name="connsiteY2" fmla="*/ 1306354 h 5319841"/>
              <a:gd name="connsiteX3" fmla="*/ 2683144 w 7738965"/>
              <a:gd name="connsiteY3" fmla="*/ 1296458 h 5319841"/>
              <a:gd name="connsiteX4" fmla="*/ 3021728 w 7738965"/>
              <a:gd name="connsiteY4" fmla="*/ 1515159 h 5319841"/>
              <a:gd name="connsiteX5" fmla="*/ 3326057 w 7738965"/>
              <a:gd name="connsiteY5" fmla="*/ 2619380 h 5319841"/>
              <a:gd name="connsiteX6" fmla="*/ 4158488 w 7738965"/>
              <a:gd name="connsiteY6" fmla="*/ 2788160 h 5319841"/>
              <a:gd name="connsiteX7" fmla="*/ 4704068 w 7738965"/>
              <a:gd name="connsiteY7" fmla="*/ 3642944 h 5319841"/>
              <a:gd name="connsiteX8" fmla="*/ 5718860 w 7738965"/>
              <a:gd name="connsiteY8" fmla="*/ 3850889 h 5319841"/>
              <a:gd name="connsiteX9" fmla="*/ 6194997 w 7738965"/>
              <a:gd name="connsiteY9" fmla="*/ 4140441 h 5319841"/>
              <a:gd name="connsiteX10" fmla="*/ 6500175 w 7738965"/>
              <a:gd name="connsiteY10" fmla="*/ 4574756 h 5319841"/>
              <a:gd name="connsiteX11" fmla="*/ 7738965 w 7738965"/>
              <a:gd name="connsiteY11" fmla="*/ 5319841 h 5319841"/>
              <a:gd name="connsiteX0" fmla="*/ 24146 w 7738965"/>
              <a:gd name="connsiteY0" fmla="*/ 0 h 5319841"/>
              <a:gd name="connsiteX1" fmla="*/ 1345991 w 7738965"/>
              <a:gd name="connsiteY1" fmla="*/ 329861 h 5319841"/>
              <a:gd name="connsiteX2" fmla="*/ 1836198 w 7738965"/>
              <a:gd name="connsiteY2" fmla="*/ 1306354 h 5319841"/>
              <a:gd name="connsiteX3" fmla="*/ 2683144 w 7738965"/>
              <a:gd name="connsiteY3" fmla="*/ 1296458 h 5319841"/>
              <a:gd name="connsiteX4" fmla="*/ 3021728 w 7738965"/>
              <a:gd name="connsiteY4" fmla="*/ 1515159 h 5319841"/>
              <a:gd name="connsiteX5" fmla="*/ 3326057 w 7738965"/>
              <a:gd name="connsiteY5" fmla="*/ 2619380 h 5319841"/>
              <a:gd name="connsiteX6" fmla="*/ 4158488 w 7738965"/>
              <a:gd name="connsiteY6" fmla="*/ 2788160 h 5319841"/>
              <a:gd name="connsiteX7" fmla="*/ 4704068 w 7738965"/>
              <a:gd name="connsiteY7" fmla="*/ 3642944 h 5319841"/>
              <a:gd name="connsiteX8" fmla="*/ 5718860 w 7738965"/>
              <a:gd name="connsiteY8" fmla="*/ 3850889 h 5319841"/>
              <a:gd name="connsiteX9" fmla="*/ 6194997 w 7738965"/>
              <a:gd name="connsiteY9" fmla="*/ 4140441 h 5319841"/>
              <a:gd name="connsiteX10" fmla="*/ 6436160 w 7738965"/>
              <a:gd name="connsiteY10" fmla="*/ 4713996 h 5319841"/>
              <a:gd name="connsiteX11" fmla="*/ 7738965 w 7738965"/>
              <a:gd name="connsiteY11" fmla="*/ 5319841 h 5319841"/>
              <a:gd name="connsiteX0" fmla="*/ 24146 w 8872090"/>
              <a:gd name="connsiteY0" fmla="*/ 0 h 5855221"/>
              <a:gd name="connsiteX1" fmla="*/ 1345991 w 8872090"/>
              <a:gd name="connsiteY1" fmla="*/ 329861 h 5855221"/>
              <a:gd name="connsiteX2" fmla="*/ 1836198 w 8872090"/>
              <a:gd name="connsiteY2" fmla="*/ 1306354 h 5855221"/>
              <a:gd name="connsiteX3" fmla="*/ 2683144 w 8872090"/>
              <a:gd name="connsiteY3" fmla="*/ 1296458 h 5855221"/>
              <a:gd name="connsiteX4" fmla="*/ 3021728 w 8872090"/>
              <a:gd name="connsiteY4" fmla="*/ 1515159 h 5855221"/>
              <a:gd name="connsiteX5" fmla="*/ 3326057 w 8872090"/>
              <a:gd name="connsiteY5" fmla="*/ 2619380 h 5855221"/>
              <a:gd name="connsiteX6" fmla="*/ 4158488 w 8872090"/>
              <a:gd name="connsiteY6" fmla="*/ 2788160 h 5855221"/>
              <a:gd name="connsiteX7" fmla="*/ 4704068 w 8872090"/>
              <a:gd name="connsiteY7" fmla="*/ 3642944 h 5855221"/>
              <a:gd name="connsiteX8" fmla="*/ 5718860 w 8872090"/>
              <a:gd name="connsiteY8" fmla="*/ 3850889 h 5855221"/>
              <a:gd name="connsiteX9" fmla="*/ 6194997 w 8872090"/>
              <a:gd name="connsiteY9" fmla="*/ 4140441 h 5855221"/>
              <a:gd name="connsiteX10" fmla="*/ 6436160 w 8872090"/>
              <a:gd name="connsiteY10" fmla="*/ 4713996 h 5855221"/>
              <a:gd name="connsiteX11" fmla="*/ 8872091 w 8872090"/>
              <a:gd name="connsiteY11" fmla="*/ 5855221 h 5855221"/>
              <a:gd name="connsiteX0" fmla="*/ 24146 w 9134757"/>
              <a:gd name="connsiteY0" fmla="*/ 0 h 6500465"/>
              <a:gd name="connsiteX1" fmla="*/ 1345991 w 9134757"/>
              <a:gd name="connsiteY1" fmla="*/ 329861 h 6500465"/>
              <a:gd name="connsiteX2" fmla="*/ 1836198 w 9134757"/>
              <a:gd name="connsiteY2" fmla="*/ 1306354 h 6500465"/>
              <a:gd name="connsiteX3" fmla="*/ 2683144 w 9134757"/>
              <a:gd name="connsiteY3" fmla="*/ 1296458 h 6500465"/>
              <a:gd name="connsiteX4" fmla="*/ 3021728 w 9134757"/>
              <a:gd name="connsiteY4" fmla="*/ 1515159 h 6500465"/>
              <a:gd name="connsiteX5" fmla="*/ 3326057 w 9134757"/>
              <a:gd name="connsiteY5" fmla="*/ 2619380 h 6500465"/>
              <a:gd name="connsiteX6" fmla="*/ 4158488 w 9134757"/>
              <a:gd name="connsiteY6" fmla="*/ 2788160 h 6500465"/>
              <a:gd name="connsiteX7" fmla="*/ 4704068 w 9134757"/>
              <a:gd name="connsiteY7" fmla="*/ 3642944 h 6500465"/>
              <a:gd name="connsiteX8" fmla="*/ 5718860 w 9134757"/>
              <a:gd name="connsiteY8" fmla="*/ 3850889 h 6500465"/>
              <a:gd name="connsiteX9" fmla="*/ 6194997 w 9134757"/>
              <a:gd name="connsiteY9" fmla="*/ 4140441 h 6500465"/>
              <a:gd name="connsiteX10" fmla="*/ 6436160 w 9134757"/>
              <a:gd name="connsiteY10" fmla="*/ 4713996 h 6500465"/>
              <a:gd name="connsiteX11" fmla="*/ 9134758 w 9134757"/>
              <a:gd name="connsiteY11" fmla="*/ 6500464 h 6500465"/>
              <a:gd name="connsiteX0" fmla="*/ 24146 w 9134758"/>
              <a:gd name="connsiteY0" fmla="*/ 0 h 6500464"/>
              <a:gd name="connsiteX1" fmla="*/ 1345991 w 9134758"/>
              <a:gd name="connsiteY1" fmla="*/ 329861 h 6500464"/>
              <a:gd name="connsiteX2" fmla="*/ 1836198 w 9134758"/>
              <a:gd name="connsiteY2" fmla="*/ 1306354 h 6500464"/>
              <a:gd name="connsiteX3" fmla="*/ 2683144 w 9134758"/>
              <a:gd name="connsiteY3" fmla="*/ 1296458 h 6500464"/>
              <a:gd name="connsiteX4" fmla="*/ 3021728 w 9134758"/>
              <a:gd name="connsiteY4" fmla="*/ 1515159 h 6500464"/>
              <a:gd name="connsiteX5" fmla="*/ 3326057 w 9134758"/>
              <a:gd name="connsiteY5" fmla="*/ 2619380 h 6500464"/>
              <a:gd name="connsiteX6" fmla="*/ 4158488 w 9134758"/>
              <a:gd name="connsiteY6" fmla="*/ 2788160 h 6500464"/>
              <a:gd name="connsiteX7" fmla="*/ 4704068 w 9134758"/>
              <a:gd name="connsiteY7" fmla="*/ 3642944 h 6500464"/>
              <a:gd name="connsiteX8" fmla="*/ 5718860 w 9134758"/>
              <a:gd name="connsiteY8" fmla="*/ 3850889 h 6500464"/>
              <a:gd name="connsiteX9" fmla="*/ 6194997 w 9134758"/>
              <a:gd name="connsiteY9" fmla="*/ 4140441 h 6500464"/>
              <a:gd name="connsiteX10" fmla="*/ 6436160 w 9134758"/>
              <a:gd name="connsiteY10" fmla="*/ 4713996 h 6500464"/>
              <a:gd name="connsiteX11" fmla="*/ 8339823 w 9134758"/>
              <a:gd name="connsiteY11" fmla="*/ 5191502 h 6500464"/>
              <a:gd name="connsiteX12" fmla="*/ 9134758 w 9134758"/>
              <a:gd name="connsiteY12" fmla="*/ 6500464 h 6500464"/>
              <a:gd name="connsiteX0" fmla="*/ 24146 w 9134758"/>
              <a:gd name="connsiteY0" fmla="*/ 0 h 6500464"/>
              <a:gd name="connsiteX1" fmla="*/ 1345991 w 9134758"/>
              <a:gd name="connsiteY1" fmla="*/ 329861 h 6500464"/>
              <a:gd name="connsiteX2" fmla="*/ 1836198 w 9134758"/>
              <a:gd name="connsiteY2" fmla="*/ 1306354 h 6500464"/>
              <a:gd name="connsiteX3" fmla="*/ 2683144 w 9134758"/>
              <a:gd name="connsiteY3" fmla="*/ 1296458 h 6500464"/>
              <a:gd name="connsiteX4" fmla="*/ 3021728 w 9134758"/>
              <a:gd name="connsiteY4" fmla="*/ 1515159 h 6500464"/>
              <a:gd name="connsiteX5" fmla="*/ 3326057 w 9134758"/>
              <a:gd name="connsiteY5" fmla="*/ 2619380 h 6500464"/>
              <a:gd name="connsiteX6" fmla="*/ 4158488 w 9134758"/>
              <a:gd name="connsiteY6" fmla="*/ 2788160 h 6500464"/>
              <a:gd name="connsiteX7" fmla="*/ 4704068 w 9134758"/>
              <a:gd name="connsiteY7" fmla="*/ 3642944 h 6500464"/>
              <a:gd name="connsiteX8" fmla="*/ 5375895 w 9134758"/>
              <a:gd name="connsiteY8" fmla="*/ 3852770 h 6500464"/>
              <a:gd name="connsiteX9" fmla="*/ 6194997 w 9134758"/>
              <a:gd name="connsiteY9" fmla="*/ 4140441 h 6500464"/>
              <a:gd name="connsiteX10" fmla="*/ 6436160 w 9134758"/>
              <a:gd name="connsiteY10" fmla="*/ 4713996 h 6500464"/>
              <a:gd name="connsiteX11" fmla="*/ 8339823 w 9134758"/>
              <a:gd name="connsiteY11" fmla="*/ 5191502 h 6500464"/>
              <a:gd name="connsiteX12" fmla="*/ 9134758 w 9134758"/>
              <a:gd name="connsiteY12" fmla="*/ 6500464 h 6500464"/>
              <a:gd name="connsiteX0" fmla="*/ 24146 w 9134758"/>
              <a:gd name="connsiteY0" fmla="*/ 0 h 6500464"/>
              <a:gd name="connsiteX1" fmla="*/ 1345991 w 9134758"/>
              <a:gd name="connsiteY1" fmla="*/ 329861 h 6500464"/>
              <a:gd name="connsiteX2" fmla="*/ 1836198 w 9134758"/>
              <a:gd name="connsiteY2" fmla="*/ 1306354 h 6500464"/>
              <a:gd name="connsiteX3" fmla="*/ 2683144 w 9134758"/>
              <a:gd name="connsiteY3" fmla="*/ 1296458 h 6500464"/>
              <a:gd name="connsiteX4" fmla="*/ 3021728 w 9134758"/>
              <a:gd name="connsiteY4" fmla="*/ 1515159 h 6500464"/>
              <a:gd name="connsiteX5" fmla="*/ 3326057 w 9134758"/>
              <a:gd name="connsiteY5" fmla="*/ 2619380 h 6500464"/>
              <a:gd name="connsiteX6" fmla="*/ 4158488 w 9134758"/>
              <a:gd name="connsiteY6" fmla="*/ 2788160 h 6500464"/>
              <a:gd name="connsiteX7" fmla="*/ 4704068 w 9134758"/>
              <a:gd name="connsiteY7" fmla="*/ 3642944 h 6500464"/>
              <a:gd name="connsiteX8" fmla="*/ 5375895 w 9134758"/>
              <a:gd name="connsiteY8" fmla="*/ 3852770 h 6500464"/>
              <a:gd name="connsiteX9" fmla="*/ 5908014 w 9134758"/>
              <a:gd name="connsiteY9" fmla="*/ 4067793 h 6500464"/>
              <a:gd name="connsiteX10" fmla="*/ 6436160 w 9134758"/>
              <a:gd name="connsiteY10" fmla="*/ 4713996 h 6500464"/>
              <a:gd name="connsiteX11" fmla="*/ 8339823 w 9134758"/>
              <a:gd name="connsiteY11" fmla="*/ 5191502 h 6500464"/>
              <a:gd name="connsiteX12" fmla="*/ 9134758 w 9134758"/>
              <a:gd name="connsiteY12" fmla="*/ 6500464 h 6500464"/>
              <a:gd name="connsiteX0" fmla="*/ 24146 w 9134758"/>
              <a:gd name="connsiteY0" fmla="*/ 0 h 6500464"/>
              <a:gd name="connsiteX1" fmla="*/ 1345991 w 9134758"/>
              <a:gd name="connsiteY1" fmla="*/ 329861 h 6500464"/>
              <a:gd name="connsiteX2" fmla="*/ 1836198 w 9134758"/>
              <a:gd name="connsiteY2" fmla="*/ 1306354 h 6500464"/>
              <a:gd name="connsiteX3" fmla="*/ 2683144 w 9134758"/>
              <a:gd name="connsiteY3" fmla="*/ 1296458 h 6500464"/>
              <a:gd name="connsiteX4" fmla="*/ 3021728 w 9134758"/>
              <a:gd name="connsiteY4" fmla="*/ 1515159 h 6500464"/>
              <a:gd name="connsiteX5" fmla="*/ 3326057 w 9134758"/>
              <a:gd name="connsiteY5" fmla="*/ 2619380 h 6500464"/>
              <a:gd name="connsiteX6" fmla="*/ 4158488 w 9134758"/>
              <a:gd name="connsiteY6" fmla="*/ 2788160 h 6500464"/>
              <a:gd name="connsiteX7" fmla="*/ 4704068 w 9134758"/>
              <a:gd name="connsiteY7" fmla="*/ 3642944 h 6500464"/>
              <a:gd name="connsiteX8" fmla="*/ 5375895 w 9134758"/>
              <a:gd name="connsiteY8" fmla="*/ 3852770 h 6500464"/>
              <a:gd name="connsiteX9" fmla="*/ 5908014 w 9134758"/>
              <a:gd name="connsiteY9" fmla="*/ 4067793 h 6500464"/>
              <a:gd name="connsiteX10" fmla="*/ 6074610 w 9134758"/>
              <a:gd name="connsiteY10" fmla="*/ 4614570 h 6500464"/>
              <a:gd name="connsiteX11" fmla="*/ 8339823 w 9134758"/>
              <a:gd name="connsiteY11" fmla="*/ 5191502 h 6500464"/>
              <a:gd name="connsiteX12" fmla="*/ 9134758 w 9134758"/>
              <a:gd name="connsiteY12" fmla="*/ 6500464 h 6500464"/>
              <a:gd name="connsiteX0" fmla="*/ 24146 w 9134758"/>
              <a:gd name="connsiteY0" fmla="*/ 0 h 6500464"/>
              <a:gd name="connsiteX1" fmla="*/ 1345991 w 9134758"/>
              <a:gd name="connsiteY1" fmla="*/ 329861 h 6500464"/>
              <a:gd name="connsiteX2" fmla="*/ 1836198 w 9134758"/>
              <a:gd name="connsiteY2" fmla="*/ 1306354 h 6500464"/>
              <a:gd name="connsiteX3" fmla="*/ 2683144 w 9134758"/>
              <a:gd name="connsiteY3" fmla="*/ 1296458 h 6500464"/>
              <a:gd name="connsiteX4" fmla="*/ 3021728 w 9134758"/>
              <a:gd name="connsiteY4" fmla="*/ 1515159 h 6500464"/>
              <a:gd name="connsiteX5" fmla="*/ 3326057 w 9134758"/>
              <a:gd name="connsiteY5" fmla="*/ 2619380 h 6500464"/>
              <a:gd name="connsiteX6" fmla="*/ 4158488 w 9134758"/>
              <a:gd name="connsiteY6" fmla="*/ 2788160 h 6500464"/>
              <a:gd name="connsiteX7" fmla="*/ 4704068 w 9134758"/>
              <a:gd name="connsiteY7" fmla="*/ 3642944 h 6500464"/>
              <a:gd name="connsiteX8" fmla="*/ 5263409 w 9134758"/>
              <a:gd name="connsiteY8" fmla="*/ 3754915 h 6500464"/>
              <a:gd name="connsiteX9" fmla="*/ 5908014 w 9134758"/>
              <a:gd name="connsiteY9" fmla="*/ 4067793 h 6500464"/>
              <a:gd name="connsiteX10" fmla="*/ 6074610 w 9134758"/>
              <a:gd name="connsiteY10" fmla="*/ 4614570 h 6500464"/>
              <a:gd name="connsiteX11" fmla="*/ 8339823 w 9134758"/>
              <a:gd name="connsiteY11" fmla="*/ 5191502 h 6500464"/>
              <a:gd name="connsiteX12" fmla="*/ 9134758 w 9134758"/>
              <a:gd name="connsiteY12" fmla="*/ 6500464 h 6500464"/>
              <a:gd name="connsiteX0" fmla="*/ 24146 w 9134758"/>
              <a:gd name="connsiteY0" fmla="*/ 0 h 6500464"/>
              <a:gd name="connsiteX1" fmla="*/ 1345991 w 9134758"/>
              <a:gd name="connsiteY1" fmla="*/ 329861 h 6500464"/>
              <a:gd name="connsiteX2" fmla="*/ 1836198 w 9134758"/>
              <a:gd name="connsiteY2" fmla="*/ 1306354 h 6500464"/>
              <a:gd name="connsiteX3" fmla="*/ 2683144 w 9134758"/>
              <a:gd name="connsiteY3" fmla="*/ 1296458 h 6500464"/>
              <a:gd name="connsiteX4" fmla="*/ 3021728 w 9134758"/>
              <a:gd name="connsiteY4" fmla="*/ 1515159 h 6500464"/>
              <a:gd name="connsiteX5" fmla="*/ 3326057 w 9134758"/>
              <a:gd name="connsiteY5" fmla="*/ 2619380 h 6500464"/>
              <a:gd name="connsiteX6" fmla="*/ 4158488 w 9134758"/>
              <a:gd name="connsiteY6" fmla="*/ 2788160 h 6500464"/>
              <a:gd name="connsiteX7" fmla="*/ 4704068 w 9134758"/>
              <a:gd name="connsiteY7" fmla="*/ 3642944 h 6500464"/>
              <a:gd name="connsiteX8" fmla="*/ 5263409 w 9134758"/>
              <a:gd name="connsiteY8" fmla="*/ 3754915 h 6500464"/>
              <a:gd name="connsiteX9" fmla="*/ 5741550 w 9134758"/>
              <a:gd name="connsiteY9" fmla="*/ 4028290 h 6500464"/>
              <a:gd name="connsiteX10" fmla="*/ 6074610 w 9134758"/>
              <a:gd name="connsiteY10" fmla="*/ 4614570 h 6500464"/>
              <a:gd name="connsiteX11" fmla="*/ 8339823 w 9134758"/>
              <a:gd name="connsiteY11" fmla="*/ 5191502 h 6500464"/>
              <a:gd name="connsiteX12" fmla="*/ 9134758 w 9134758"/>
              <a:gd name="connsiteY12" fmla="*/ 6500464 h 6500464"/>
              <a:gd name="connsiteX0" fmla="*/ 24146 w 9134758"/>
              <a:gd name="connsiteY0" fmla="*/ 0 h 6500464"/>
              <a:gd name="connsiteX1" fmla="*/ 1345991 w 9134758"/>
              <a:gd name="connsiteY1" fmla="*/ 329861 h 6500464"/>
              <a:gd name="connsiteX2" fmla="*/ 1836198 w 9134758"/>
              <a:gd name="connsiteY2" fmla="*/ 1306354 h 6500464"/>
              <a:gd name="connsiteX3" fmla="*/ 2683144 w 9134758"/>
              <a:gd name="connsiteY3" fmla="*/ 1296458 h 6500464"/>
              <a:gd name="connsiteX4" fmla="*/ 3021728 w 9134758"/>
              <a:gd name="connsiteY4" fmla="*/ 1515159 h 6500464"/>
              <a:gd name="connsiteX5" fmla="*/ 3326057 w 9134758"/>
              <a:gd name="connsiteY5" fmla="*/ 2619380 h 6500464"/>
              <a:gd name="connsiteX6" fmla="*/ 4158488 w 9134758"/>
              <a:gd name="connsiteY6" fmla="*/ 2788160 h 6500464"/>
              <a:gd name="connsiteX7" fmla="*/ 4704068 w 9134758"/>
              <a:gd name="connsiteY7" fmla="*/ 3642944 h 6500464"/>
              <a:gd name="connsiteX8" fmla="*/ 5263409 w 9134758"/>
              <a:gd name="connsiteY8" fmla="*/ 3754915 h 6500464"/>
              <a:gd name="connsiteX9" fmla="*/ 5741550 w 9134758"/>
              <a:gd name="connsiteY9" fmla="*/ 4028290 h 6500464"/>
              <a:gd name="connsiteX10" fmla="*/ 6074610 w 9134758"/>
              <a:gd name="connsiteY10" fmla="*/ 4614570 h 6500464"/>
              <a:gd name="connsiteX11" fmla="*/ 7928312 w 9134758"/>
              <a:gd name="connsiteY11" fmla="*/ 5118069 h 6500464"/>
              <a:gd name="connsiteX12" fmla="*/ 9134758 w 9134758"/>
              <a:gd name="connsiteY12" fmla="*/ 6500464 h 6500464"/>
              <a:gd name="connsiteX0" fmla="*/ 24146 w 8847031"/>
              <a:gd name="connsiteY0" fmla="*/ 0 h 6559364"/>
              <a:gd name="connsiteX1" fmla="*/ 1345991 w 8847031"/>
              <a:gd name="connsiteY1" fmla="*/ 329861 h 6559364"/>
              <a:gd name="connsiteX2" fmla="*/ 1836198 w 8847031"/>
              <a:gd name="connsiteY2" fmla="*/ 1306354 h 6559364"/>
              <a:gd name="connsiteX3" fmla="*/ 2683144 w 8847031"/>
              <a:gd name="connsiteY3" fmla="*/ 1296458 h 6559364"/>
              <a:gd name="connsiteX4" fmla="*/ 3021728 w 8847031"/>
              <a:gd name="connsiteY4" fmla="*/ 1515159 h 6559364"/>
              <a:gd name="connsiteX5" fmla="*/ 3326057 w 8847031"/>
              <a:gd name="connsiteY5" fmla="*/ 2619380 h 6559364"/>
              <a:gd name="connsiteX6" fmla="*/ 4158488 w 8847031"/>
              <a:gd name="connsiteY6" fmla="*/ 2788160 h 6559364"/>
              <a:gd name="connsiteX7" fmla="*/ 4704068 w 8847031"/>
              <a:gd name="connsiteY7" fmla="*/ 3642944 h 6559364"/>
              <a:gd name="connsiteX8" fmla="*/ 5263409 w 8847031"/>
              <a:gd name="connsiteY8" fmla="*/ 3754915 h 6559364"/>
              <a:gd name="connsiteX9" fmla="*/ 5741550 w 8847031"/>
              <a:gd name="connsiteY9" fmla="*/ 4028290 h 6559364"/>
              <a:gd name="connsiteX10" fmla="*/ 6074610 w 8847031"/>
              <a:gd name="connsiteY10" fmla="*/ 4614570 h 6559364"/>
              <a:gd name="connsiteX11" fmla="*/ 7928312 w 8847031"/>
              <a:gd name="connsiteY11" fmla="*/ 5118069 h 6559364"/>
              <a:gd name="connsiteX12" fmla="*/ 8847032 w 8847031"/>
              <a:gd name="connsiteY12"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704068 w 8847032"/>
              <a:gd name="connsiteY7" fmla="*/ 3642944 h 6559364"/>
              <a:gd name="connsiteX8" fmla="*/ 5263409 w 8847032"/>
              <a:gd name="connsiteY8" fmla="*/ 3754915 h 6559364"/>
              <a:gd name="connsiteX9" fmla="*/ 5741550 w 8847032"/>
              <a:gd name="connsiteY9" fmla="*/ 4028290 h 6559364"/>
              <a:gd name="connsiteX10" fmla="*/ 6074610 w 8847032"/>
              <a:gd name="connsiteY10" fmla="*/ 4614570 h 6559364"/>
              <a:gd name="connsiteX11" fmla="*/ 7928312 w 8847032"/>
              <a:gd name="connsiteY11" fmla="*/ 5118069 h 6559364"/>
              <a:gd name="connsiteX12" fmla="*/ 8228374 w 8847032"/>
              <a:gd name="connsiteY12" fmla="*/ 5587474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704068 w 8847032"/>
              <a:gd name="connsiteY7" fmla="*/ 3642944 h 6559364"/>
              <a:gd name="connsiteX8" fmla="*/ 5263409 w 8847032"/>
              <a:gd name="connsiteY8" fmla="*/ 3754915 h 6559364"/>
              <a:gd name="connsiteX9" fmla="*/ 5741550 w 8847032"/>
              <a:gd name="connsiteY9" fmla="*/ 4028290 h 6559364"/>
              <a:gd name="connsiteX10" fmla="*/ 6074610 w 8847032"/>
              <a:gd name="connsiteY10" fmla="*/ 4614570 h 6559364"/>
              <a:gd name="connsiteX11" fmla="*/ 7928312 w 8847032"/>
              <a:gd name="connsiteY11" fmla="*/ 5118069 h 6559364"/>
              <a:gd name="connsiteX12" fmla="*/ 8426213 w 8847032"/>
              <a:gd name="connsiteY12" fmla="*/ 5499673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704068 w 8847032"/>
              <a:gd name="connsiteY7" fmla="*/ 3642944 h 6559364"/>
              <a:gd name="connsiteX8" fmla="*/ 5263409 w 8847032"/>
              <a:gd name="connsiteY8" fmla="*/ 3754915 h 6559364"/>
              <a:gd name="connsiteX9" fmla="*/ 5741550 w 8847032"/>
              <a:gd name="connsiteY9" fmla="*/ 4028290 h 6559364"/>
              <a:gd name="connsiteX10" fmla="*/ 6074610 w 8847032"/>
              <a:gd name="connsiteY10" fmla="*/ 4614570 h 6559364"/>
              <a:gd name="connsiteX11" fmla="*/ 7928312 w 8847032"/>
              <a:gd name="connsiteY11" fmla="*/ 5118069 h 6559364"/>
              <a:gd name="connsiteX12" fmla="*/ 8376252 w 8847032"/>
              <a:gd name="connsiteY12" fmla="*/ 5525668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704068 w 8847032"/>
              <a:gd name="connsiteY7" fmla="*/ 3642944 h 6559364"/>
              <a:gd name="connsiteX8" fmla="*/ 5263409 w 8847032"/>
              <a:gd name="connsiteY8" fmla="*/ 3754915 h 6559364"/>
              <a:gd name="connsiteX9" fmla="*/ 5741550 w 8847032"/>
              <a:gd name="connsiteY9" fmla="*/ 4028290 h 6559364"/>
              <a:gd name="connsiteX10" fmla="*/ 6074610 w 8847032"/>
              <a:gd name="connsiteY10" fmla="*/ 4614570 h 6559364"/>
              <a:gd name="connsiteX11" fmla="*/ 7928312 w 8847032"/>
              <a:gd name="connsiteY11" fmla="*/ 5118069 h 6559364"/>
              <a:gd name="connsiteX12" fmla="*/ 8376252 w 8847032"/>
              <a:gd name="connsiteY12" fmla="*/ 5525668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704068 w 8847032"/>
              <a:gd name="connsiteY7" fmla="*/ 3642944 h 6559364"/>
              <a:gd name="connsiteX8" fmla="*/ 5263409 w 8847032"/>
              <a:gd name="connsiteY8" fmla="*/ 3754915 h 6559364"/>
              <a:gd name="connsiteX9" fmla="*/ 5741550 w 8847032"/>
              <a:gd name="connsiteY9" fmla="*/ 4028290 h 6559364"/>
              <a:gd name="connsiteX10" fmla="*/ 6074610 w 8847032"/>
              <a:gd name="connsiteY10" fmla="*/ 4614570 h 6559364"/>
              <a:gd name="connsiteX11" fmla="*/ 7928312 w 8847032"/>
              <a:gd name="connsiteY11" fmla="*/ 5118069 h 6559364"/>
              <a:gd name="connsiteX12" fmla="*/ 8376252 w 8847032"/>
              <a:gd name="connsiteY12" fmla="*/ 5525668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704068 w 8847032"/>
              <a:gd name="connsiteY7" fmla="*/ 3642944 h 6559364"/>
              <a:gd name="connsiteX8" fmla="*/ 5263409 w 8847032"/>
              <a:gd name="connsiteY8" fmla="*/ 3754915 h 6559364"/>
              <a:gd name="connsiteX9" fmla="*/ 5741550 w 8847032"/>
              <a:gd name="connsiteY9" fmla="*/ 4028290 h 6559364"/>
              <a:gd name="connsiteX10" fmla="*/ 6275721 w 8847032"/>
              <a:gd name="connsiteY10" fmla="*/ 4625957 h 6559364"/>
              <a:gd name="connsiteX11" fmla="*/ 7928312 w 8847032"/>
              <a:gd name="connsiteY11" fmla="*/ 5118069 h 6559364"/>
              <a:gd name="connsiteX12" fmla="*/ 8376252 w 8847032"/>
              <a:gd name="connsiteY12" fmla="*/ 5525668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704068 w 8847032"/>
              <a:gd name="connsiteY7" fmla="*/ 3642944 h 6559364"/>
              <a:gd name="connsiteX8" fmla="*/ 5556412 w 8847032"/>
              <a:gd name="connsiteY8" fmla="*/ 3779025 h 6559364"/>
              <a:gd name="connsiteX9" fmla="*/ 5741550 w 8847032"/>
              <a:gd name="connsiteY9" fmla="*/ 4028290 h 6559364"/>
              <a:gd name="connsiteX10" fmla="*/ 6275721 w 8847032"/>
              <a:gd name="connsiteY10" fmla="*/ 4625957 h 6559364"/>
              <a:gd name="connsiteX11" fmla="*/ 7928312 w 8847032"/>
              <a:gd name="connsiteY11" fmla="*/ 5118069 h 6559364"/>
              <a:gd name="connsiteX12" fmla="*/ 8376252 w 8847032"/>
              <a:gd name="connsiteY12" fmla="*/ 5525668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556412 w 8847032"/>
              <a:gd name="connsiteY9" fmla="*/ 3779025 h 6559364"/>
              <a:gd name="connsiteX10" fmla="*/ 5741550 w 8847032"/>
              <a:gd name="connsiteY10" fmla="*/ 4028290 h 6559364"/>
              <a:gd name="connsiteX11" fmla="*/ 6275721 w 8847032"/>
              <a:gd name="connsiteY11" fmla="*/ 4625957 h 6559364"/>
              <a:gd name="connsiteX12" fmla="*/ 7928312 w 8847032"/>
              <a:gd name="connsiteY12" fmla="*/ 5118069 h 6559364"/>
              <a:gd name="connsiteX13" fmla="*/ 8376252 w 8847032"/>
              <a:gd name="connsiteY13" fmla="*/ 5525668 h 6559364"/>
              <a:gd name="connsiteX14" fmla="*/ 8847032 w 8847032"/>
              <a:gd name="connsiteY14"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187502 w 8847032"/>
              <a:gd name="connsiteY9" fmla="*/ 3603115 h 6559364"/>
              <a:gd name="connsiteX10" fmla="*/ 5556412 w 8847032"/>
              <a:gd name="connsiteY10" fmla="*/ 3779025 h 6559364"/>
              <a:gd name="connsiteX11" fmla="*/ 5741550 w 8847032"/>
              <a:gd name="connsiteY11" fmla="*/ 4028290 h 6559364"/>
              <a:gd name="connsiteX12" fmla="*/ 6275721 w 8847032"/>
              <a:gd name="connsiteY12" fmla="*/ 4625957 h 6559364"/>
              <a:gd name="connsiteX13" fmla="*/ 7928312 w 8847032"/>
              <a:gd name="connsiteY13" fmla="*/ 5118069 h 6559364"/>
              <a:gd name="connsiteX14" fmla="*/ 8376252 w 8847032"/>
              <a:gd name="connsiteY14" fmla="*/ 5525668 h 6559364"/>
              <a:gd name="connsiteX15" fmla="*/ 8847032 w 8847032"/>
              <a:gd name="connsiteY15"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187502 w 8847032"/>
              <a:gd name="connsiteY9" fmla="*/ 3603115 h 6559364"/>
              <a:gd name="connsiteX10" fmla="*/ 5556412 w 8847032"/>
              <a:gd name="connsiteY10" fmla="*/ 3779025 h 6559364"/>
              <a:gd name="connsiteX11" fmla="*/ 5741550 w 8847032"/>
              <a:gd name="connsiteY11" fmla="*/ 4028290 h 6559364"/>
              <a:gd name="connsiteX12" fmla="*/ 6275721 w 8847032"/>
              <a:gd name="connsiteY12" fmla="*/ 4625957 h 6559364"/>
              <a:gd name="connsiteX13" fmla="*/ 7928312 w 8847032"/>
              <a:gd name="connsiteY13" fmla="*/ 5118069 h 6559364"/>
              <a:gd name="connsiteX14" fmla="*/ 8376252 w 8847032"/>
              <a:gd name="connsiteY14" fmla="*/ 5525668 h 6559364"/>
              <a:gd name="connsiteX15" fmla="*/ 8847032 w 8847032"/>
              <a:gd name="connsiteY15"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269359 w 8847032"/>
              <a:gd name="connsiteY9" fmla="*/ 3696729 h 6559364"/>
              <a:gd name="connsiteX10" fmla="*/ 5556412 w 8847032"/>
              <a:gd name="connsiteY10" fmla="*/ 3779025 h 6559364"/>
              <a:gd name="connsiteX11" fmla="*/ 5741550 w 8847032"/>
              <a:gd name="connsiteY11" fmla="*/ 4028290 h 6559364"/>
              <a:gd name="connsiteX12" fmla="*/ 6275721 w 8847032"/>
              <a:gd name="connsiteY12" fmla="*/ 4625957 h 6559364"/>
              <a:gd name="connsiteX13" fmla="*/ 7928312 w 8847032"/>
              <a:gd name="connsiteY13" fmla="*/ 5118069 h 6559364"/>
              <a:gd name="connsiteX14" fmla="*/ 8376252 w 8847032"/>
              <a:gd name="connsiteY14" fmla="*/ 5525668 h 6559364"/>
              <a:gd name="connsiteX15" fmla="*/ 8847032 w 8847032"/>
              <a:gd name="connsiteY15"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269359 w 8847032"/>
              <a:gd name="connsiteY9" fmla="*/ 3696729 h 6559364"/>
              <a:gd name="connsiteX10" fmla="*/ 5556412 w 8847032"/>
              <a:gd name="connsiteY10" fmla="*/ 3779025 h 6559364"/>
              <a:gd name="connsiteX11" fmla="*/ 5744077 w 8847032"/>
              <a:gd name="connsiteY11" fmla="*/ 4259026 h 6559364"/>
              <a:gd name="connsiteX12" fmla="*/ 6275721 w 8847032"/>
              <a:gd name="connsiteY12" fmla="*/ 4625957 h 6559364"/>
              <a:gd name="connsiteX13" fmla="*/ 7928312 w 8847032"/>
              <a:gd name="connsiteY13" fmla="*/ 5118069 h 6559364"/>
              <a:gd name="connsiteX14" fmla="*/ 8376252 w 8847032"/>
              <a:gd name="connsiteY14" fmla="*/ 5525668 h 6559364"/>
              <a:gd name="connsiteX15" fmla="*/ 8847032 w 8847032"/>
              <a:gd name="connsiteY15"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269359 w 8847032"/>
              <a:gd name="connsiteY9" fmla="*/ 3696729 h 6559364"/>
              <a:gd name="connsiteX10" fmla="*/ 5556412 w 8847032"/>
              <a:gd name="connsiteY10" fmla="*/ 3779025 h 6559364"/>
              <a:gd name="connsiteX11" fmla="*/ 5744077 w 8847032"/>
              <a:gd name="connsiteY11" fmla="*/ 4259026 h 6559364"/>
              <a:gd name="connsiteX12" fmla="*/ 6022642 w 8847032"/>
              <a:gd name="connsiteY12" fmla="*/ 4656742 h 6559364"/>
              <a:gd name="connsiteX13" fmla="*/ 7928312 w 8847032"/>
              <a:gd name="connsiteY13" fmla="*/ 5118069 h 6559364"/>
              <a:gd name="connsiteX14" fmla="*/ 8376252 w 8847032"/>
              <a:gd name="connsiteY14" fmla="*/ 5525668 h 6559364"/>
              <a:gd name="connsiteX15" fmla="*/ 8847032 w 8847032"/>
              <a:gd name="connsiteY15"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098881 w 8847032"/>
              <a:gd name="connsiteY9" fmla="*/ 3689579 h 6559364"/>
              <a:gd name="connsiteX10" fmla="*/ 5556412 w 8847032"/>
              <a:gd name="connsiteY10" fmla="*/ 3779025 h 6559364"/>
              <a:gd name="connsiteX11" fmla="*/ 5744077 w 8847032"/>
              <a:gd name="connsiteY11" fmla="*/ 4259026 h 6559364"/>
              <a:gd name="connsiteX12" fmla="*/ 6022642 w 8847032"/>
              <a:gd name="connsiteY12" fmla="*/ 4656742 h 6559364"/>
              <a:gd name="connsiteX13" fmla="*/ 7928312 w 8847032"/>
              <a:gd name="connsiteY13" fmla="*/ 5118069 h 6559364"/>
              <a:gd name="connsiteX14" fmla="*/ 8376252 w 8847032"/>
              <a:gd name="connsiteY14" fmla="*/ 5525668 h 6559364"/>
              <a:gd name="connsiteX15" fmla="*/ 8847032 w 8847032"/>
              <a:gd name="connsiteY15"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098881 w 8847032"/>
              <a:gd name="connsiteY9" fmla="*/ 3689579 h 6559364"/>
              <a:gd name="connsiteX10" fmla="*/ 5513737 w 8847032"/>
              <a:gd name="connsiteY10" fmla="*/ 3871854 h 6559364"/>
              <a:gd name="connsiteX11" fmla="*/ 5744077 w 8847032"/>
              <a:gd name="connsiteY11" fmla="*/ 4259026 h 6559364"/>
              <a:gd name="connsiteX12" fmla="*/ 6022642 w 8847032"/>
              <a:gd name="connsiteY12" fmla="*/ 4656742 h 6559364"/>
              <a:gd name="connsiteX13" fmla="*/ 7928312 w 8847032"/>
              <a:gd name="connsiteY13" fmla="*/ 5118069 h 6559364"/>
              <a:gd name="connsiteX14" fmla="*/ 8376252 w 8847032"/>
              <a:gd name="connsiteY14" fmla="*/ 5525668 h 6559364"/>
              <a:gd name="connsiteX15" fmla="*/ 8847032 w 8847032"/>
              <a:gd name="connsiteY15"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098881 w 8847032"/>
              <a:gd name="connsiteY9" fmla="*/ 3689579 h 6559364"/>
              <a:gd name="connsiteX10" fmla="*/ 5744077 w 8847032"/>
              <a:gd name="connsiteY10" fmla="*/ 4259026 h 6559364"/>
              <a:gd name="connsiteX11" fmla="*/ 6022642 w 8847032"/>
              <a:gd name="connsiteY11" fmla="*/ 4656742 h 6559364"/>
              <a:gd name="connsiteX12" fmla="*/ 7928312 w 8847032"/>
              <a:gd name="connsiteY12" fmla="*/ 5118069 h 6559364"/>
              <a:gd name="connsiteX13" fmla="*/ 8376252 w 8847032"/>
              <a:gd name="connsiteY13" fmla="*/ 5525668 h 6559364"/>
              <a:gd name="connsiteX14" fmla="*/ 8847032 w 8847032"/>
              <a:gd name="connsiteY14"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422515 w 8847032"/>
              <a:gd name="connsiteY9" fmla="*/ 3717933 h 6559364"/>
              <a:gd name="connsiteX10" fmla="*/ 5744077 w 8847032"/>
              <a:gd name="connsiteY10" fmla="*/ 4259026 h 6559364"/>
              <a:gd name="connsiteX11" fmla="*/ 6022642 w 8847032"/>
              <a:gd name="connsiteY11" fmla="*/ 4656742 h 6559364"/>
              <a:gd name="connsiteX12" fmla="*/ 7928312 w 8847032"/>
              <a:gd name="connsiteY12" fmla="*/ 5118069 h 6559364"/>
              <a:gd name="connsiteX13" fmla="*/ 8376252 w 8847032"/>
              <a:gd name="connsiteY13" fmla="*/ 5525668 h 6559364"/>
              <a:gd name="connsiteX14" fmla="*/ 8847032 w 8847032"/>
              <a:gd name="connsiteY14"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5744077 w 8847032"/>
              <a:gd name="connsiteY10" fmla="*/ 4259026 h 6559364"/>
              <a:gd name="connsiteX11" fmla="*/ 6022642 w 8847032"/>
              <a:gd name="connsiteY11" fmla="*/ 4656742 h 6559364"/>
              <a:gd name="connsiteX12" fmla="*/ 7928312 w 8847032"/>
              <a:gd name="connsiteY12" fmla="*/ 5118069 h 6559364"/>
              <a:gd name="connsiteX13" fmla="*/ 8376252 w 8847032"/>
              <a:gd name="connsiteY13" fmla="*/ 5525668 h 6559364"/>
              <a:gd name="connsiteX14" fmla="*/ 8847032 w 8847032"/>
              <a:gd name="connsiteY14"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5744077 w 8847032"/>
              <a:gd name="connsiteY10" fmla="*/ 4259026 h 6559364"/>
              <a:gd name="connsiteX11" fmla="*/ 6022642 w 8847032"/>
              <a:gd name="connsiteY11" fmla="*/ 4656742 h 6559364"/>
              <a:gd name="connsiteX12" fmla="*/ 7928312 w 8847032"/>
              <a:gd name="connsiteY12" fmla="*/ 5118069 h 6559364"/>
              <a:gd name="connsiteX13" fmla="*/ 8376252 w 8847032"/>
              <a:gd name="connsiteY13" fmla="*/ 5525668 h 6559364"/>
              <a:gd name="connsiteX14" fmla="*/ 8847032 w 8847032"/>
              <a:gd name="connsiteY14"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5744077 w 8847032"/>
              <a:gd name="connsiteY10" fmla="*/ 4259026 h 6559364"/>
              <a:gd name="connsiteX11" fmla="*/ 6022642 w 8847032"/>
              <a:gd name="connsiteY11" fmla="*/ 4656742 h 6559364"/>
              <a:gd name="connsiteX12" fmla="*/ 7928312 w 8847032"/>
              <a:gd name="connsiteY12" fmla="*/ 5118069 h 6559364"/>
              <a:gd name="connsiteX13" fmla="*/ 8376252 w 8847032"/>
              <a:gd name="connsiteY13" fmla="*/ 5525668 h 6559364"/>
              <a:gd name="connsiteX14" fmla="*/ 8847032 w 8847032"/>
              <a:gd name="connsiteY14"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326057 w 8847032"/>
              <a:gd name="connsiteY5" fmla="*/ 261938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22642 w 8847032"/>
              <a:gd name="connsiteY10" fmla="*/ 4656742 h 6559364"/>
              <a:gd name="connsiteX11" fmla="*/ 7928312 w 8847032"/>
              <a:gd name="connsiteY11" fmla="*/ 5118069 h 6559364"/>
              <a:gd name="connsiteX12" fmla="*/ 8376252 w 8847032"/>
              <a:gd name="connsiteY12" fmla="*/ 5525668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446056 w 8847032"/>
              <a:gd name="connsiteY5" fmla="*/ 2405610 h 6559364"/>
              <a:gd name="connsiteX6" fmla="*/ 4158488 w 8847032"/>
              <a:gd name="connsiteY6" fmla="*/ 2788160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22642 w 8847032"/>
              <a:gd name="connsiteY10" fmla="*/ 4656742 h 6559364"/>
              <a:gd name="connsiteX11" fmla="*/ 7928312 w 8847032"/>
              <a:gd name="connsiteY11" fmla="*/ 5118069 h 6559364"/>
              <a:gd name="connsiteX12" fmla="*/ 8376252 w 8847032"/>
              <a:gd name="connsiteY12" fmla="*/ 5525668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446056 w 8847032"/>
              <a:gd name="connsiteY5" fmla="*/ 240561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22642 w 8847032"/>
              <a:gd name="connsiteY10" fmla="*/ 4656742 h 6559364"/>
              <a:gd name="connsiteX11" fmla="*/ 7928312 w 8847032"/>
              <a:gd name="connsiteY11" fmla="*/ 5118069 h 6559364"/>
              <a:gd name="connsiteX12" fmla="*/ 8376252 w 8847032"/>
              <a:gd name="connsiteY12" fmla="*/ 5525668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22642 w 8847032"/>
              <a:gd name="connsiteY10" fmla="*/ 4656742 h 6559364"/>
              <a:gd name="connsiteX11" fmla="*/ 7928312 w 8847032"/>
              <a:gd name="connsiteY11" fmla="*/ 5118069 h 6559364"/>
              <a:gd name="connsiteX12" fmla="*/ 8376252 w 8847032"/>
              <a:gd name="connsiteY12" fmla="*/ 5525668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22642 w 8847032"/>
              <a:gd name="connsiteY10" fmla="*/ 4656742 h 6559364"/>
              <a:gd name="connsiteX11" fmla="*/ 7928312 w 8847032"/>
              <a:gd name="connsiteY11" fmla="*/ 5118069 h 6559364"/>
              <a:gd name="connsiteX12" fmla="*/ 8395582 w 8847032"/>
              <a:gd name="connsiteY12" fmla="*/ 5495433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22642 w 8847032"/>
              <a:gd name="connsiteY10" fmla="*/ 4656742 h 6559364"/>
              <a:gd name="connsiteX11" fmla="*/ 7928312 w 8847032"/>
              <a:gd name="connsiteY11" fmla="*/ 5118069 h 6559364"/>
              <a:gd name="connsiteX12" fmla="*/ 8395582 w 8847032"/>
              <a:gd name="connsiteY12" fmla="*/ 5495433 h 6559364"/>
              <a:gd name="connsiteX13" fmla="*/ 8847032 w 8847032"/>
              <a:gd name="connsiteY13"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22642 w 8847032"/>
              <a:gd name="connsiteY10" fmla="*/ 4656742 h 6559364"/>
              <a:gd name="connsiteX11" fmla="*/ 8395582 w 8847032"/>
              <a:gd name="connsiteY11" fmla="*/ 5495433 h 6559364"/>
              <a:gd name="connsiteX12" fmla="*/ 8847032 w 8847032"/>
              <a:gd name="connsiteY12"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22642 w 8847032"/>
              <a:gd name="connsiteY10" fmla="*/ 4656742 h 6559364"/>
              <a:gd name="connsiteX11" fmla="*/ 7897680 w 8847032"/>
              <a:gd name="connsiteY11" fmla="*/ 5113829 h 6559364"/>
              <a:gd name="connsiteX12" fmla="*/ 8847032 w 8847032"/>
              <a:gd name="connsiteY12"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22642 w 8847032"/>
              <a:gd name="connsiteY10" fmla="*/ 4656742 h 6559364"/>
              <a:gd name="connsiteX11" fmla="*/ 7897680 w 8847032"/>
              <a:gd name="connsiteY11" fmla="*/ 5113829 h 6559364"/>
              <a:gd name="connsiteX12" fmla="*/ 8847032 w 8847032"/>
              <a:gd name="connsiteY12"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6008590 w 8847032"/>
              <a:gd name="connsiteY10" fmla="*/ 4769989 h 6559364"/>
              <a:gd name="connsiteX11" fmla="*/ 7897680 w 8847032"/>
              <a:gd name="connsiteY11" fmla="*/ 5113829 h 6559364"/>
              <a:gd name="connsiteX12" fmla="*/ 8847032 w 8847032"/>
              <a:gd name="connsiteY12"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477754 w 8847032"/>
              <a:gd name="connsiteY9" fmla="*/ 3774950 h 6559364"/>
              <a:gd name="connsiteX10" fmla="*/ 5968668 w 8847032"/>
              <a:gd name="connsiteY10" fmla="*/ 4715095 h 6559364"/>
              <a:gd name="connsiteX11" fmla="*/ 7897680 w 8847032"/>
              <a:gd name="connsiteY11" fmla="*/ 5113829 h 6559364"/>
              <a:gd name="connsiteX12" fmla="*/ 8847032 w 8847032"/>
              <a:gd name="connsiteY12"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362517 w 8847032"/>
              <a:gd name="connsiteY9" fmla="*/ 3824819 h 6559364"/>
              <a:gd name="connsiteX10" fmla="*/ 5968668 w 8847032"/>
              <a:gd name="connsiteY10" fmla="*/ 4715095 h 6559364"/>
              <a:gd name="connsiteX11" fmla="*/ 7897680 w 8847032"/>
              <a:gd name="connsiteY11" fmla="*/ 5113829 h 6559364"/>
              <a:gd name="connsiteX12" fmla="*/ 8847032 w 8847032"/>
              <a:gd name="connsiteY12" fmla="*/ 6559364 h 6559364"/>
              <a:gd name="connsiteX0" fmla="*/ 24146 w 8847032"/>
              <a:gd name="connsiteY0" fmla="*/ 0 h 6559364"/>
              <a:gd name="connsiteX1" fmla="*/ 1345991 w 8847032"/>
              <a:gd name="connsiteY1" fmla="*/ 329861 h 6559364"/>
              <a:gd name="connsiteX2" fmla="*/ 1836198 w 8847032"/>
              <a:gd name="connsiteY2" fmla="*/ 1306354 h 6559364"/>
              <a:gd name="connsiteX3" fmla="*/ 2683144 w 8847032"/>
              <a:gd name="connsiteY3" fmla="*/ 1296458 h 6559364"/>
              <a:gd name="connsiteX4" fmla="*/ 3021728 w 8847032"/>
              <a:gd name="connsiteY4" fmla="*/ 1515159 h 6559364"/>
              <a:gd name="connsiteX5" fmla="*/ 3278329 w 8847032"/>
              <a:gd name="connsiteY5" fmla="*/ 2250740 h 6559364"/>
              <a:gd name="connsiteX6" fmla="*/ 3971431 w 8847032"/>
              <a:gd name="connsiteY6" fmla="*/ 2663524 h 6559364"/>
              <a:gd name="connsiteX7" fmla="*/ 4336598 w 8847032"/>
              <a:gd name="connsiteY7" fmla="*/ 3304285 h 6559364"/>
              <a:gd name="connsiteX8" fmla="*/ 4704068 w 8847032"/>
              <a:gd name="connsiteY8" fmla="*/ 3642944 h 6559364"/>
              <a:gd name="connsiteX9" fmla="*/ 5362517 w 8847032"/>
              <a:gd name="connsiteY9" fmla="*/ 3824819 h 6559364"/>
              <a:gd name="connsiteX10" fmla="*/ 5968668 w 8847032"/>
              <a:gd name="connsiteY10" fmla="*/ 4715095 h 6559364"/>
              <a:gd name="connsiteX11" fmla="*/ 7887643 w 8847032"/>
              <a:gd name="connsiteY11" fmla="*/ 5194720 h 6559364"/>
              <a:gd name="connsiteX12" fmla="*/ 8847032 w 8847032"/>
              <a:gd name="connsiteY12" fmla="*/ 6559364 h 6559364"/>
              <a:gd name="connsiteX0" fmla="*/ 22587 w 8845473"/>
              <a:gd name="connsiteY0" fmla="*/ 0 h 6559364"/>
              <a:gd name="connsiteX1" fmla="*/ 1440340 w 8845473"/>
              <a:gd name="connsiteY1" fmla="*/ 310229 h 6559364"/>
              <a:gd name="connsiteX2" fmla="*/ 1834639 w 8845473"/>
              <a:gd name="connsiteY2" fmla="*/ 1306354 h 6559364"/>
              <a:gd name="connsiteX3" fmla="*/ 2681585 w 8845473"/>
              <a:gd name="connsiteY3" fmla="*/ 1296458 h 6559364"/>
              <a:gd name="connsiteX4" fmla="*/ 3020169 w 8845473"/>
              <a:gd name="connsiteY4" fmla="*/ 1515159 h 6559364"/>
              <a:gd name="connsiteX5" fmla="*/ 3276770 w 8845473"/>
              <a:gd name="connsiteY5" fmla="*/ 2250740 h 6559364"/>
              <a:gd name="connsiteX6" fmla="*/ 3969872 w 8845473"/>
              <a:gd name="connsiteY6" fmla="*/ 2663524 h 6559364"/>
              <a:gd name="connsiteX7" fmla="*/ 4335039 w 8845473"/>
              <a:gd name="connsiteY7" fmla="*/ 3304285 h 6559364"/>
              <a:gd name="connsiteX8" fmla="*/ 4702509 w 8845473"/>
              <a:gd name="connsiteY8" fmla="*/ 3642944 h 6559364"/>
              <a:gd name="connsiteX9" fmla="*/ 5360958 w 8845473"/>
              <a:gd name="connsiteY9" fmla="*/ 3824819 h 6559364"/>
              <a:gd name="connsiteX10" fmla="*/ 5967109 w 8845473"/>
              <a:gd name="connsiteY10" fmla="*/ 4715095 h 6559364"/>
              <a:gd name="connsiteX11" fmla="*/ 7886084 w 8845473"/>
              <a:gd name="connsiteY11" fmla="*/ 5194720 h 6559364"/>
              <a:gd name="connsiteX12" fmla="*/ 8845473 w 8845473"/>
              <a:gd name="connsiteY12" fmla="*/ 6559364 h 6559364"/>
              <a:gd name="connsiteX0" fmla="*/ 22587 w 8845473"/>
              <a:gd name="connsiteY0" fmla="*/ 0 h 6559364"/>
              <a:gd name="connsiteX1" fmla="*/ 1440340 w 8845473"/>
              <a:gd name="connsiteY1" fmla="*/ 310229 h 6559364"/>
              <a:gd name="connsiteX2" fmla="*/ 1834639 w 8845473"/>
              <a:gd name="connsiteY2" fmla="*/ 1306354 h 6559364"/>
              <a:gd name="connsiteX3" fmla="*/ 2681585 w 8845473"/>
              <a:gd name="connsiteY3" fmla="*/ 1296458 h 6559364"/>
              <a:gd name="connsiteX4" fmla="*/ 3020169 w 8845473"/>
              <a:gd name="connsiteY4" fmla="*/ 1515159 h 6559364"/>
              <a:gd name="connsiteX5" fmla="*/ 3276770 w 8845473"/>
              <a:gd name="connsiteY5" fmla="*/ 2250740 h 6559364"/>
              <a:gd name="connsiteX6" fmla="*/ 3969872 w 8845473"/>
              <a:gd name="connsiteY6" fmla="*/ 2663524 h 6559364"/>
              <a:gd name="connsiteX7" fmla="*/ 4335039 w 8845473"/>
              <a:gd name="connsiteY7" fmla="*/ 3304285 h 6559364"/>
              <a:gd name="connsiteX8" fmla="*/ 4164458 w 8845473"/>
              <a:gd name="connsiteY8" fmla="*/ 3584906 h 6559364"/>
              <a:gd name="connsiteX9" fmla="*/ 5360958 w 8845473"/>
              <a:gd name="connsiteY9" fmla="*/ 3824819 h 6559364"/>
              <a:gd name="connsiteX10" fmla="*/ 5967109 w 8845473"/>
              <a:gd name="connsiteY10" fmla="*/ 4715095 h 6559364"/>
              <a:gd name="connsiteX11" fmla="*/ 7886084 w 8845473"/>
              <a:gd name="connsiteY11" fmla="*/ 5194720 h 6559364"/>
              <a:gd name="connsiteX12" fmla="*/ 8845473 w 8845473"/>
              <a:gd name="connsiteY12" fmla="*/ 6559364 h 6559364"/>
              <a:gd name="connsiteX0" fmla="*/ 22587 w 8845473"/>
              <a:gd name="connsiteY0" fmla="*/ 0 h 6559364"/>
              <a:gd name="connsiteX1" fmla="*/ 1440340 w 8845473"/>
              <a:gd name="connsiteY1" fmla="*/ 310229 h 6559364"/>
              <a:gd name="connsiteX2" fmla="*/ 1834639 w 8845473"/>
              <a:gd name="connsiteY2" fmla="*/ 1306354 h 6559364"/>
              <a:gd name="connsiteX3" fmla="*/ 2681585 w 8845473"/>
              <a:gd name="connsiteY3" fmla="*/ 1296458 h 6559364"/>
              <a:gd name="connsiteX4" fmla="*/ 3020169 w 8845473"/>
              <a:gd name="connsiteY4" fmla="*/ 1515159 h 6559364"/>
              <a:gd name="connsiteX5" fmla="*/ 3276770 w 8845473"/>
              <a:gd name="connsiteY5" fmla="*/ 2250740 h 6559364"/>
              <a:gd name="connsiteX6" fmla="*/ 3969872 w 8845473"/>
              <a:gd name="connsiteY6" fmla="*/ 2663524 h 6559364"/>
              <a:gd name="connsiteX7" fmla="*/ 4164458 w 8845473"/>
              <a:gd name="connsiteY7" fmla="*/ 3584906 h 6559364"/>
              <a:gd name="connsiteX8" fmla="*/ 5360958 w 8845473"/>
              <a:gd name="connsiteY8" fmla="*/ 3824819 h 6559364"/>
              <a:gd name="connsiteX9" fmla="*/ 5967109 w 8845473"/>
              <a:gd name="connsiteY9" fmla="*/ 4715095 h 6559364"/>
              <a:gd name="connsiteX10" fmla="*/ 7886084 w 8845473"/>
              <a:gd name="connsiteY10" fmla="*/ 5194720 h 6559364"/>
              <a:gd name="connsiteX11" fmla="*/ 8845473 w 8845473"/>
              <a:gd name="connsiteY11" fmla="*/ 6559364 h 6559364"/>
              <a:gd name="connsiteX0" fmla="*/ 22587 w 8845473"/>
              <a:gd name="connsiteY0" fmla="*/ 0 h 6559364"/>
              <a:gd name="connsiteX1" fmla="*/ 1440340 w 8845473"/>
              <a:gd name="connsiteY1" fmla="*/ 310229 h 6559364"/>
              <a:gd name="connsiteX2" fmla="*/ 1834639 w 8845473"/>
              <a:gd name="connsiteY2" fmla="*/ 1306354 h 6559364"/>
              <a:gd name="connsiteX3" fmla="*/ 2681585 w 8845473"/>
              <a:gd name="connsiteY3" fmla="*/ 1296458 h 6559364"/>
              <a:gd name="connsiteX4" fmla="*/ 3020169 w 8845473"/>
              <a:gd name="connsiteY4" fmla="*/ 1515159 h 6559364"/>
              <a:gd name="connsiteX5" fmla="*/ 3276770 w 8845473"/>
              <a:gd name="connsiteY5" fmla="*/ 2250740 h 6559364"/>
              <a:gd name="connsiteX6" fmla="*/ 3843332 w 8845473"/>
              <a:gd name="connsiteY6" fmla="*/ 2678915 h 6559364"/>
              <a:gd name="connsiteX7" fmla="*/ 4164458 w 8845473"/>
              <a:gd name="connsiteY7" fmla="*/ 3584906 h 6559364"/>
              <a:gd name="connsiteX8" fmla="*/ 5360958 w 8845473"/>
              <a:gd name="connsiteY8" fmla="*/ 3824819 h 6559364"/>
              <a:gd name="connsiteX9" fmla="*/ 5967109 w 8845473"/>
              <a:gd name="connsiteY9" fmla="*/ 4715095 h 6559364"/>
              <a:gd name="connsiteX10" fmla="*/ 7886084 w 8845473"/>
              <a:gd name="connsiteY10" fmla="*/ 5194720 h 6559364"/>
              <a:gd name="connsiteX11" fmla="*/ 8845473 w 8845473"/>
              <a:gd name="connsiteY11" fmla="*/ 6559364 h 6559364"/>
              <a:gd name="connsiteX0" fmla="*/ 22587 w 8845473"/>
              <a:gd name="connsiteY0" fmla="*/ 0 h 6559364"/>
              <a:gd name="connsiteX1" fmla="*/ 1440340 w 8845473"/>
              <a:gd name="connsiteY1" fmla="*/ 310229 h 6559364"/>
              <a:gd name="connsiteX2" fmla="*/ 1834639 w 8845473"/>
              <a:gd name="connsiteY2" fmla="*/ 1306354 h 6559364"/>
              <a:gd name="connsiteX3" fmla="*/ 2681585 w 8845473"/>
              <a:gd name="connsiteY3" fmla="*/ 1296458 h 6559364"/>
              <a:gd name="connsiteX4" fmla="*/ 3020169 w 8845473"/>
              <a:gd name="connsiteY4" fmla="*/ 1515159 h 6559364"/>
              <a:gd name="connsiteX5" fmla="*/ 3843332 w 8845473"/>
              <a:gd name="connsiteY5" fmla="*/ 2678915 h 6559364"/>
              <a:gd name="connsiteX6" fmla="*/ 4164458 w 8845473"/>
              <a:gd name="connsiteY6" fmla="*/ 3584906 h 6559364"/>
              <a:gd name="connsiteX7" fmla="*/ 5360958 w 8845473"/>
              <a:gd name="connsiteY7" fmla="*/ 3824819 h 6559364"/>
              <a:gd name="connsiteX8" fmla="*/ 5967109 w 8845473"/>
              <a:gd name="connsiteY8" fmla="*/ 4715095 h 6559364"/>
              <a:gd name="connsiteX9" fmla="*/ 7886084 w 8845473"/>
              <a:gd name="connsiteY9" fmla="*/ 5194720 h 6559364"/>
              <a:gd name="connsiteX10" fmla="*/ 8845473 w 8845473"/>
              <a:gd name="connsiteY10" fmla="*/ 6559364 h 6559364"/>
              <a:gd name="connsiteX0" fmla="*/ 22587 w 8845473"/>
              <a:gd name="connsiteY0" fmla="*/ 0 h 6559364"/>
              <a:gd name="connsiteX1" fmla="*/ 1440340 w 8845473"/>
              <a:gd name="connsiteY1" fmla="*/ 310229 h 6559364"/>
              <a:gd name="connsiteX2" fmla="*/ 1834639 w 8845473"/>
              <a:gd name="connsiteY2" fmla="*/ 1306354 h 6559364"/>
              <a:gd name="connsiteX3" fmla="*/ 2681585 w 8845473"/>
              <a:gd name="connsiteY3" fmla="*/ 1296458 h 6559364"/>
              <a:gd name="connsiteX4" fmla="*/ 3452048 w 8845473"/>
              <a:gd name="connsiteY4" fmla="*/ 2052184 h 6559364"/>
              <a:gd name="connsiteX5" fmla="*/ 3843332 w 8845473"/>
              <a:gd name="connsiteY5" fmla="*/ 2678915 h 6559364"/>
              <a:gd name="connsiteX6" fmla="*/ 4164458 w 8845473"/>
              <a:gd name="connsiteY6" fmla="*/ 3584906 h 6559364"/>
              <a:gd name="connsiteX7" fmla="*/ 5360958 w 8845473"/>
              <a:gd name="connsiteY7" fmla="*/ 3824819 h 6559364"/>
              <a:gd name="connsiteX8" fmla="*/ 5967109 w 8845473"/>
              <a:gd name="connsiteY8" fmla="*/ 4715095 h 6559364"/>
              <a:gd name="connsiteX9" fmla="*/ 7886084 w 8845473"/>
              <a:gd name="connsiteY9" fmla="*/ 5194720 h 6559364"/>
              <a:gd name="connsiteX10" fmla="*/ 8845473 w 8845473"/>
              <a:gd name="connsiteY10" fmla="*/ 6559364 h 6559364"/>
              <a:gd name="connsiteX0" fmla="*/ 22587 w 8845473"/>
              <a:gd name="connsiteY0" fmla="*/ 0 h 6559364"/>
              <a:gd name="connsiteX1" fmla="*/ 1440340 w 8845473"/>
              <a:gd name="connsiteY1" fmla="*/ 310229 h 6559364"/>
              <a:gd name="connsiteX2" fmla="*/ 1834639 w 8845473"/>
              <a:gd name="connsiteY2" fmla="*/ 1306354 h 6559364"/>
              <a:gd name="connsiteX3" fmla="*/ 2681585 w 8845473"/>
              <a:gd name="connsiteY3" fmla="*/ 1296458 h 6559364"/>
              <a:gd name="connsiteX4" fmla="*/ 3843332 w 8845473"/>
              <a:gd name="connsiteY4" fmla="*/ 2678915 h 6559364"/>
              <a:gd name="connsiteX5" fmla="*/ 4164458 w 8845473"/>
              <a:gd name="connsiteY5" fmla="*/ 3584906 h 6559364"/>
              <a:gd name="connsiteX6" fmla="*/ 5360958 w 8845473"/>
              <a:gd name="connsiteY6" fmla="*/ 3824819 h 6559364"/>
              <a:gd name="connsiteX7" fmla="*/ 5967109 w 8845473"/>
              <a:gd name="connsiteY7" fmla="*/ 4715095 h 6559364"/>
              <a:gd name="connsiteX8" fmla="*/ 7886084 w 8845473"/>
              <a:gd name="connsiteY8" fmla="*/ 5194720 h 6559364"/>
              <a:gd name="connsiteX9" fmla="*/ 8845473 w 8845473"/>
              <a:gd name="connsiteY9" fmla="*/ 6559364 h 6559364"/>
              <a:gd name="connsiteX0" fmla="*/ 22587 w 8845473"/>
              <a:gd name="connsiteY0" fmla="*/ 0 h 6559364"/>
              <a:gd name="connsiteX1" fmla="*/ 1440340 w 8845473"/>
              <a:gd name="connsiteY1" fmla="*/ 310229 h 6559364"/>
              <a:gd name="connsiteX2" fmla="*/ 1834639 w 8845473"/>
              <a:gd name="connsiteY2" fmla="*/ 1306354 h 6559364"/>
              <a:gd name="connsiteX3" fmla="*/ 3277178 w 8845473"/>
              <a:gd name="connsiteY3" fmla="*/ 2020711 h 6559364"/>
              <a:gd name="connsiteX4" fmla="*/ 3843332 w 8845473"/>
              <a:gd name="connsiteY4" fmla="*/ 2678915 h 6559364"/>
              <a:gd name="connsiteX5" fmla="*/ 4164458 w 8845473"/>
              <a:gd name="connsiteY5" fmla="*/ 3584906 h 6559364"/>
              <a:gd name="connsiteX6" fmla="*/ 5360958 w 8845473"/>
              <a:gd name="connsiteY6" fmla="*/ 3824819 h 6559364"/>
              <a:gd name="connsiteX7" fmla="*/ 5967109 w 8845473"/>
              <a:gd name="connsiteY7" fmla="*/ 4715095 h 6559364"/>
              <a:gd name="connsiteX8" fmla="*/ 7886084 w 8845473"/>
              <a:gd name="connsiteY8" fmla="*/ 5194720 h 6559364"/>
              <a:gd name="connsiteX9" fmla="*/ 8845473 w 8845473"/>
              <a:gd name="connsiteY9" fmla="*/ 6559364 h 6559364"/>
              <a:gd name="connsiteX0" fmla="*/ 23760 w 8846646"/>
              <a:gd name="connsiteY0" fmla="*/ 0 h 6559364"/>
              <a:gd name="connsiteX1" fmla="*/ 1441513 w 8846646"/>
              <a:gd name="connsiteY1" fmla="*/ 310229 h 6559364"/>
              <a:gd name="connsiteX2" fmla="*/ 2287768 w 8846646"/>
              <a:gd name="connsiteY2" fmla="*/ 1681596 h 6559364"/>
              <a:gd name="connsiteX3" fmla="*/ 3278351 w 8846646"/>
              <a:gd name="connsiteY3" fmla="*/ 2020711 h 6559364"/>
              <a:gd name="connsiteX4" fmla="*/ 3844505 w 8846646"/>
              <a:gd name="connsiteY4" fmla="*/ 2678915 h 6559364"/>
              <a:gd name="connsiteX5" fmla="*/ 4165631 w 8846646"/>
              <a:gd name="connsiteY5" fmla="*/ 3584906 h 6559364"/>
              <a:gd name="connsiteX6" fmla="*/ 5362131 w 8846646"/>
              <a:gd name="connsiteY6" fmla="*/ 3824819 h 6559364"/>
              <a:gd name="connsiteX7" fmla="*/ 5968282 w 8846646"/>
              <a:gd name="connsiteY7" fmla="*/ 4715095 h 6559364"/>
              <a:gd name="connsiteX8" fmla="*/ 7887257 w 8846646"/>
              <a:gd name="connsiteY8" fmla="*/ 5194720 h 6559364"/>
              <a:gd name="connsiteX9" fmla="*/ 8846646 w 8846646"/>
              <a:gd name="connsiteY9"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3844052 w 8846193"/>
              <a:gd name="connsiteY4" fmla="*/ 2678915 h 6559364"/>
              <a:gd name="connsiteX5" fmla="*/ 4165178 w 8846193"/>
              <a:gd name="connsiteY5" fmla="*/ 3584906 h 6559364"/>
              <a:gd name="connsiteX6" fmla="*/ 5361678 w 8846193"/>
              <a:gd name="connsiteY6" fmla="*/ 3824819 h 6559364"/>
              <a:gd name="connsiteX7" fmla="*/ 5967829 w 8846193"/>
              <a:gd name="connsiteY7" fmla="*/ 4715095 h 6559364"/>
              <a:gd name="connsiteX8" fmla="*/ 7886804 w 8846193"/>
              <a:gd name="connsiteY8" fmla="*/ 5194720 h 6559364"/>
              <a:gd name="connsiteX9" fmla="*/ 8846193 w 8846193"/>
              <a:gd name="connsiteY9"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3844052 w 8846193"/>
              <a:gd name="connsiteY4" fmla="*/ 2678915 h 6559364"/>
              <a:gd name="connsiteX5" fmla="*/ 4042135 w 8846193"/>
              <a:gd name="connsiteY5" fmla="*/ 3321029 h 6559364"/>
              <a:gd name="connsiteX6" fmla="*/ 5361678 w 8846193"/>
              <a:gd name="connsiteY6" fmla="*/ 3824819 h 6559364"/>
              <a:gd name="connsiteX7" fmla="*/ 5967829 w 8846193"/>
              <a:gd name="connsiteY7" fmla="*/ 4715095 h 6559364"/>
              <a:gd name="connsiteX8" fmla="*/ 7886804 w 8846193"/>
              <a:gd name="connsiteY8" fmla="*/ 5194720 h 6559364"/>
              <a:gd name="connsiteX9" fmla="*/ 8846193 w 8846193"/>
              <a:gd name="connsiteY9"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3844052 w 8846193"/>
              <a:gd name="connsiteY4" fmla="*/ 2678915 h 6559364"/>
              <a:gd name="connsiteX5" fmla="*/ 4042135 w 8846193"/>
              <a:gd name="connsiteY5" fmla="*/ 3321029 h 6559364"/>
              <a:gd name="connsiteX6" fmla="*/ 5249934 w 8846193"/>
              <a:gd name="connsiteY6" fmla="*/ 3595419 h 6559364"/>
              <a:gd name="connsiteX7" fmla="*/ 5967829 w 8846193"/>
              <a:gd name="connsiteY7" fmla="*/ 4715095 h 6559364"/>
              <a:gd name="connsiteX8" fmla="*/ 7886804 w 8846193"/>
              <a:gd name="connsiteY8" fmla="*/ 5194720 h 6559364"/>
              <a:gd name="connsiteX9" fmla="*/ 8846193 w 8846193"/>
              <a:gd name="connsiteY9"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3844052 w 8846193"/>
              <a:gd name="connsiteY4" fmla="*/ 2678915 h 6559364"/>
              <a:gd name="connsiteX5" fmla="*/ 4042135 w 8846193"/>
              <a:gd name="connsiteY5" fmla="*/ 3321029 h 6559364"/>
              <a:gd name="connsiteX6" fmla="*/ 5249934 w 8846193"/>
              <a:gd name="connsiteY6" fmla="*/ 3595419 h 6559364"/>
              <a:gd name="connsiteX7" fmla="*/ 6097120 w 8846193"/>
              <a:gd name="connsiteY7" fmla="*/ 4551980 h 6559364"/>
              <a:gd name="connsiteX8" fmla="*/ 7886804 w 8846193"/>
              <a:gd name="connsiteY8" fmla="*/ 5194720 h 6559364"/>
              <a:gd name="connsiteX9" fmla="*/ 8846193 w 8846193"/>
              <a:gd name="connsiteY9"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3844052 w 8846193"/>
              <a:gd name="connsiteY4" fmla="*/ 2678915 h 6559364"/>
              <a:gd name="connsiteX5" fmla="*/ 4042135 w 8846193"/>
              <a:gd name="connsiteY5" fmla="*/ 3321029 h 6559364"/>
              <a:gd name="connsiteX6" fmla="*/ 5249934 w 8846193"/>
              <a:gd name="connsiteY6" fmla="*/ 3595419 h 6559364"/>
              <a:gd name="connsiteX7" fmla="*/ 6097120 w 8846193"/>
              <a:gd name="connsiteY7" fmla="*/ 4551980 h 6559364"/>
              <a:gd name="connsiteX8" fmla="*/ 7964127 w 8846193"/>
              <a:gd name="connsiteY8" fmla="*/ 5073778 h 6559364"/>
              <a:gd name="connsiteX9" fmla="*/ 8846193 w 8846193"/>
              <a:gd name="connsiteY9"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3844052 w 8846193"/>
              <a:gd name="connsiteY4" fmla="*/ 2678915 h 6559364"/>
              <a:gd name="connsiteX5" fmla="*/ 4042135 w 8846193"/>
              <a:gd name="connsiteY5" fmla="*/ 3321029 h 6559364"/>
              <a:gd name="connsiteX6" fmla="*/ 5249934 w 8846193"/>
              <a:gd name="connsiteY6" fmla="*/ 3595419 h 6559364"/>
              <a:gd name="connsiteX7" fmla="*/ 5997198 w 8846193"/>
              <a:gd name="connsiteY7" fmla="*/ 4603970 h 6559364"/>
              <a:gd name="connsiteX8" fmla="*/ 7964127 w 8846193"/>
              <a:gd name="connsiteY8" fmla="*/ 5073778 h 6559364"/>
              <a:gd name="connsiteX9" fmla="*/ 8846193 w 8846193"/>
              <a:gd name="connsiteY9"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4042135 w 8846193"/>
              <a:gd name="connsiteY4" fmla="*/ 3321029 h 6559364"/>
              <a:gd name="connsiteX5" fmla="*/ 5249934 w 8846193"/>
              <a:gd name="connsiteY5" fmla="*/ 3595419 h 6559364"/>
              <a:gd name="connsiteX6" fmla="*/ 5997198 w 8846193"/>
              <a:gd name="connsiteY6" fmla="*/ 4603970 h 6559364"/>
              <a:gd name="connsiteX7" fmla="*/ 7964127 w 8846193"/>
              <a:gd name="connsiteY7" fmla="*/ 5073778 h 6559364"/>
              <a:gd name="connsiteX8" fmla="*/ 8846193 w 8846193"/>
              <a:gd name="connsiteY8"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4042135 w 8846193"/>
              <a:gd name="connsiteY4" fmla="*/ 3321029 h 6559364"/>
              <a:gd name="connsiteX5" fmla="*/ 5249934 w 8846193"/>
              <a:gd name="connsiteY5" fmla="*/ 3595419 h 6559364"/>
              <a:gd name="connsiteX6" fmla="*/ 5997198 w 8846193"/>
              <a:gd name="connsiteY6" fmla="*/ 4603970 h 6559364"/>
              <a:gd name="connsiteX7" fmla="*/ 7964127 w 8846193"/>
              <a:gd name="connsiteY7" fmla="*/ 5073778 h 6559364"/>
              <a:gd name="connsiteX8" fmla="*/ 8846193 w 8846193"/>
              <a:gd name="connsiteY8"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4042135 w 8846193"/>
              <a:gd name="connsiteY4" fmla="*/ 3321029 h 6559364"/>
              <a:gd name="connsiteX5" fmla="*/ 5249934 w 8846193"/>
              <a:gd name="connsiteY5" fmla="*/ 3595419 h 6559364"/>
              <a:gd name="connsiteX6" fmla="*/ 5997198 w 8846193"/>
              <a:gd name="connsiteY6" fmla="*/ 4603970 h 6559364"/>
              <a:gd name="connsiteX7" fmla="*/ 7964127 w 8846193"/>
              <a:gd name="connsiteY7" fmla="*/ 5073778 h 6559364"/>
              <a:gd name="connsiteX8" fmla="*/ 8846193 w 8846193"/>
              <a:gd name="connsiteY8"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4019532 w 8846193"/>
              <a:gd name="connsiteY4" fmla="*/ 3252075 h 6559364"/>
              <a:gd name="connsiteX5" fmla="*/ 5249934 w 8846193"/>
              <a:gd name="connsiteY5" fmla="*/ 3595419 h 6559364"/>
              <a:gd name="connsiteX6" fmla="*/ 5997198 w 8846193"/>
              <a:gd name="connsiteY6" fmla="*/ 4603970 h 6559364"/>
              <a:gd name="connsiteX7" fmla="*/ 7964127 w 8846193"/>
              <a:gd name="connsiteY7" fmla="*/ 5073778 h 6559364"/>
              <a:gd name="connsiteX8" fmla="*/ 8846193 w 8846193"/>
              <a:gd name="connsiteY8"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4019532 w 8846193"/>
              <a:gd name="connsiteY4" fmla="*/ 3252075 h 6559364"/>
              <a:gd name="connsiteX5" fmla="*/ 5353130 w 8846193"/>
              <a:gd name="connsiteY5" fmla="*/ 3642618 h 6559364"/>
              <a:gd name="connsiteX6" fmla="*/ 5997198 w 8846193"/>
              <a:gd name="connsiteY6" fmla="*/ 4603970 h 6559364"/>
              <a:gd name="connsiteX7" fmla="*/ 7964127 w 8846193"/>
              <a:gd name="connsiteY7" fmla="*/ 5073778 h 6559364"/>
              <a:gd name="connsiteX8" fmla="*/ 8846193 w 8846193"/>
              <a:gd name="connsiteY8" fmla="*/ 6559364 h 6559364"/>
              <a:gd name="connsiteX0" fmla="*/ 23307 w 8846193"/>
              <a:gd name="connsiteY0" fmla="*/ 0 h 6559364"/>
              <a:gd name="connsiteX1" fmla="*/ 1441060 w 8846193"/>
              <a:gd name="connsiteY1" fmla="*/ 310229 h 6559364"/>
              <a:gd name="connsiteX2" fmla="*/ 2117582 w 8846193"/>
              <a:gd name="connsiteY2" fmla="*/ 1542903 h 6559364"/>
              <a:gd name="connsiteX3" fmla="*/ 3277898 w 8846193"/>
              <a:gd name="connsiteY3" fmla="*/ 2020711 h 6559364"/>
              <a:gd name="connsiteX4" fmla="*/ 4019532 w 8846193"/>
              <a:gd name="connsiteY4" fmla="*/ 3252075 h 6559364"/>
              <a:gd name="connsiteX5" fmla="*/ 5353130 w 8846193"/>
              <a:gd name="connsiteY5" fmla="*/ 3642618 h 6559364"/>
              <a:gd name="connsiteX6" fmla="*/ 6196301 w 8846193"/>
              <a:gd name="connsiteY6" fmla="*/ 4631541 h 6559364"/>
              <a:gd name="connsiteX7" fmla="*/ 7964127 w 8846193"/>
              <a:gd name="connsiteY7" fmla="*/ 5073778 h 6559364"/>
              <a:gd name="connsiteX8" fmla="*/ 8846193 w 8846193"/>
              <a:gd name="connsiteY8" fmla="*/ 6559364 h 6559364"/>
              <a:gd name="connsiteX0" fmla="*/ 23307 w 8909303"/>
              <a:gd name="connsiteY0" fmla="*/ 0 h 6678308"/>
              <a:gd name="connsiteX1" fmla="*/ 1441060 w 8909303"/>
              <a:gd name="connsiteY1" fmla="*/ 310229 h 6678308"/>
              <a:gd name="connsiteX2" fmla="*/ 2117582 w 8909303"/>
              <a:gd name="connsiteY2" fmla="*/ 1542903 h 6678308"/>
              <a:gd name="connsiteX3" fmla="*/ 3277898 w 8909303"/>
              <a:gd name="connsiteY3" fmla="*/ 2020711 h 6678308"/>
              <a:gd name="connsiteX4" fmla="*/ 4019532 w 8909303"/>
              <a:gd name="connsiteY4" fmla="*/ 3252075 h 6678308"/>
              <a:gd name="connsiteX5" fmla="*/ 5353130 w 8909303"/>
              <a:gd name="connsiteY5" fmla="*/ 3642618 h 6678308"/>
              <a:gd name="connsiteX6" fmla="*/ 6196301 w 8909303"/>
              <a:gd name="connsiteY6" fmla="*/ 4631541 h 6678308"/>
              <a:gd name="connsiteX7" fmla="*/ 7964127 w 8909303"/>
              <a:gd name="connsiteY7" fmla="*/ 5073778 h 6678308"/>
              <a:gd name="connsiteX8" fmla="*/ 8846193 w 8909303"/>
              <a:gd name="connsiteY8" fmla="*/ 6559364 h 6678308"/>
              <a:gd name="connsiteX9" fmla="*/ 8838276 w 8909303"/>
              <a:gd name="connsiteY9" fmla="*/ 6589012 h 6678308"/>
              <a:gd name="connsiteX0" fmla="*/ 23307 w 9248870"/>
              <a:gd name="connsiteY0" fmla="*/ 0 h 7857603"/>
              <a:gd name="connsiteX1" fmla="*/ 1441060 w 9248870"/>
              <a:gd name="connsiteY1" fmla="*/ 310229 h 7857603"/>
              <a:gd name="connsiteX2" fmla="*/ 2117582 w 9248870"/>
              <a:gd name="connsiteY2" fmla="*/ 1542903 h 7857603"/>
              <a:gd name="connsiteX3" fmla="*/ 3277898 w 9248870"/>
              <a:gd name="connsiteY3" fmla="*/ 2020711 h 7857603"/>
              <a:gd name="connsiteX4" fmla="*/ 4019532 w 9248870"/>
              <a:gd name="connsiteY4" fmla="*/ 3252075 h 7857603"/>
              <a:gd name="connsiteX5" fmla="*/ 5353130 w 9248870"/>
              <a:gd name="connsiteY5" fmla="*/ 3642618 h 7857603"/>
              <a:gd name="connsiteX6" fmla="*/ 6196301 w 9248870"/>
              <a:gd name="connsiteY6" fmla="*/ 4631541 h 7857603"/>
              <a:gd name="connsiteX7" fmla="*/ 7964127 w 9248870"/>
              <a:gd name="connsiteY7" fmla="*/ 5073778 h 7857603"/>
              <a:gd name="connsiteX8" fmla="*/ 8846193 w 9248870"/>
              <a:gd name="connsiteY8" fmla="*/ 6559364 h 7857603"/>
              <a:gd name="connsiteX9" fmla="*/ 9248863 w 9248870"/>
              <a:gd name="connsiteY9" fmla="*/ 7857603 h 7857603"/>
              <a:gd name="connsiteX0" fmla="*/ 23307 w 9426348"/>
              <a:gd name="connsiteY0" fmla="*/ 0 h 8788390"/>
              <a:gd name="connsiteX1" fmla="*/ 1441060 w 9426348"/>
              <a:gd name="connsiteY1" fmla="*/ 310229 h 8788390"/>
              <a:gd name="connsiteX2" fmla="*/ 2117582 w 9426348"/>
              <a:gd name="connsiteY2" fmla="*/ 1542903 h 8788390"/>
              <a:gd name="connsiteX3" fmla="*/ 3277898 w 9426348"/>
              <a:gd name="connsiteY3" fmla="*/ 2020711 h 8788390"/>
              <a:gd name="connsiteX4" fmla="*/ 4019532 w 9426348"/>
              <a:gd name="connsiteY4" fmla="*/ 3252075 h 8788390"/>
              <a:gd name="connsiteX5" fmla="*/ 5353130 w 9426348"/>
              <a:gd name="connsiteY5" fmla="*/ 3642618 h 8788390"/>
              <a:gd name="connsiteX6" fmla="*/ 6196301 w 9426348"/>
              <a:gd name="connsiteY6" fmla="*/ 4631541 h 8788390"/>
              <a:gd name="connsiteX7" fmla="*/ 7964127 w 9426348"/>
              <a:gd name="connsiteY7" fmla="*/ 5073778 h 8788390"/>
              <a:gd name="connsiteX8" fmla="*/ 8846193 w 9426348"/>
              <a:gd name="connsiteY8" fmla="*/ 6559364 h 8788390"/>
              <a:gd name="connsiteX9" fmla="*/ 9426345 w 9426348"/>
              <a:gd name="connsiteY9" fmla="*/ 8788390 h 8788390"/>
              <a:gd name="connsiteX0" fmla="*/ 23307 w 9426350"/>
              <a:gd name="connsiteY0" fmla="*/ 0 h 8788390"/>
              <a:gd name="connsiteX1" fmla="*/ 1441060 w 9426350"/>
              <a:gd name="connsiteY1" fmla="*/ 310229 h 8788390"/>
              <a:gd name="connsiteX2" fmla="*/ 2117582 w 9426350"/>
              <a:gd name="connsiteY2" fmla="*/ 1542903 h 8788390"/>
              <a:gd name="connsiteX3" fmla="*/ 3277898 w 9426350"/>
              <a:gd name="connsiteY3" fmla="*/ 2020711 h 8788390"/>
              <a:gd name="connsiteX4" fmla="*/ 4019532 w 9426350"/>
              <a:gd name="connsiteY4" fmla="*/ 3252075 h 8788390"/>
              <a:gd name="connsiteX5" fmla="*/ 5353130 w 9426350"/>
              <a:gd name="connsiteY5" fmla="*/ 3642618 h 8788390"/>
              <a:gd name="connsiteX6" fmla="*/ 6196301 w 9426350"/>
              <a:gd name="connsiteY6" fmla="*/ 4631541 h 8788390"/>
              <a:gd name="connsiteX7" fmla="*/ 7964127 w 9426350"/>
              <a:gd name="connsiteY7" fmla="*/ 5073778 h 8788390"/>
              <a:gd name="connsiteX8" fmla="*/ 8846193 w 9426350"/>
              <a:gd name="connsiteY8" fmla="*/ 6559364 h 8788390"/>
              <a:gd name="connsiteX9" fmla="*/ 9426345 w 9426350"/>
              <a:gd name="connsiteY9" fmla="*/ 8788390 h 8788390"/>
              <a:gd name="connsiteX0" fmla="*/ 23307 w 9426348"/>
              <a:gd name="connsiteY0" fmla="*/ 0 h 8788390"/>
              <a:gd name="connsiteX1" fmla="*/ 1441060 w 9426348"/>
              <a:gd name="connsiteY1" fmla="*/ 310229 h 8788390"/>
              <a:gd name="connsiteX2" fmla="*/ 2117582 w 9426348"/>
              <a:gd name="connsiteY2" fmla="*/ 1542903 h 8788390"/>
              <a:gd name="connsiteX3" fmla="*/ 3277898 w 9426348"/>
              <a:gd name="connsiteY3" fmla="*/ 2020711 h 8788390"/>
              <a:gd name="connsiteX4" fmla="*/ 4019532 w 9426348"/>
              <a:gd name="connsiteY4" fmla="*/ 3252075 h 8788390"/>
              <a:gd name="connsiteX5" fmla="*/ 5353130 w 9426348"/>
              <a:gd name="connsiteY5" fmla="*/ 3642618 h 8788390"/>
              <a:gd name="connsiteX6" fmla="*/ 6196301 w 9426348"/>
              <a:gd name="connsiteY6" fmla="*/ 4631541 h 8788390"/>
              <a:gd name="connsiteX7" fmla="*/ 7964127 w 9426348"/>
              <a:gd name="connsiteY7" fmla="*/ 5073778 h 8788390"/>
              <a:gd name="connsiteX8" fmla="*/ 8846193 w 9426348"/>
              <a:gd name="connsiteY8" fmla="*/ 6559364 h 8788390"/>
              <a:gd name="connsiteX9" fmla="*/ 9426345 w 9426348"/>
              <a:gd name="connsiteY9" fmla="*/ 8788390 h 8788390"/>
              <a:gd name="connsiteX0" fmla="*/ 23307 w 9426350"/>
              <a:gd name="connsiteY0" fmla="*/ 0 h 8788390"/>
              <a:gd name="connsiteX1" fmla="*/ 1441060 w 9426350"/>
              <a:gd name="connsiteY1" fmla="*/ 310229 h 8788390"/>
              <a:gd name="connsiteX2" fmla="*/ 2117582 w 9426350"/>
              <a:gd name="connsiteY2" fmla="*/ 1542903 h 8788390"/>
              <a:gd name="connsiteX3" fmla="*/ 3277898 w 9426350"/>
              <a:gd name="connsiteY3" fmla="*/ 2020711 h 8788390"/>
              <a:gd name="connsiteX4" fmla="*/ 4019532 w 9426350"/>
              <a:gd name="connsiteY4" fmla="*/ 3252075 h 8788390"/>
              <a:gd name="connsiteX5" fmla="*/ 5353130 w 9426350"/>
              <a:gd name="connsiteY5" fmla="*/ 3642618 h 8788390"/>
              <a:gd name="connsiteX6" fmla="*/ 6196301 w 9426350"/>
              <a:gd name="connsiteY6" fmla="*/ 4631541 h 8788390"/>
              <a:gd name="connsiteX7" fmla="*/ 7964127 w 9426350"/>
              <a:gd name="connsiteY7" fmla="*/ 5073778 h 8788390"/>
              <a:gd name="connsiteX8" fmla="*/ 8846193 w 9426350"/>
              <a:gd name="connsiteY8" fmla="*/ 6559364 h 8788390"/>
              <a:gd name="connsiteX9" fmla="*/ 9426345 w 9426350"/>
              <a:gd name="connsiteY9" fmla="*/ 8788390 h 8788390"/>
              <a:gd name="connsiteX0" fmla="*/ 23307 w 9426348"/>
              <a:gd name="connsiteY0" fmla="*/ 0 h 8788390"/>
              <a:gd name="connsiteX1" fmla="*/ 1441060 w 9426348"/>
              <a:gd name="connsiteY1" fmla="*/ 310229 h 8788390"/>
              <a:gd name="connsiteX2" fmla="*/ 2117582 w 9426348"/>
              <a:gd name="connsiteY2" fmla="*/ 1542903 h 8788390"/>
              <a:gd name="connsiteX3" fmla="*/ 3277898 w 9426348"/>
              <a:gd name="connsiteY3" fmla="*/ 2020711 h 8788390"/>
              <a:gd name="connsiteX4" fmla="*/ 4019532 w 9426348"/>
              <a:gd name="connsiteY4" fmla="*/ 3252075 h 8788390"/>
              <a:gd name="connsiteX5" fmla="*/ 5353130 w 9426348"/>
              <a:gd name="connsiteY5" fmla="*/ 3642618 h 8788390"/>
              <a:gd name="connsiteX6" fmla="*/ 6196301 w 9426348"/>
              <a:gd name="connsiteY6" fmla="*/ 4631541 h 8788390"/>
              <a:gd name="connsiteX7" fmla="*/ 7964127 w 9426348"/>
              <a:gd name="connsiteY7" fmla="*/ 5073778 h 8788390"/>
              <a:gd name="connsiteX8" fmla="*/ 8846193 w 9426348"/>
              <a:gd name="connsiteY8" fmla="*/ 6559364 h 8788390"/>
              <a:gd name="connsiteX9" fmla="*/ 9426345 w 9426348"/>
              <a:gd name="connsiteY9" fmla="*/ 8788390 h 8788390"/>
              <a:gd name="connsiteX0" fmla="*/ 12818 w 10821919"/>
              <a:gd name="connsiteY0" fmla="*/ 0 h 9226280"/>
              <a:gd name="connsiteX1" fmla="*/ 2836630 w 10821919"/>
              <a:gd name="connsiteY1" fmla="*/ 748119 h 9226280"/>
              <a:gd name="connsiteX2" fmla="*/ 3513152 w 10821919"/>
              <a:gd name="connsiteY2" fmla="*/ 1980793 h 9226280"/>
              <a:gd name="connsiteX3" fmla="*/ 4673468 w 10821919"/>
              <a:gd name="connsiteY3" fmla="*/ 2458601 h 9226280"/>
              <a:gd name="connsiteX4" fmla="*/ 5415102 w 10821919"/>
              <a:gd name="connsiteY4" fmla="*/ 3689965 h 9226280"/>
              <a:gd name="connsiteX5" fmla="*/ 6748700 w 10821919"/>
              <a:gd name="connsiteY5" fmla="*/ 4080508 h 9226280"/>
              <a:gd name="connsiteX6" fmla="*/ 7591871 w 10821919"/>
              <a:gd name="connsiteY6" fmla="*/ 5069431 h 9226280"/>
              <a:gd name="connsiteX7" fmla="*/ 9359697 w 10821919"/>
              <a:gd name="connsiteY7" fmla="*/ 5511668 h 9226280"/>
              <a:gd name="connsiteX8" fmla="*/ 10241763 w 10821919"/>
              <a:gd name="connsiteY8" fmla="*/ 6997254 h 9226280"/>
              <a:gd name="connsiteX9" fmla="*/ 10821915 w 10821919"/>
              <a:gd name="connsiteY9" fmla="*/ 9226280 h 9226280"/>
              <a:gd name="connsiteX0" fmla="*/ 12818 w 10968687"/>
              <a:gd name="connsiteY0" fmla="*/ 0 h 9234108"/>
              <a:gd name="connsiteX1" fmla="*/ 2836630 w 10968687"/>
              <a:gd name="connsiteY1" fmla="*/ 748119 h 9234108"/>
              <a:gd name="connsiteX2" fmla="*/ 3513152 w 10968687"/>
              <a:gd name="connsiteY2" fmla="*/ 1980793 h 9234108"/>
              <a:gd name="connsiteX3" fmla="*/ 4673468 w 10968687"/>
              <a:gd name="connsiteY3" fmla="*/ 2458601 h 9234108"/>
              <a:gd name="connsiteX4" fmla="*/ 5415102 w 10968687"/>
              <a:gd name="connsiteY4" fmla="*/ 3689965 h 9234108"/>
              <a:gd name="connsiteX5" fmla="*/ 6748700 w 10968687"/>
              <a:gd name="connsiteY5" fmla="*/ 4080508 h 9234108"/>
              <a:gd name="connsiteX6" fmla="*/ 7591871 w 10968687"/>
              <a:gd name="connsiteY6" fmla="*/ 5069431 h 9234108"/>
              <a:gd name="connsiteX7" fmla="*/ 9359697 w 10968687"/>
              <a:gd name="connsiteY7" fmla="*/ 5511668 h 9234108"/>
              <a:gd name="connsiteX8" fmla="*/ 10241763 w 10968687"/>
              <a:gd name="connsiteY8" fmla="*/ 6997254 h 9234108"/>
              <a:gd name="connsiteX9" fmla="*/ 10968683 w 10968687"/>
              <a:gd name="connsiteY9" fmla="*/ 9234108 h 9234108"/>
              <a:gd name="connsiteX0" fmla="*/ 12818 w 10906133"/>
              <a:gd name="connsiteY0" fmla="*/ 0 h 9279037"/>
              <a:gd name="connsiteX1" fmla="*/ 2836630 w 10906133"/>
              <a:gd name="connsiteY1" fmla="*/ 748119 h 9279037"/>
              <a:gd name="connsiteX2" fmla="*/ 3513152 w 10906133"/>
              <a:gd name="connsiteY2" fmla="*/ 1980793 h 9279037"/>
              <a:gd name="connsiteX3" fmla="*/ 4673468 w 10906133"/>
              <a:gd name="connsiteY3" fmla="*/ 2458601 h 9279037"/>
              <a:gd name="connsiteX4" fmla="*/ 5415102 w 10906133"/>
              <a:gd name="connsiteY4" fmla="*/ 3689965 h 9279037"/>
              <a:gd name="connsiteX5" fmla="*/ 6748700 w 10906133"/>
              <a:gd name="connsiteY5" fmla="*/ 4080508 h 9279037"/>
              <a:gd name="connsiteX6" fmla="*/ 7591871 w 10906133"/>
              <a:gd name="connsiteY6" fmla="*/ 5069431 h 9279037"/>
              <a:gd name="connsiteX7" fmla="*/ 9359697 w 10906133"/>
              <a:gd name="connsiteY7" fmla="*/ 5511668 h 9279037"/>
              <a:gd name="connsiteX8" fmla="*/ 10241763 w 10906133"/>
              <a:gd name="connsiteY8" fmla="*/ 6997254 h 9279037"/>
              <a:gd name="connsiteX9" fmla="*/ 10906131 w 10906133"/>
              <a:gd name="connsiteY9" fmla="*/ 9279037 h 9279037"/>
              <a:gd name="connsiteX0" fmla="*/ 12818 w 10241763"/>
              <a:gd name="connsiteY0" fmla="*/ 0 h 6997254"/>
              <a:gd name="connsiteX1" fmla="*/ 2836630 w 10241763"/>
              <a:gd name="connsiteY1" fmla="*/ 748119 h 6997254"/>
              <a:gd name="connsiteX2" fmla="*/ 3513152 w 10241763"/>
              <a:gd name="connsiteY2" fmla="*/ 1980793 h 6997254"/>
              <a:gd name="connsiteX3" fmla="*/ 4673468 w 10241763"/>
              <a:gd name="connsiteY3" fmla="*/ 2458601 h 6997254"/>
              <a:gd name="connsiteX4" fmla="*/ 5415102 w 10241763"/>
              <a:gd name="connsiteY4" fmla="*/ 3689965 h 6997254"/>
              <a:gd name="connsiteX5" fmla="*/ 6748700 w 10241763"/>
              <a:gd name="connsiteY5" fmla="*/ 4080508 h 6997254"/>
              <a:gd name="connsiteX6" fmla="*/ 7591871 w 10241763"/>
              <a:gd name="connsiteY6" fmla="*/ 5069431 h 6997254"/>
              <a:gd name="connsiteX7" fmla="*/ 9359697 w 10241763"/>
              <a:gd name="connsiteY7" fmla="*/ 5511668 h 6997254"/>
              <a:gd name="connsiteX8" fmla="*/ 10241763 w 10241763"/>
              <a:gd name="connsiteY8" fmla="*/ 6997254 h 6997254"/>
              <a:gd name="connsiteX0" fmla="*/ 12818 w 9359698"/>
              <a:gd name="connsiteY0" fmla="*/ 0 h 5511668"/>
              <a:gd name="connsiteX1" fmla="*/ 2836630 w 9359698"/>
              <a:gd name="connsiteY1" fmla="*/ 748119 h 5511668"/>
              <a:gd name="connsiteX2" fmla="*/ 3513152 w 9359698"/>
              <a:gd name="connsiteY2" fmla="*/ 1980793 h 5511668"/>
              <a:gd name="connsiteX3" fmla="*/ 4673468 w 9359698"/>
              <a:gd name="connsiteY3" fmla="*/ 2458601 h 5511668"/>
              <a:gd name="connsiteX4" fmla="*/ 5415102 w 9359698"/>
              <a:gd name="connsiteY4" fmla="*/ 3689965 h 5511668"/>
              <a:gd name="connsiteX5" fmla="*/ 6748700 w 9359698"/>
              <a:gd name="connsiteY5" fmla="*/ 4080508 h 5511668"/>
              <a:gd name="connsiteX6" fmla="*/ 7591871 w 9359698"/>
              <a:gd name="connsiteY6" fmla="*/ 5069431 h 5511668"/>
              <a:gd name="connsiteX7" fmla="*/ 9359697 w 9359698"/>
              <a:gd name="connsiteY7" fmla="*/ 5511668 h 5511668"/>
              <a:gd name="connsiteX0" fmla="*/ 12818 w 8183967"/>
              <a:gd name="connsiteY0" fmla="*/ 0 h 6430993"/>
              <a:gd name="connsiteX1" fmla="*/ 2836630 w 8183967"/>
              <a:gd name="connsiteY1" fmla="*/ 748119 h 6430993"/>
              <a:gd name="connsiteX2" fmla="*/ 3513152 w 8183967"/>
              <a:gd name="connsiteY2" fmla="*/ 1980793 h 6430993"/>
              <a:gd name="connsiteX3" fmla="*/ 4673468 w 8183967"/>
              <a:gd name="connsiteY3" fmla="*/ 2458601 h 6430993"/>
              <a:gd name="connsiteX4" fmla="*/ 5415102 w 8183967"/>
              <a:gd name="connsiteY4" fmla="*/ 3689965 h 6430993"/>
              <a:gd name="connsiteX5" fmla="*/ 6748700 w 8183967"/>
              <a:gd name="connsiteY5" fmla="*/ 4080508 h 6430993"/>
              <a:gd name="connsiteX6" fmla="*/ 7591871 w 8183967"/>
              <a:gd name="connsiteY6" fmla="*/ 5069431 h 6430993"/>
              <a:gd name="connsiteX7" fmla="*/ 8183967 w 8183967"/>
              <a:gd name="connsiteY7" fmla="*/ 6430993 h 6430993"/>
              <a:gd name="connsiteX0" fmla="*/ 12818 w 8214368"/>
              <a:gd name="connsiteY0" fmla="*/ 0 h 6536556"/>
              <a:gd name="connsiteX1" fmla="*/ 2836630 w 8214368"/>
              <a:gd name="connsiteY1" fmla="*/ 748119 h 6536556"/>
              <a:gd name="connsiteX2" fmla="*/ 3513152 w 8214368"/>
              <a:gd name="connsiteY2" fmla="*/ 1980793 h 6536556"/>
              <a:gd name="connsiteX3" fmla="*/ 4673468 w 8214368"/>
              <a:gd name="connsiteY3" fmla="*/ 2458601 h 6536556"/>
              <a:gd name="connsiteX4" fmla="*/ 5415102 w 8214368"/>
              <a:gd name="connsiteY4" fmla="*/ 3689965 h 6536556"/>
              <a:gd name="connsiteX5" fmla="*/ 6748700 w 8214368"/>
              <a:gd name="connsiteY5" fmla="*/ 4080508 h 6536556"/>
              <a:gd name="connsiteX6" fmla="*/ 7591871 w 8214368"/>
              <a:gd name="connsiteY6" fmla="*/ 5069431 h 6536556"/>
              <a:gd name="connsiteX7" fmla="*/ 8214368 w 8214368"/>
              <a:gd name="connsiteY7" fmla="*/ 6536556 h 6536556"/>
              <a:gd name="connsiteX0" fmla="*/ 12818 w 8255601"/>
              <a:gd name="connsiteY0" fmla="*/ 0 h 6646584"/>
              <a:gd name="connsiteX1" fmla="*/ 2836630 w 8255601"/>
              <a:gd name="connsiteY1" fmla="*/ 748119 h 6646584"/>
              <a:gd name="connsiteX2" fmla="*/ 3513152 w 8255601"/>
              <a:gd name="connsiteY2" fmla="*/ 1980793 h 6646584"/>
              <a:gd name="connsiteX3" fmla="*/ 4673468 w 8255601"/>
              <a:gd name="connsiteY3" fmla="*/ 2458601 h 6646584"/>
              <a:gd name="connsiteX4" fmla="*/ 5415102 w 8255601"/>
              <a:gd name="connsiteY4" fmla="*/ 3689965 h 6646584"/>
              <a:gd name="connsiteX5" fmla="*/ 6748700 w 8255601"/>
              <a:gd name="connsiteY5" fmla="*/ 4080508 h 6646584"/>
              <a:gd name="connsiteX6" fmla="*/ 7591871 w 8255601"/>
              <a:gd name="connsiteY6" fmla="*/ 5069431 h 6646584"/>
              <a:gd name="connsiteX7" fmla="*/ 8214368 w 8255601"/>
              <a:gd name="connsiteY7" fmla="*/ 6536556 h 6646584"/>
              <a:gd name="connsiteX8" fmla="*/ 8196281 w 8255601"/>
              <a:gd name="connsiteY8" fmla="*/ 6541234 h 6646584"/>
              <a:gd name="connsiteX0" fmla="*/ 12818 w 8731042"/>
              <a:gd name="connsiteY0" fmla="*/ 0 h 6996383"/>
              <a:gd name="connsiteX1" fmla="*/ 2836630 w 8731042"/>
              <a:gd name="connsiteY1" fmla="*/ 748119 h 6996383"/>
              <a:gd name="connsiteX2" fmla="*/ 3513152 w 8731042"/>
              <a:gd name="connsiteY2" fmla="*/ 1980793 h 6996383"/>
              <a:gd name="connsiteX3" fmla="*/ 4673468 w 8731042"/>
              <a:gd name="connsiteY3" fmla="*/ 2458601 h 6996383"/>
              <a:gd name="connsiteX4" fmla="*/ 5415102 w 8731042"/>
              <a:gd name="connsiteY4" fmla="*/ 3689965 h 6996383"/>
              <a:gd name="connsiteX5" fmla="*/ 6748700 w 8731042"/>
              <a:gd name="connsiteY5" fmla="*/ 4080508 h 6996383"/>
              <a:gd name="connsiteX6" fmla="*/ 7591871 w 8731042"/>
              <a:gd name="connsiteY6" fmla="*/ 5069431 h 6996383"/>
              <a:gd name="connsiteX7" fmla="*/ 8214368 w 8731042"/>
              <a:gd name="connsiteY7" fmla="*/ 6536556 h 6996383"/>
              <a:gd name="connsiteX8" fmla="*/ 8731016 w 8731042"/>
              <a:gd name="connsiteY8" fmla="*/ 6996383 h 6996383"/>
              <a:gd name="connsiteX0" fmla="*/ 12818 w 9324941"/>
              <a:gd name="connsiteY0" fmla="*/ 0 h 6653451"/>
              <a:gd name="connsiteX1" fmla="*/ 2836630 w 9324941"/>
              <a:gd name="connsiteY1" fmla="*/ 748119 h 6653451"/>
              <a:gd name="connsiteX2" fmla="*/ 3513152 w 9324941"/>
              <a:gd name="connsiteY2" fmla="*/ 1980793 h 6653451"/>
              <a:gd name="connsiteX3" fmla="*/ 4673468 w 9324941"/>
              <a:gd name="connsiteY3" fmla="*/ 2458601 h 6653451"/>
              <a:gd name="connsiteX4" fmla="*/ 5415102 w 9324941"/>
              <a:gd name="connsiteY4" fmla="*/ 3689965 h 6653451"/>
              <a:gd name="connsiteX5" fmla="*/ 6748700 w 9324941"/>
              <a:gd name="connsiteY5" fmla="*/ 4080508 h 6653451"/>
              <a:gd name="connsiteX6" fmla="*/ 7591871 w 9324941"/>
              <a:gd name="connsiteY6" fmla="*/ 5069431 h 6653451"/>
              <a:gd name="connsiteX7" fmla="*/ 8214368 w 9324941"/>
              <a:gd name="connsiteY7" fmla="*/ 6536556 h 6653451"/>
              <a:gd name="connsiteX8" fmla="*/ 9324931 w 9324941"/>
              <a:gd name="connsiteY8" fmla="*/ 6565743 h 6653451"/>
              <a:gd name="connsiteX0" fmla="*/ 12818 w 9324941"/>
              <a:gd name="connsiteY0" fmla="*/ 0 h 6653452"/>
              <a:gd name="connsiteX1" fmla="*/ 2836630 w 9324941"/>
              <a:gd name="connsiteY1" fmla="*/ 748119 h 6653452"/>
              <a:gd name="connsiteX2" fmla="*/ 3513152 w 9324941"/>
              <a:gd name="connsiteY2" fmla="*/ 1980793 h 6653452"/>
              <a:gd name="connsiteX3" fmla="*/ 4673468 w 9324941"/>
              <a:gd name="connsiteY3" fmla="*/ 2458601 h 6653452"/>
              <a:gd name="connsiteX4" fmla="*/ 5415102 w 9324941"/>
              <a:gd name="connsiteY4" fmla="*/ 3689965 h 6653452"/>
              <a:gd name="connsiteX5" fmla="*/ 6748700 w 9324941"/>
              <a:gd name="connsiteY5" fmla="*/ 4080508 h 6653452"/>
              <a:gd name="connsiteX6" fmla="*/ 7339050 w 9324941"/>
              <a:gd name="connsiteY6" fmla="*/ 5052844 h 6653452"/>
              <a:gd name="connsiteX7" fmla="*/ 8214368 w 9324941"/>
              <a:gd name="connsiteY7" fmla="*/ 6536556 h 6653452"/>
              <a:gd name="connsiteX8" fmla="*/ 9324931 w 9324941"/>
              <a:gd name="connsiteY8" fmla="*/ 6565743 h 6653452"/>
              <a:gd name="connsiteX0" fmla="*/ 12818 w 9324941"/>
              <a:gd name="connsiteY0" fmla="*/ 0 h 6653452"/>
              <a:gd name="connsiteX1" fmla="*/ 2836630 w 9324941"/>
              <a:gd name="connsiteY1" fmla="*/ 748119 h 6653452"/>
              <a:gd name="connsiteX2" fmla="*/ 3513152 w 9324941"/>
              <a:gd name="connsiteY2" fmla="*/ 1980793 h 6653452"/>
              <a:gd name="connsiteX3" fmla="*/ 4673468 w 9324941"/>
              <a:gd name="connsiteY3" fmla="*/ 2458601 h 6653452"/>
              <a:gd name="connsiteX4" fmla="*/ 5415102 w 9324941"/>
              <a:gd name="connsiteY4" fmla="*/ 3689965 h 6653452"/>
              <a:gd name="connsiteX5" fmla="*/ 6748700 w 9324941"/>
              <a:gd name="connsiteY5" fmla="*/ 4080508 h 6653452"/>
              <a:gd name="connsiteX6" fmla="*/ 7339050 w 9324941"/>
              <a:gd name="connsiteY6" fmla="*/ 5052844 h 6653452"/>
              <a:gd name="connsiteX7" fmla="*/ 7767800 w 9324941"/>
              <a:gd name="connsiteY7" fmla="*/ 5748896 h 6653452"/>
              <a:gd name="connsiteX8" fmla="*/ 8214368 w 9324941"/>
              <a:gd name="connsiteY8" fmla="*/ 6536556 h 6653452"/>
              <a:gd name="connsiteX9" fmla="*/ 9324931 w 9324941"/>
              <a:gd name="connsiteY9" fmla="*/ 6565743 h 6653452"/>
              <a:gd name="connsiteX0" fmla="*/ 12818 w 9324941"/>
              <a:gd name="connsiteY0" fmla="*/ 0 h 6653452"/>
              <a:gd name="connsiteX1" fmla="*/ 2836630 w 9324941"/>
              <a:gd name="connsiteY1" fmla="*/ 748119 h 6653452"/>
              <a:gd name="connsiteX2" fmla="*/ 3513152 w 9324941"/>
              <a:gd name="connsiteY2" fmla="*/ 1980793 h 6653452"/>
              <a:gd name="connsiteX3" fmla="*/ 4673468 w 9324941"/>
              <a:gd name="connsiteY3" fmla="*/ 2458601 h 6653452"/>
              <a:gd name="connsiteX4" fmla="*/ 5415102 w 9324941"/>
              <a:gd name="connsiteY4" fmla="*/ 3689965 h 6653452"/>
              <a:gd name="connsiteX5" fmla="*/ 6748700 w 9324941"/>
              <a:gd name="connsiteY5" fmla="*/ 4080508 h 6653452"/>
              <a:gd name="connsiteX6" fmla="*/ 7339050 w 9324941"/>
              <a:gd name="connsiteY6" fmla="*/ 5052844 h 6653452"/>
              <a:gd name="connsiteX7" fmla="*/ 8114230 w 9324941"/>
              <a:gd name="connsiteY7" fmla="*/ 5502085 h 6653452"/>
              <a:gd name="connsiteX8" fmla="*/ 8214368 w 9324941"/>
              <a:gd name="connsiteY8" fmla="*/ 6536556 h 6653452"/>
              <a:gd name="connsiteX9" fmla="*/ 9324931 w 9324941"/>
              <a:gd name="connsiteY9" fmla="*/ 6565743 h 6653452"/>
              <a:gd name="connsiteX0" fmla="*/ 12818 w 9324941"/>
              <a:gd name="connsiteY0" fmla="*/ 0 h 6653452"/>
              <a:gd name="connsiteX1" fmla="*/ 2836630 w 9324941"/>
              <a:gd name="connsiteY1" fmla="*/ 748119 h 6653452"/>
              <a:gd name="connsiteX2" fmla="*/ 3513152 w 9324941"/>
              <a:gd name="connsiteY2" fmla="*/ 1980793 h 6653452"/>
              <a:gd name="connsiteX3" fmla="*/ 4673468 w 9324941"/>
              <a:gd name="connsiteY3" fmla="*/ 2458601 h 6653452"/>
              <a:gd name="connsiteX4" fmla="*/ 5415102 w 9324941"/>
              <a:gd name="connsiteY4" fmla="*/ 3689965 h 6653452"/>
              <a:gd name="connsiteX5" fmla="*/ 6748700 w 9324941"/>
              <a:gd name="connsiteY5" fmla="*/ 4080508 h 6653452"/>
              <a:gd name="connsiteX6" fmla="*/ 7092770 w 9324941"/>
              <a:gd name="connsiteY6" fmla="*/ 4946627 h 6653452"/>
              <a:gd name="connsiteX7" fmla="*/ 8114230 w 9324941"/>
              <a:gd name="connsiteY7" fmla="*/ 5502085 h 6653452"/>
              <a:gd name="connsiteX8" fmla="*/ 8214368 w 9324941"/>
              <a:gd name="connsiteY8" fmla="*/ 6536556 h 6653452"/>
              <a:gd name="connsiteX9" fmla="*/ 9324931 w 9324941"/>
              <a:gd name="connsiteY9" fmla="*/ 6565743 h 6653452"/>
              <a:gd name="connsiteX0" fmla="*/ 12818 w 9412714"/>
              <a:gd name="connsiteY0" fmla="*/ 0 h 6653452"/>
              <a:gd name="connsiteX1" fmla="*/ 2836630 w 9412714"/>
              <a:gd name="connsiteY1" fmla="*/ 748119 h 6653452"/>
              <a:gd name="connsiteX2" fmla="*/ 3513152 w 9412714"/>
              <a:gd name="connsiteY2" fmla="*/ 1980793 h 6653452"/>
              <a:gd name="connsiteX3" fmla="*/ 4673468 w 9412714"/>
              <a:gd name="connsiteY3" fmla="*/ 2458601 h 6653452"/>
              <a:gd name="connsiteX4" fmla="*/ 5415102 w 9412714"/>
              <a:gd name="connsiteY4" fmla="*/ 3689965 h 6653452"/>
              <a:gd name="connsiteX5" fmla="*/ 6748700 w 9412714"/>
              <a:gd name="connsiteY5" fmla="*/ 4080508 h 6653452"/>
              <a:gd name="connsiteX6" fmla="*/ 7092770 w 9412714"/>
              <a:gd name="connsiteY6" fmla="*/ 4946627 h 6653452"/>
              <a:gd name="connsiteX7" fmla="*/ 8114230 w 9412714"/>
              <a:gd name="connsiteY7" fmla="*/ 5502085 h 6653452"/>
              <a:gd name="connsiteX8" fmla="*/ 8214368 w 9412714"/>
              <a:gd name="connsiteY8" fmla="*/ 6536556 h 6653452"/>
              <a:gd name="connsiteX9" fmla="*/ 9324931 w 9412714"/>
              <a:gd name="connsiteY9" fmla="*/ 6565743 h 6653452"/>
              <a:gd name="connsiteX10" fmla="*/ 9343456 w 9412714"/>
              <a:gd name="connsiteY10" fmla="*/ 6560526 h 6653452"/>
              <a:gd name="connsiteX0" fmla="*/ 12818 w 9536771"/>
              <a:gd name="connsiteY0" fmla="*/ 0 h 7542002"/>
              <a:gd name="connsiteX1" fmla="*/ 2836630 w 9536771"/>
              <a:gd name="connsiteY1" fmla="*/ 748119 h 7542002"/>
              <a:gd name="connsiteX2" fmla="*/ 3513152 w 9536771"/>
              <a:gd name="connsiteY2" fmla="*/ 1980793 h 7542002"/>
              <a:gd name="connsiteX3" fmla="*/ 4673468 w 9536771"/>
              <a:gd name="connsiteY3" fmla="*/ 2458601 h 7542002"/>
              <a:gd name="connsiteX4" fmla="*/ 5415102 w 9536771"/>
              <a:gd name="connsiteY4" fmla="*/ 3689965 h 7542002"/>
              <a:gd name="connsiteX5" fmla="*/ 6748700 w 9536771"/>
              <a:gd name="connsiteY5" fmla="*/ 4080508 h 7542002"/>
              <a:gd name="connsiteX6" fmla="*/ 7092770 w 9536771"/>
              <a:gd name="connsiteY6" fmla="*/ 4946627 h 7542002"/>
              <a:gd name="connsiteX7" fmla="*/ 8114230 w 9536771"/>
              <a:gd name="connsiteY7" fmla="*/ 5502085 h 7542002"/>
              <a:gd name="connsiteX8" fmla="*/ 8214368 w 9536771"/>
              <a:gd name="connsiteY8" fmla="*/ 6536556 h 7542002"/>
              <a:gd name="connsiteX9" fmla="*/ 9324931 w 9536771"/>
              <a:gd name="connsiteY9" fmla="*/ 6565743 h 7542002"/>
              <a:gd name="connsiteX10" fmla="*/ 9536770 w 9536771"/>
              <a:gd name="connsiteY10" fmla="*/ 7542002 h 7542002"/>
              <a:gd name="connsiteX0" fmla="*/ 12818 w 9537058"/>
              <a:gd name="connsiteY0" fmla="*/ 0 h 7542003"/>
              <a:gd name="connsiteX1" fmla="*/ 2836630 w 9537058"/>
              <a:gd name="connsiteY1" fmla="*/ 748119 h 7542003"/>
              <a:gd name="connsiteX2" fmla="*/ 3513152 w 9537058"/>
              <a:gd name="connsiteY2" fmla="*/ 1980793 h 7542003"/>
              <a:gd name="connsiteX3" fmla="*/ 4673468 w 9537058"/>
              <a:gd name="connsiteY3" fmla="*/ 2458601 h 7542003"/>
              <a:gd name="connsiteX4" fmla="*/ 5415102 w 9537058"/>
              <a:gd name="connsiteY4" fmla="*/ 3689965 h 7542003"/>
              <a:gd name="connsiteX5" fmla="*/ 6748700 w 9537058"/>
              <a:gd name="connsiteY5" fmla="*/ 4080508 h 7542003"/>
              <a:gd name="connsiteX6" fmla="*/ 7092770 w 9537058"/>
              <a:gd name="connsiteY6" fmla="*/ 4946627 h 7542003"/>
              <a:gd name="connsiteX7" fmla="*/ 8114230 w 9537058"/>
              <a:gd name="connsiteY7" fmla="*/ 5502085 h 7542003"/>
              <a:gd name="connsiteX8" fmla="*/ 8214368 w 9537058"/>
              <a:gd name="connsiteY8" fmla="*/ 6536556 h 7542003"/>
              <a:gd name="connsiteX9" fmla="*/ 9379527 w 9537058"/>
              <a:gd name="connsiteY9" fmla="*/ 6787400 h 7542003"/>
              <a:gd name="connsiteX10" fmla="*/ 9536770 w 9537058"/>
              <a:gd name="connsiteY10" fmla="*/ 7542002 h 7542003"/>
              <a:gd name="connsiteX0" fmla="*/ 12818 w 9536771"/>
              <a:gd name="connsiteY0" fmla="*/ 0 h 7542003"/>
              <a:gd name="connsiteX1" fmla="*/ 2836630 w 9536771"/>
              <a:gd name="connsiteY1" fmla="*/ 748119 h 7542003"/>
              <a:gd name="connsiteX2" fmla="*/ 3513152 w 9536771"/>
              <a:gd name="connsiteY2" fmla="*/ 1980793 h 7542003"/>
              <a:gd name="connsiteX3" fmla="*/ 4673468 w 9536771"/>
              <a:gd name="connsiteY3" fmla="*/ 2458601 h 7542003"/>
              <a:gd name="connsiteX4" fmla="*/ 5415102 w 9536771"/>
              <a:gd name="connsiteY4" fmla="*/ 3689965 h 7542003"/>
              <a:gd name="connsiteX5" fmla="*/ 6748700 w 9536771"/>
              <a:gd name="connsiteY5" fmla="*/ 4080508 h 7542003"/>
              <a:gd name="connsiteX6" fmla="*/ 7092770 w 9536771"/>
              <a:gd name="connsiteY6" fmla="*/ 4946627 h 7542003"/>
              <a:gd name="connsiteX7" fmla="*/ 8114230 w 9536771"/>
              <a:gd name="connsiteY7" fmla="*/ 5502085 h 7542003"/>
              <a:gd name="connsiteX8" fmla="*/ 8214368 w 9536771"/>
              <a:gd name="connsiteY8" fmla="*/ 6536556 h 7542003"/>
              <a:gd name="connsiteX9" fmla="*/ 9373534 w 9536771"/>
              <a:gd name="connsiteY9" fmla="*/ 6745193 h 7542003"/>
              <a:gd name="connsiteX10" fmla="*/ 9536770 w 9536771"/>
              <a:gd name="connsiteY10" fmla="*/ 7542002 h 7542003"/>
              <a:gd name="connsiteX0" fmla="*/ 12818 w 9536769"/>
              <a:gd name="connsiteY0" fmla="*/ 0 h 7542003"/>
              <a:gd name="connsiteX1" fmla="*/ 2836630 w 9536769"/>
              <a:gd name="connsiteY1" fmla="*/ 748119 h 7542003"/>
              <a:gd name="connsiteX2" fmla="*/ 3513152 w 9536769"/>
              <a:gd name="connsiteY2" fmla="*/ 1980793 h 7542003"/>
              <a:gd name="connsiteX3" fmla="*/ 4673468 w 9536769"/>
              <a:gd name="connsiteY3" fmla="*/ 2458601 h 7542003"/>
              <a:gd name="connsiteX4" fmla="*/ 5415102 w 9536769"/>
              <a:gd name="connsiteY4" fmla="*/ 3689965 h 7542003"/>
              <a:gd name="connsiteX5" fmla="*/ 6748700 w 9536769"/>
              <a:gd name="connsiteY5" fmla="*/ 4080508 h 7542003"/>
              <a:gd name="connsiteX6" fmla="*/ 7092770 w 9536769"/>
              <a:gd name="connsiteY6" fmla="*/ 4946627 h 7542003"/>
              <a:gd name="connsiteX7" fmla="*/ 8114230 w 9536769"/>
              <a:gd name="connsiteY7" fmla="*/ 5502085 h 7542003"/>
              <a:gd name="connsiteX8" fmla="*/ 8214368 w 9536769"/>
              <a:gd name="connsiteY8" fmla="*/ 6536556 h 7542003"/>
              <a:gd name="connsiteX9" fmla="*/ 9373534 w 9536769"/>
              <a:gd name="connsiteY9" fmla="*/ 6745193 h 7542003"/>
              <a:gd name="connsiteX10" fmla="*/ 9536770 w 9536769"/>
              <a:gd name="connsiteY10" fmla="*/ 7542002 h 7542003"/>
              <a:gd name="connsiteX0" fmla="*/ 12818 w 9579485"/>
              <a:gd name="connsiteY0" fmla="*/ 0 h 7542003"/>
              <a:gd name="connsiteX1" fmla="*/ 2836630 w 9579485"/>
              <a:gd name="connsiteY1" fmla="*/ 748119 h 7542003"/>
              <a:gd name="connsiteX2" fmla="*/ 3513152 w 9579485"/>
              <a:gd name="connsiteY2" fmla="*/ 1980793 h 7542003"/>
              <a:gd name="connsiteX3" fmla="*/ 4673468 w 9579485"/>
              <a:gd name="connsiteY3" fmla="*/ 2458601 h 7542003"/>
              <a:gd name="connsiteX4" fmla="*/ 5415102 w 9579485"/>
              <a:gd name="connsiteY4" fmla="*/ 3689965 h 7542003"/>
              <a:gd name="connsiteX5" fmla="*/ 6748700 w 9579485"/>
              <a:gd name="connsiteY5" fmla="*/ 4080508 h 7542003"/>
              <a:gd name="connsiteX6" fmla="*/ 7092770 w 9579485"/>
              <a:gd name="connsiteY6" fmla="*/ 4946627 h 7542003"/>
              <a:gd name="connsiteX7" fmla="*/ 8114230 w 9579485"/>
              <a:gd name="connsiteY7" fmla="*/ 5502085 h 7542003"/>
              <a:gd name="connsiteX8" fmla="*/ 8214368 w 9579485"/>
              <a:gd name="connsiteY8" fmla="*/ 6536556 h 7542003"/>
              <a:gd name="connsiteX9" fmla="*/ 9373534 w 9579485"/>
              <a:gd name="connsiteY9" fmla="*/ 6745193 h 7542003"/>
              <a:gd name="connsiteX10" fmla="*/ 9536770 w 9579485"/>
              <a:gd name="connsiteY10" fmla="*/ 7542002 h 7542003"/>
              <a:gd name="connsiteX0" fmla="*/ 12818 w 9652281"/>
              <a:gd name="connsiteY0" fmla="*/ 0 h 7542003"/>
              <a:gd name="connsiteX1" fmla="*/ 2836630 w 9652281"/>
              <a:gd name="connsiteY1" fmla="*/ 748119 h 7542003"/>
              <a:gd name="connsiteX2" fmla="*/ 3513152 w 9652281"/>
              <a:gd name="connsiteY2" fmla="*/ 1980793 h 7542003"/>
              <a:gd name="connsiteX3" fmla="*/ 4673468 w 9652281"/>
              <a:gd name="connsiteY3" fmla="*/ 2458601 h 7542003"/>
              <a:gd name="connsiteX4" fmla="*/ 5415102 w 9652281"/>
              <a:gd name="connsiteY4" fmla="*/ 3689965 h 7542003"/>
              <a:gd name="connsiteX5" fmla="*/ 6748700 w 9652281"/>
              <a:gd name="connsiteY5" fmla="*/ 4080508 h 7542003"/>
              <a:gd name="connsiteX6" fmla="*/ 7092770 w 9652281"/>
              <a:gd name="connsiteY6" fmla="*/ 4946627 h 7542003"/>
              <a:gd name="connsiteX7" fmla="*/ 8114230 w 9652281"/>
              <a:gd name="connsiteY7" fmla="*/ 5502085 h 7542003"/>
              <a:gd name="connsiteX8" fmla="*/ 8214368 w 9652281"/>
              <a:gd name="connsiteY8" fmla="*/ 6536556 h 7542003"/>
              <a:gd name="connsiteX9" fmla="*/ 9373534 w 9652281"/>
              <a:gd name="connsiteY9" fmla="*/ 6745193 h 7542003"/>
              <a:gd name="connsiteX10" fmla="*/ 9536770 w 9652281"/>
              <a:gd name="connsiteY10" fmla="*/ 7542002 h 7542003"/>
              <a:gd name="connsiteX0" fmla="*/ 12818 w 9570087"/>
              <a:gd name="connsiteY0" fmla="*/ 0 h 7542003"/>
              <a:gd name="connsiteX1" fmla="*/ 2836630 w 9570087"/>
              <a:gd name="connsiteY1" fmla="*/ 748119 h 7542003"/>
              <a:gd name="connsiteX2" fmla="*/ 3513152 w 9570087"/>
              <a:gd name="connsiteY2" fmla="*/ 1980793 h 7542003"/>
              <a:gd name="connsiteX3" fmla="*/ 4673468 w 9570087"/>
              <a:gd name="connsiteY3" fmla="*/ 2458601 h 7542003"/>
              <a:gd name="connsiteX4" fmla="*/ 5415102 w 9570087"/>
              <a:gd name="connsiteY4" fmla="*/ 3689965 h 7542003"/>
              <a:gd name="connsiteX5" fmla="*/ 6748700 w 9570087"/>
              <a:gd name="connsiteY5" fmla="*/ 4080508 h 7542003"/>
              <a:gd name="connsiteX6" fmla="*/ 7092770 w 9570087"/>
              <a:gd name="connsiteY6" fmla="*/ 4946627 h 7542003"/>
              <a:gd name="connsiteX7" fmla="*/ 8114230 w 9570087"/>
              <a:gd name="connsiteY7" fmla="*/ 5502085 h 7542003"/>
              <a:gd name="connsiteX8" fmla="*/ 8214368 w 9570087"/>
              <a:gd name="connsiteY8" fmla="*/ 6536556 h 7542003"/>
              <a:gd name="connsiteX9" fmla="*/ 9373534 w 9570087"/>
              <a:gd name="connsiteY9" fmla="*/ 6745193 h 7542003"/>
              <a:gd name="connsiteX10" fmla="*/ 9536770 w 9570087"/>
              <a:gd name="connsiteY10" fmla="*/ 7542002 h 7542003"/>
              <a:gd name="connsiteX0" fmla="*/ 12818 w 9621468"/>
              <a:gd name="connsiteY0" fmla="*/ 0 h 7542003"/>
              <a:gd name="connsiteX1" fmla="*/ 2836630 w 9621468"/>
              <a:gd name="connsiteY1" fmla="*/ 748119 h 7542003"/>
              <a:gd name="connsiteX2" fmla="*/ 3513152 w 9621468"/>
              <a:gd name="connsiteY2" fmla="*/ 1980793 h 7542003"/>
              <a:gd name="connsiteX3" fmla="*/ 4673468 w 9621468"/>
              <a:gd name="connsiteY3" fmla="*/ 2458601 h 7542003"/>
              <a:gd name="connsiteX4" fmla="*/ 5415102 w 9621468"/>
              <a:gd name="connsiteY4" fmla="*/ 3689965 h 7542003"/>
              <a:gd name="connsiteX5" fmla="*/ 6748700 w 9621468"/>
              <a:gd name="connsiteY5" fmla="*/ 4080508 h 7542003"/>
              <a:gd name="connsiteX6" fmla="*/ 7092770 w 9621468"/>
              <a:gd name="connsiteY6" fmla="*/ 4946627 h 7542003"/>
              <a:gd name="connsiteX7" fmla="*/ 8114230 w 9621468"/>
              <a:gd name="connsiteY7" fmla="*/ 5502085 h 7542003"/>
              <a:gd name="connsiteX8" fmla="*/ 8214368 w 9621468"/>
              <a:gd name="connsiteY8" fmla="*/ 6536556 h 7542003"/>
              <a:gd name="connsiteX9" fmla="*/ 9373534 w 9621468"/>
              <a:gd name="connsiteY9" fmla="*/ 6745193 h 7542003"/>
              <a:gd name="connsiteX10" fmla="*/ 9536770 w 9621468"/>
              <a:gd name="connsiteY10" fmla="*/ 7542002 h 7542003"/>
              <a:gd name="connsiteX0" fmla="*/ 12818 w 9601169"/>
              <a:gd name="connsiteY0" fmla="*/ 0 h 7542003"/>
              <a:gd name="connsiteX1" fmla="*/ 2836630 w 9601169"/>
              <a:gd name="connsiteY1" fmla="*/ 748119 h 7542003"/>
              <a:gd name="connsiteX2" fmla="*/ 3513152 w 9601169"/>
              <a:gd name="connsiteY2" fmla="*/ 1980793 h 7542003"/>
              <a:gd name="connsiteX3" fmla="*/ 4673468 w 9601169"/>
              <a:gd name="connsiteY3" fmla="*/ 2458601 h 7542003"/>
              <a:gd name="connsiteX4" fmla="*/ 5415102 w 9601169"/>
              <a:gd name="connsiteY4" fmla="*/ 3689965 h 7542003"/>
              <a:gd name="connsiteX5" fmla="*/ 6748700 w 9601169"/>
              <a:gd name="connsiteY5" fmla="*/ 4080508 h 7542003"/>
              <a:gd name="connsiteX6" fmla="*/ 7092770 w 9601169"/>
              <a:gd name="connsiteY6" fmla="*/ 4946627 h 7542003"/>
              <a:gd name="connsiteX7" fmla="*/ 8114230 w 9601169"/>
              <a:gd name="connsiteY7" fmla="*/ 5502085 h 7542003"/>
              <a:gd name="connsiteX8" fmla="*/ 8214368 w 9601169"/>
              <a:gd name="connsiteY8" fmla="*/ 6536556 h 7542003"/>
              <a:gd name="connsiteX9" fmla="*/ 9373534 w 9601169"/>
              <a:gd name="connsiteY9" fmla="*/ 6745193 h 7542003"/>
              <a:gd name="connsiteX10" fmla="*/ 9536770 w 9601169"/>
              <a:gd name="connsiteY10" fmla="*/ 7542002 h 7542003"/>
              <a:gd name="connsiteX0" fmla="*/ 12818 w 9601171"/>
              <a:gd name="connsiteY0" fmla="*/ 0 h 7542003"/>
              <a:gd name="connsiteX1" fmla="*/ 2836630 w 9601171"/>
              <a:gd name="connsiteY1" fmla="*/ 748119 h 7542003"/>
              <a:gd name="connsiteX2" fmla="*/ 3513152 w 9601171"/>
              <a:gd name="connsiteY2" fmla="*/ 1980793 h 7542003"/>
              <a:gd name="connsiteX3" fmla="*/ 4673468 w 9601171"/>
              <a:gd name="connsiteY3" fmla="*/ 2458601 h 7542003"/>
              <a:gd name="connsiteX4" fmla="*/ 5415102 w 9601171"/>
              <a:gd name="connsiteY4" fmla="*/ 3689965 h 7542003"/>
              <a:gd name="connsiteX5" fmla="*/ 6748700 w 9601171"/>
              <a:gd name="connsiteY5" fmla="*/ 4080508 h 7542003"/>
              <a:gd name="connsiteX6" fmla="*/ 7092770 w 9601171"/>
              <a:gd name="connsiteY6" fmla="*/ 4946627 h 7542003"/>
              <a:gd name="connsiteX7" fmla="*/ 8114230 w 9601171"/>
              <a:gd name="connsiteY7" fmla="*/ 5502085 h 7542003"/>
              <a:gd name="connsiteX8" fmla="*/ 8214368 w 9601171"/>
              <a:gd name="connsiteY8" fmla="*/ 6536556 h 7542003"/>
              <a:gd name="connsiteX9" fmla="*/ 9373534 w 9601171"/>
              <a:gd name="connsiteY9" fmla="*/ 6745193 h 7542003"/>
              <a:gd name="connsiteX10" fmla="*/ 9536770 w 9601171"/>
              <a:gd name="connsiteY10" fmla="*/ 7542002 h 7542003"/>
              <a:gd name="connsiteX0" fmla="*/ 12818 w 9601169"/>
              <a:gd name="connsiteY0" fmla="*/ 0 h 7542003"/>
              <a:gd name="connsiteX1" fmla="*/ 2836630 w 9601169"/>
              <a:gd name="connsiteY1" fmla="*/ 748119 h 7542003"/>
              <a:gd name="connsiteX2" fmla="*/ 3513152 w 9601169"/>
              <a:gd name="connsiteY2" fmla="*/ 1980793 h 7542003"/>
              <a:gd name="connsiteX3" fmla="*/ 4673468 w 9601169"/>
              <a:gd name="connsiteY3" fmla="*/ 2458601 h 7542003"/>
              <a:gd name="connsiteX4" fmla="*/ 5415102 w 9601169"/>
              <a:gd name="connsiteY4" fmla="*/ 3689965 h 7542003"/>
              <a:gd name="connsiteX5" fmla="*/ 6748700 w 9601169"/>
              <a:gd name="connsiteY5" fmla="*/ 4080508 h 7542003"/>
              <a:gd name="connsiteX6" fmla="*/ 7092770 w 9601169"/>
              <a:gd name="connsiteY6" fmla="*/ 4946627 h 7542003"/>
              <a:gd name="connsiteX7" fmla="*/ 8114230 w 9601169"/>
              <a:gd name="connsiteY7" fmla="*/ 5502085 h 7542003"/>
              <a:gd name="connsiteX8" fmla="*/ 8214368 w 9601169"/>
              <a:gd name="connsiteY8" fmla="*/ 6536556 h 7542003"/>
              <a:gd name="connsiteX9" fmla="*/ 9373534 w 9601169"/>
              <a:gd name="connsiteY9" fmla="*/ 6745193 h 7542003"/>
              <a:gd name="connsiteX10" fmla="*/ 9536770 w 9601169"/>
              <a:gd name="connsiteY10" fmla="*/ 7542002 h 7542003"/>
              <a:gd name="connsiteX0" fmla="*/ 12818 w 9551235"/>
              <a:gd name="connsiteY0" fmla="*/ 0 h 7542003"/>
              <a:gd name="connsiteX1" fmla="*/ 2836630 w 9551235"/>
              <a:gd name="connsiteY1" fmla="*/ 748119 h 7542003"/>
              <a:gd name="connsiteX2" fmla="*/ 3513152 w 9551235"/>
              <a:gd name="connsiteY2" fmla="*/ 1980793 h 7542003"/>
              <a:gd name="connsiteX3" fmla="*/ 4673468 w 9551235"/>
              <a:gd name="connsiteY3" fmla="*/ 2458601 h 7542003"/>
              <a:gd name="connsiteX4" fmla="*/ 5415102 w 9551235"/>
              <a:gd name="connsiteY4" fmla="*/ 3689965 h 7542003"/>
              <a:gd name="connsiteX5" fmla="*/ 6748700 w 9551235"/>
              <a:gd name="connsiteY5" fmla="*/ 4080508 h 7542003"/>
              <a:gd name="connsiteX6" fmla="*/ 7092770 w 9551235"/>
              <a:gd name="connsiteY6" fmla="*/ 4946627 h 7542003"/>
              <a:gd name="connsiteX7" fmla="*/ 8114230 w 9551235"/>
              <a:gd name="connsiteY7" fmla="*/ 5502085 h 7542003"/>
              <a:gd name="connsiteX8" fmla="*/ 8214368 w 9551235"/>
              <a:gd name="connsiteY8" fmla="*/ 6536556 h 7542003"/>
              <a:gd name="connsiteX9" fmla="*/ 9373534 w 9551235"/>
              <a:gd name="connsiteY9" fmla="*/ 6745193 h 7542003"/>
              <a:gd name="connsiteX10" fmla="*/ 9536770 w 9551235"/>
              <a:gd name="connsiteY10" fmla="*/ 7542002 h 7542003"/>
              <a:gd name="connsiteX0" fmla="*/ 12818 w 9551233"/>
              <a:gd name="connsiteY0" fmla="*/ 0 h 7542003"/>
              <a:gd name="connsiteX1" fmla="*/ 2836630 w 9551233"/>
              <a:gd name="connsiteY1" fmla="*/ 748119 h 7542003"/>
              <a:gd name="connsiteX2" fmla="*/ 3513152 w 9551233"/>
              <a:gd name="connsiteY2" fmla="*/ 1980793 h 7542003"/>
              <a:gd name="connsiteX3" fmla="*/ 4673468 w 9551233"/>
              <a:gd name="connsiteY3" fmla="*/ 2458601 h 7542003"/>
              <a:gd name="connsiteX4" fmla="*/ 5415102 w 9551233"/>
              <a:gd name="connsiteY4" fmla="*/ 3689965 h 7542003"/>
              <a:gd name="connsiteX5" fmla="*/ 6748700 w 9551233"/>
              <a:gd name="connsiteY5" fmla="*/ 4080508 h 7542003"/>
              <a:gd name="connsiteX6" fmla="*/ 7092770 w 9551233"/>
              <a:gd name="connsiteY6" fmla="*/ 4946627 h 7542003"/>
              <a:gd name="connsiteX7" fmla="*/ 8114230 w 9551233"/>
              <a:gd name="connsiteY7" fmla="*/ 5502085 h 7542003"/>
              <a:gd name="connsiteX8" fmla="*/ 8214368 w 9551233"/>
              <a:gd name="connsiteY8" fmla="*/ 6536556 h 7542003"/>
              <a:gd name="connsiteX9" fmla="*/ 9373534 w 9551233"/>
              <a:gd name="connsiteY9" fmla="*/ 6745193 h 7542003"/>
              <a:gd name="connsiteX10" fmla="*/ 9536770 w 9551233"/>
              <a:gd name="connsiteY10" fmla="*/ 7542002 h 7542003"/>
              <a:gd name="connsiteX0" fmla="*/ 12818 w 9551235"/>
              <a:gd name="connsiteY0" fmla="*/ 0 h 7542003"/>
              <a:gd name="connsiteX1" fmla="*/ 2836630 w 9551235"/>
              <a:gd name="connsiteY1" fmla="*/ 748119 h 7542003"/>
              <a:gd name="connsiteX2" fmla="*/ 3513152 w 9551235"/>
              <a:gd name="connsiteY2" fmla="*/ 1980793 h 7542003"/>
              <a:gd name="connsiteX3" fmla="*/ 4673468 w 9551235"/>
              <a:gd name="connsiteY3" fmla="*/ 2458601 h 7542003"/>
              <a:gd name="connsiteX4" fmla="*/ 5415102 w 9551235"/>
              <a:gd name="connsiteY4" fmla="*/ 3689965 h 7542003"/>
              <a:gd name="connsiteX5" fmla="*/ 6748700 w 9551235"/>
              <a:gd name="connsiteY5" fmla="*/ 4080508 h 7542003"/>
              <a:gd name="connsiteX6" fmla="*/ 7092770 w 9551235"/>
              <a:gd name="connsiteY6" fmla="*/ 4946627 h 7542003"/>
              <a:gd name="connsiteX7" fmla="*/ 8114230 w 9551235"/>
              <a:gd name="connsiteY7" fmla="*/ 5502085 h 7542003"/>
              <a:gd name="connsiteX8" fmla="*/ 8214368 w 9551235"/>
              <a:gd name="connsiteY8" fmla="*/ 6536556 h 7542003"/>
              <a:gd name="connsiteX9" fmla="*/ 9373534 w 9551235"/>
              <a:gd name="connsiteY9" fmla="*/ 6745193 h 7542003"/>
              <a:gd name="connsiteX10" fmla="*/ 9536770 w 9551235"/>
              <a:gd name="connsiteY10" fmla="*/ 7542002 h 7542003"/>
              <a:gd name="connsiteX0" fmla="*/ 12818 w 9537736"/>
              <a:gd name="connsiteY0" fmla="*/ 0 h 7542003"/>
              <a:gd name="connsiteX1" fmla="*/ 2836630 w 9537736"/>
              <a:gd name="connsiteY1" fmla="*/ 748119 h 7542003"/>
              <a:gd name="connsiteX2" fmla="*/ 3513152 w 9537736"/>
              <a:gd name="connsiteY2" fmla="*/ 1980793 h 7542003"/>
              <a:gd name="connsiteX3" fmla="*/ 4673468 w 9537736"/>
              <a:gd name="connsiteY3" fmla="*/ 2458601 h 7542003"/>
              <a:gd name="connsiteX4" fmla="*/ 5415102 w 9537736"/>
              <a:gd name="connsiteY4" fmla="*/ 3689965 h 7542003"/>
              <a:gd name="connsiteX5" fmla="*/ 6748700 w 9537736"/>
              <a:gd name="connsiteY5" fmla="*/ 4080508 h 7542003"/>
              <a:gd name="connsiteX6" fmla="*/ 7092770 w 9537736"/>
              <a:gd name="connsiteY6" fmla="*/ 4946627 h 7542003"/>
              <a:gd name="connsiteX7" fmla="*/ 8114230 w 9537736"/>
              <a:gd name="connsiteY7" fmla="*/ 5502085 h 7542003"/>
              <a:gd name="connsiteX8" fmla="*/ 8338165 w 9537736"/>
              <a:gd name="connsiteY8" fmla="*/ 6431460 h 7542003"/>
              <a:gd name="connsiteX9" fmla="*/ 9373534 w 9537736"/>
              <a:gd name="connsiteY9" fmla="*/ 6745193 h 7542003"/>
              <a:gd name="connsiteX10" fmla="*/ 9536770 w 9537736"/>
              <a:gd name="connsiteY10" fmla="*/ 7542002 h 7542003"/>
              <a:gd name="connsiteX0" fmla="*/ 12818 w 9553011"/>
              <a:gd name="connsiteY0" fmla="*/ 0 h 7620875"/>
              <a:gd name="connsiteX1" fmla="*/ 2836630 w 9553011"/>
              <a:gd name="connsiteY1" fmla="*/ 748119 h 7620875"/>
              <a:gd name="connsiteX2" fmla="*/ 3513152 w 9553011"/>
              <a:gd name="connsiteY2" fmla="*/ 1980793 h 7620875"/>
              <a:gd name="connsiteX3" fmla="*/ 4673468 w 9553011"/>
              <a:gd name="connsiteY3" fmla="*/ 2458601 h 7620875"/>
              <a:gd name="connsiteX4" fmla="*/ 5415102 w 9553011"/>
              <a:gd name="connsiteY4" fmla="*/ 3689965 h 7620875"/>
              <a:gd name="connsiteX5" fmla="*/ 6748700 w 9553011"/>
              <a:gd name="connsiteY5" fmla="*/ 4080508 h 7620875"/>
              <a:gd name="connsiteX6" fmla="*/ 7092770 w 9553011"/>
              <a:gd name="connsiteY6" fmla="*/ 4946627 h 7620875"/>
              <a:gd name="connsiteX7" fmla="*/ 8114230 w 9553011"/>
              <a:gd name="connsiteY7" fmla="*/ 5502085 h 7620875"/>
              <a:gd name="connsiteX8" fmla="*/ 8338165 w 9553011"/>
              <a:gd name="connsiteY8" fmla="*/ 6431460 h 7620875"/>
              <a:gd name="connsiteX9" fmla="*/ 9373534 w 9553011"/>
              <a:gd name="connsiteY9" fmla="*/ 6745193 h 7620875"/>
              <a:gd name="connsiteX10" fmla="*/ 9536770 w 9553011"/>
              <a:gd name="connsiteY10" fmla="*/ 7542002 h 7620875"/>
              <a:gd name="connsiteX11" fmla="*/ 9548864 w 9553011"/>
              <a:gd name="connsiteY11" fmla="*/ 7600050 h 7620875"/>
              <a:gd name="connsiteX0" fmla="*/ 12818 w 10373471"/>
              <a:gd name="connsiteY0" fmla="*/ 0 h 8061349"/>
              <a:gd name="connsiteX1" fmla="*/ 2836630 w 10373471"/>
              <a:gd name="connsiteY1" fmla="*/ 748119 h 8061349"/>
              <a:gd name="connsiteX2" fmla="*/ 3513152 w 10373471"/>
              <a:gd name="connsiteY2" fmla="*/ 1980793 h 8061349"/>
              <a:gd name="connsiteX3" fmla="*/ 4673468 w 10373471"/>
              <a:gd name="connsiteY3" fmla="*/ 2458601 h 8061349"/>
              <a:gd name="connsiteX4" fmla="*/ 5415102 w 10373471"/>
              <a:gd name="connsiteY4" fmla="*/ 3689965 h 8061349"/>
              <a:gd name="connsiteX5" fmla="*/ 6748700 w 10373471"/>
              <a:gd name="connsiteY5" fmla="*/ 4080508 h 8061349"/>
              <a:gd name="connsiteX6" fmla="*/ 7092770 w 10373471"/>
              <a:gd name="connsiteY6" fmla="*/ 4946627 h 8061349"/>
              <a:gd name="connsiteX7" fmla="*/ 8114230 w 10373471"/>
              <a:gd name="connsiteY7" fmla="*/ 5502085 h 8061349"/>
              <a:gd name="connsiteX8" fmla="*/ 8338165 w 10373471"/>
              <a:gd name="connsiteY8" fmla="*/ 6431460 h 8061349"/>
              <a:gd name="connsiteX9" fmla="*/ 9373534 w 10373471"/>
              <a:gd name="connsiteY9" fmla="*/ 6745193 h 8061349"/>
              <a:gd name="connsiteX10" fmla="*/ 9536770 w 10373471"/>
              <a:gd name="connsiteY10" fmla="*/ 7542002 h 8061349"/>
              <a:gd name="connsiteX11" fmla="*/ 10373471 w 10373471"/>
              <a:gd name="connsiteY11" fmla="*/ 8061349 h 8061349"/>
              <a:gd name="connsiteX0" fmla="*/ 12818 w 10373471"/>
              <a:gd name="connsiteY0" fmla="*/ 0 h 8061349"/>
              <a:gd name="connsiteX1" fmla="*/ 2836630 w 10373471"/>
              <a:gd name="connsiteY1" fmla="*/ 748119 h 8061349"/>
              <a:gd name="connsiteX2" fmla="*/ 3513152 w 10373471"/>
              <a:gd name="connsiteY2" fmla="*/ 1980793 h 8061349"/>
              <a:gd name="connsiteX3" fmla="*/ 4673468 w 10373471"/>
              <a:gd name="connsiteY3" fmla="*/ 2458601 h 8061349"/>
              <a:gd name="connsiteX4" fmla="*/ 5415102 w 10373471"/>
              <a:gd name="connsiteY4" fmla="*/ 3689965 h 8061349"/>
              <a:gd name="connsiteX5" fmla="*/ 6748700 w 10373471"/>
              <a:gd name="connsiteY5" fmla="*/ 4080508 h 8061349"/>
              <a:gd name="connsiteX6" fmla="*/ 7092770 w 10373471"/>
              <a:gd name="connsiteY6" fmla="*/ 4946627 h 8061349"/>
              <a:gd name="connsiteX7" fmla="*/ 8114230 w 10373471"/>
              <a:gd name="connsiteY7" fmla="*/ 5502085 h 8061349"/>
              <a:gd name="connsiteX8" fmla="*/ 8338165 w 10373471"/>
              <a:gd name="connsiteY8" fmla="*/ 6431460 h 8061349"/>
              <a:gd name="connsiteX9" fmla="*/ 9373534 w 10373471"/>
              <a:gd name="connsiteY9" fmla="*/ 6745193 h 8061349"/>
              <a:gd name="connsiteX10" fmla="*/ 9536770 w 10373471"/>
              <a:gd name="connsiteY10" fmla="*/ 7542002 h 8061349"/>
              <a:gd name="connsiteX11" fmla="*/ 10373471 w 10373471"/>
              <a:gd name="connsiteY11" fmla="*/ 8061349 h 8061349"/>
              <a:gd name="connsiteX0" fmla="*/ 12818 w 10373471"/>
              <a:gd name="connsiteY0" fmla="*/ 0 h 8061349"/>
              <a:gd name="connsiteX1" fmla="*/ 2836630 w 10373471"/>
              <a:gd name="connsiteY1" fmla="*/ 748119 h 8061349"/>
              <a:gd name="connsiteX2" fmla="*/ 3513152 w 10373471"/>
              <a:gd name="connsiteY2" fmla="*/ 1980793 h 8061349"/>
              <a:gd name="connsiteX3" fmla="*/ 4673468 w 10373471"/>
              <a:gd name="connsiteY3" fmla="*/ 2458601 h 8061349"/>
              <a:gd name="connsiteX4" fmla="*/ 5415102 w 10373471"/>
              <a:gd name="connsiteY4" fmla="*/ 3689965 h 8061349"/>
              <a:gd name="connsiteX5" fmla="*/ 6748700 w 10373471"/>
              <a:gd name="connsiteY5" fmla="*/ 4080508 h 8061349"/>
              <a:gd name="connsiteX6" fmla="*/ 7092770 w 10373471"/>
              <a:gd name="connsiteY6" fmla="*/ 4946627 h 8061349"/>
              <a:gd name="connsiteX7" fmla="*/ 8114230 w 10373471"/>
              <a:gd name="connsiteY7" fmla="*/ 5502085 h 8061349"/>
              <a:gd name="connsiteX8" fmla="*/ 8338165 w 10373471"/>
              <a:gd name="connsiteY8" fmla="*/ 6431460 h 8061349"/>
              <a:gd name="connsiteX9" fmla="*/ 9373534 w 10373471"/>
              <a:gd name="connsiteY9" fmla="*/ 6745193 h 8061349"/>
              <a:gd name="connsiteX10" fmla="*/ 9536770 w 10373471"/>
              <a:gd name="connsiteY10" fmla="*/ 7542002 h 8061349"/>
              <a:gd name="connsiteX11" fmla="*/ 10373471 w 10373471"/>
              <a:gd name="connsiteY11" fmla="*/ 8061349 h 8061349"/>
              <a:gd name="connsiteX0" fmla="*/ 12818 w 10373471"/>
              <a:gd name="connsiteY0" fmla="*/ 0 h 8061349"/>
              <a:gd name="connsiteX1" fmla="*/ 2836630 w 10373471"/>
              <a:gd name="connsiteY1" fmla="*/ 748119 h 8061349"/>
              <a:gd name="connsiteX2" fmla="*/ 3513152 w 10373471"/>
              <a:gd name="connsiteY2" fmla="*/ 1980793 h 8061349"/>
              <a:gd name="connsiteX3" fmla="*/ 4673468 w 10373471"/>
              <a:gd name="connsiteY3" fmla="*/ 2458601 h 8061349"/>
              <a:gd name="connsiteX4" fmla="*/ 5415102 w 10373471"/>
              <a:gd name="connsiteY4" fmla="*/ 3689965 h 8061349"/>
              <a:gd name="connsiteX5" fmla="*/ 6748700 w 10373471"/>
              <a:gd name="connsiteY5" fmla="*/ 4080508 h 8061349"/>
              <a:gd name="connsiteX6" fmla="*/ 7092770 w 10373471"/>
              <a:gd name="connsiteY6" fmla="*/ 4946627 h 8061349"/>
              <a:gd name="connsiteX7" fmla="*/ 8114230 w 10373471"/>
              <a:gd name="connsiteY7" fmla="*/ 5502085 h 8061349"/>
              <a:gd name="connsiteX8" fmla="*/ 8338165 w 10373471"/>
              <a:gd name="connsiteY8" fmla="*/ 6431460 h 8061349"/>
              <a:gd name="connsiteX9" fmla="*/ 9373534 w 10373471"/>
              <a:gd name="connsiteY9" fmla="*/ 6745193 h 8061349"/>
              <a:gd name="connsiteX10" fmla="*/ 9536770 w 10373471"/>
              <a:gd name="connsiteY10" fmla="*/ 7542002 h 8061349"/>
              <a:gd name="connsiteX11" fmla="*/ 10373471 w 10373471"/>
              <a:gd name="connsiteY11" fmla="*/ 8061349 h 8061349"/>
              <a:gd name="connsiteX0" fmla="*/ 12818 w 10373471"/>
              <a:gd name="connsiteY0" fmla="*/ 0 h 8061349"/>
              <a:gd name="connsiteX1" fmla="*/ 2836630 w 10373471"/>
              <a:gd name="connsiteY1" fmla="*/ 748119 h 8061349"/>
              <a:gd name="connsiteX2" fmla="*/ 3513152 w 10373471"/>
              <a:gd name="connsiteY2" fmla="*/ 1980793 h 8061349"/>
              <a:gd name="connsiteX3" fmla="*/ 4673468 w 10373471"/>
              <a:gd name="connsiteY3" fmla="*/ 2458601 h 8061349"/>
              <a:gd name="connsiteX4" fmla="*/ 5415102 w 10373471"/>
              <a:gd name="connsiteY4" fmla="*/ 3689965 h 8061349"/>
              <a:gd name="connsiteX5" fmla="*/ 6748700 w 10373471"/>
              <a:gd name="connsiteY5" fmla="*/ 4080508 h 8061349"/>
              <a:gd name="connsiteX6" fmla="*/ 7092770 w 10373471"/>
              <a:gd name="connsiteY6" fmla="*/ 4946627 h 8061349"/>
              <a:gd name="connsiteX7" fmla="*/ 8114230 w 10373471"/>
              <a:gd name="connsiteY7" fmla="*/ 5502085 h 8061349"/>
              <a:gd name="connsiteX8" fmla="*/ 8338165 w 10373471"/>
              <a:gd name="connsiteY8" fmla="*/ 6431460 h 8061349"/>
              <a:gd name="connsiteX9" fmla="*/ 9373534 w 10373471"/>
              <a:gd name="connsiteY9" fmla="*/ 6745193 h 8061349"/>
              <a:gd name="connsiteX10" fmla="*/ 9758641 w 10373471"/>
              <a:gd name="connsiteY10" fmla="*/ 7584862 h 8061349"/>
              <a:gd name="connsiteX11" fmla="*/ 10373471 w 10373471"/>
              <a:gd name="connsiteY11" fmla="*/ 8061349 h 8061349"/>
              <a:gd name="connsiteX0" fmla="*/ 12818 w 10373471"/>
              <a:gd name="connsiteY0" fmla="*/ 0 h 8061349"/>
              <a:gd name="connsiteX1" fmla="*/ 2836630 w 10373471"/>
              <a:gd name="connsiteY1" fmla="*/ 748119 h 8061349"/>
              <a:gd name="connsiteX2" fmla="*/ 3513152 w 10373471"/>
              <a:gd name="connsiteY2" fmla="*/ 1980793 h 8061349"/>
              <a:gd name="connsiteX3" fmla="*/ 4673468 w 10373471"/>
              <a:gd name="connsiteY3" fmla="*/ 2458601 h 8061349"/>
              <a:gd name="connsiteX4" fmla="*/ 5415102 w 10373471"/>
              <a:gd name="connsiteY4" fmla="*/ 3689965 h 8061349"/>
              <a:gd name="connsiteX5" fmla="*/ 6748700 w 10373471"/>
              <a:gd name="connsiteY5" fmla="*/ 4080508 h 8061349"/>
              <a:gd name="connsiteX6" fmla="*/ 7092770 w 10373471"/>
              <a:gd name="connsiteY6" fmla="*/ 4946627 h 8061349"/>
              <a:gd name="connsiteX7" fmla="*/ 8114230 w 10373471"/>
              <a:gd name="connsiteY7" fmla="*/ 5502085 h 8061349"/>
              <a:gd name="connsiteX8" fmla="*/ 8338165 w 10373471"/>
              <a:gd name="connsiteY8" fmla="*/ 6431460 h 8061349"/>
              <a:gd name="connsiteX9" fmla="*/ 9373534 w 10373471"/>
              <a:gd name="connsiteY9" fmla="*/ 6745193 h 8061349"/>
              <a:gd name="connsiteX10" fmla="*/ 9758641 w 10373471"/>
              <a:gd name="connsiteY10" fmla="*/ 7584862 h 8061349"/>
              <a:gd name="connsiteX11" fmla="*/ 10373471 w 10373471"/>
              <a:gd name="connsiteY11" fmla="*/ 8061349 h 8061349"/>
              <a:gd name="connsiteX0" fmla="*/ 12818 w 10373471"/>
              <a:gd name="connsiteY0" fmla="*/ 0 h 8061349"/>
              <a:gd name="connsiteX1" fmla="*/ 2836630 w 10373471"/>
              <a:gd name="connsiteY1" fmla="*/ 748119 h 8061349"/>
              <a:gd name="connsiteX2" fmla="*/ 3513152 w 10373471"/>
              <a:gd name="connsiteY2" fmla="*/ 1980793 h 8061349"/>
              <a:gd name="connsiteX3" fmla="*/ 4673468 w 10373471"/>
              <a:gd name="connsiteY3" fmla="*/ 2458601 h 8061349"/>
              <a:gd name="connsiteX4" fmla="*/ 5415102 w 10373471"/>
              <a:gd name="connsiteY4" fmla="*/ 3689965 h 8061349"/>
              <a:gd name="connsiteX5" fmla="*/ 6748700 w 10373471"/>
              <a:gd name="connsiteY5" fmla="*/ 4080508 h 8061349"/>
              <a:gd name="connsiteX6" fmla="*/ 7092770 w 10373471"/>
              <a:gd name="connsiteY6" fmla="*/ 4946627 h 8061349"/>
              <a:gd name="connsiteX7" fmla="*/ 8114230 w 10373471"/>
              <a:gd name="connsiteY7" fmla="*/ 5502085 h 8061349"/>
              <a:gd name="connsiteX8" fmla="*/ 8338165 w 10373471"/>
              <a:gd name="connsiteY8" fmla="*/ 6431460 h 8061349"/>
              <a:gd name="connsiteX9" fmla="*/ 9373534 w 10373471"/>
              <a:gd name="connsiteY9" fmla="*/ 6745193 h 8061349"/>
              <a:gd name="connsiteX10" fmla="*/ 9758641 w 10373471"/>
              <a:gd name="connsiteY10" fmla="*/ 7584862 h 8061349"/>
              <a:gd name="connsiteX11" fmla="*/ 10373471 w 10373471"/>
              <a:gd name="connsiteY11" fmla="*/ 8061349 h 8061349"/>
              <a:gd name="connsiteX0" fmla="*/ 12818 w 10436234"/>
              <a:gd name="connsiteY0" fmla="*/ 0 h 8095207"/>
              <a:gd name="connsiteX1" fmla="*/ 2836630 w 10436234"/>
              <a:gd name="connsiteY1" fmla="*/ 748119 h 8095207"/>
              <a:gd name="connsiteX2" fmla="*/ 3513152 w 10436234"/>
              <a:gd name="connsiteY2" fmla="*/ 1980793 h 8095207"/>
              <a:gd name="connsiteX3" fmla="*/ 4673468 w 10436234"/>
              <a:gd name="connsiteY3" fmla="*/ 2458601 h 8095207"/>
              <a:gd name="connsiteX4" fmla="*/ 5415102 w 10436234"/>
              <a:gd name="connsiteY4" fmla="*/ 3689965 h 8095207"/>
              <a:gd name="connsiteX5" fmla="*/ 6748700 w 10436234"/>
              <a:gd name="connsiteY5" fmla="*/ 4080508 h 8095207"/>
              <a:gd name="connsiteX6" fmla="*/ 7092770 w 10436234"/>
              <a:gd name="connsiteY6" fmla="*/ 4946627 h 8095207"/>
              <a:gd name="connsiteX7" fmla="*/ 8114230 w 10436234"/>
              <a:gd name="connsiteY7" fmla="*/ 5502085 h 8095207"/>
              <a:gd name="connsiteX8" fmla="*/ 8338165 w 10436234"/>
              <a:gd name="connsiteY8" fmla="*/ 6431460 h 8095207"/>
              <a:gd name="connsiteX9" fmla="*/ 9373534 w 10436234"/>
              <a:gd name="connsiteY9" fmla="*/ 6745193 h 8095207"/>
              <a:gd name="connsiteX10" fmla="*/ 9758641 w 10436234"/>
              <a:gd name="connsiteY10" fmla="*/ 7584862 h 8095207"/>
              <a:gd name="connsiteX11" fmla="*/ 10373471 w 10436234"/>
              <a:gd name="connsiteY11" fmla="*/ 8061349 h 8095207"/>
              <a:gd name="connsiteX12" fmla="*/ 10422836 w 10436234"/>
              <a:gd name="connsiteY12" fmla="*/ 8056226 h 8095207"/>
              <a:gd name="connsiteX0" fmla="*/ 12818 w 10405173"/>
              <a:gd name="connsiteY0" fmla="*/ 0 h 8562061"/>
              <a:gd name="connsiteX1" fmla="*/ 2836630 w 10405173"/>
              <a:gd name="connsiteY1" fmla="*/ 748119 h 8562061"/>
              <a:gd name="connsiteX2" fmla="*/ 3513152 w 10405173"/>
              <a:gd name="connsiteY2" fmla="*/ 1980793 h 8562061"/>
              <a:gd name="connsiteX3" fmla="*/ 4673468 w 10405173"/>
              <a:gd name="connsiteY3" fmla="*/ 2458601 h 8562061"/>
              <a:gd name="connsiteX4" fmla="*/ 5415102 w 10405173"/>
              <a:gd name="connsiteY4" fmla="*/ 3689965 h 8562061"/>
              <a:gd name="connsiteX5" fmla="*/ 6748700 w 10405173"/>
              <a:gd name="connsiteY5" fmla="*/ 4080508 h 8562061"/>
              <a:gd name="connsiteX6" fmla="*/ 7092770 w 10405173"/>
              <a:gd name="connsiteY6" fmla="*/ 4946627 h 8562061"/>
              <a:gd name="connsiteX7" fmla="*/ 8114230 w 10405173"/>
              <a:gd name="connsiteY7" fmla="*/ 5502085 h 8562061"/>
              <a:gd name="connsiteX8" fmla="*/ 8338165 w 10405173"/>
              <a:gd name="connsiteY8" fmla="*/ 6431460 h 8562061"/>
              <a:gd name="connsiteX9" fmla="*/ 9373534 w 10405173"/>
              <a:gd name="connsiteY9" fmla="*/ 6745193 h 8562061"/>
              <a:gd name="connsiteX10" fmla="*/ 9758641 w 10405173"/>
              <a:gd name="connsiteY10" fmla="*/ 7584862 h 8562061"/>
              <a:gd name="connsiteX11" fmla="*/ 10373471 w 10405173"/>
              <a:gd name="connsiteY11" fmla="*/ 8061349 h 8562061"/>
              <a:gd name="connsiteX12" fmla="*/ 10278877 w 10405173"/>
              <a:gd name="connsiteY12" fmla="*/ 8562058 h 8562061"/>
              <a:gd name="connsiteX0" fmla="*/ 12818 w 10405171"/>
              <a:gd name="connsiteY0" fmla="*/ 0 h 8562060"/>
              <a:gd name="connsiteX1" fmla="*/ 2836630 w 10405171"/>
              <a:gd name="connsiteY1" fmla="*/ 748119 h 8562060"/>
              <a:gd name="connsiteX2" fmla="*/ 3513152 w 10405171"/>
              <a:gd name="connsiteY2" fmla="*/ 1980793 h 8562060"/>
              <a:gd name="connsiteX3" fmla="*/ 4673468 w 10405171"/>
              <a:gd name="connsiteY3" fmla="*/ 2458601 h 8562060"/>
              <a:gd name="connsiteX4" fmla="*/ 5415102 w 10405171"/>
              <a:gd name="connsiteY4" fmla="*/ 3689965 h 8562060"/>
              <a:gd name="connsiteX5" fmla="*/ 6748700 w 10405171"/>
              <a:gd name="connsiteY5" fmla="*/ 4080508 h 8562060"/>
              <a:gd name="connsiteX6" fmla="*/ 7092770 w 10405171"/>
              <a:gd name="connsiteY6" fmla="*/ 4946627 h 8562060"/>
              <a:gd name="connsiteX7" fmla="*/ 8114230 w 10405171"/>
              <a:gd name="connsiteY7" fmla="*/ 5502085 h 8562060"/>
              <a:gd name="connsiteX8" fmla="*/ 8338165 w 10405171"/>
              <a:gd name="connsiteY8" fmla="*/ 6431460 h 8562060"/>
              <a:gd name="connsiteX9" fmla="*/ 9373534 w 10405171"/>
              <a:gd name="connsiteY9" fmla="*/ 6745193 h 8562060"/>
              <a:gd name="connsiteX10" fmla="*/ 9758641 w 10405171"/>
              <a:gd name="connsiteY10" fmla="*/ 7584862 h 8562060"/>
              <a:gd name="connsiteX11" fmla="*/ 10373471 w 10405171"/>
              <a:gd name="connsiteY11" fmla="*/ 8061349 h 8562060"/>
              <a:gd name="connsiteX12" fmla="*/ 10278877 w 10405171"/>
              <a:gd name="connsiteY12" fmla="*/ 8562058 h 8562060"/>
              <a:gd name="connsiteX0" fmla="*/ 12818 w 10405173"/>
              <a:gd name="connsiteY0" fmla="*/ 0 h 8562060"/>
              <a:gd name="connsiteX1" fmla="*/ 2836630 w 10405173"/>
              <a:gd name="connsiteY1" fmla="*/ 748119 h 8562060"/>
              <a:gd name="connsiteX2" fmla="*/ 3513152 w 10405173"/>
              <a:gd name="connsiteY2" fmla="*/ 1980793 h 8562060"/>
              <a:gd name="connsiteX3" fmla="*/ 4673468 w 10405173"/>
              <a:gd name="connsiteY3" fmla="*/ 2458601 h 8562060"/>
              <a:gd name="connsiteX4" fmla="*/ 5415102 w 10405173"/>
              <a:gd name="connsiteY4" fmla="*/ 3689965 h 8562060"/>
              <a:gd name="connsiteX5" fmla="*/ 6748700 w 10405173"/>
              <a:gd name="connsiteY5" fmla="*/ 4080508 h 8562060"/>
              <a:gd name="connsiteX6" fmla="*/ 7092770 w 10405173"/>
              <a:gd name="connsiteY6" fmla="*/ 4946627 h 8562060"/>
              <a:gd name="connsiteX7" fmla="*/ 8114230 w 10405173"/>
              <a:gd name="connsiteY7" fmla="*/ 5502085 h 8562060"/>
              <a:gd name="connsiteX8" fmla="*/ 8338165 w 10405173"/>
              <a:gd name="connsiteY8" fmla="*/ 6431460 h 8562060"/>
              <a:gd name="connsiteX9" fmla="*/ 9373534 w 10405173"/>
              <a:gd name="connsiteY9" fmla="*/ 6745193 h 8562060"/>
              <a:gd name="connsiteX10" fmla="*/ 9758641 w 10405173"/>
              <a:gd name="connsiteY10" fmla="*/ 7584862 h 8562060"/>
              <a:gd name="connsiteX11" fmla="*/ 10373471 w 10405173"/>
              <a:gd name="connsiteY11" fmla="*/ 8061349 h 8562060"/>
              <a:gd name="connsiteX12" fmla="*/ 10278877 w 10405173"/>
              <a:gd name="connsiteY12" fmla="*/ 8562058 h 8562060"/>
              <a:gd name="connsiteX0" fmla="*/ 12818 w 10411276"/>
              <a:gd name="connsiteY0" fmla="*/ 0 h 8562060"/>
              <a:gd name="connsiteX1" fmla="*/ 2836630 w 10411276"/>
              <a:gd name="connsiteY1" fmla="*/ 748119 h 8562060"/>
              <a:gd name="connsiteX2" fmla="*/ 3513152 w 10411276"/>
              <a:gd name="connsiteY2" fmla="*/ 1980793 h 8562060"/>
              <a:gd name="connsiteX3" fmla="*/ 4673468 w 10411276"/>
              <a:gd name="connsiteY3" fmla="*/ 2458601 h 8562060"/>
              <a:gd name="connsiteX4" fmla="*/ 5415102 w 10411276"/>
              <a:gd name="connsiteY4" fmla="*/ 3689965 h 8562060"/>
              <a:gd name="connsiteX5" fmla="*/ 6748700 w 10411276"/>
              <a:gd name="connsiteY5" fmla="*/ 4080508 h 8562060"/>
              <a:gd name="connsiteX6" fmla="*/ 7092770 w 10411276"/>
              <a:gd name="connsiteY6" fmla="*/ 4946627 h 8562060"/>
              <a:gd name="connsiteX7" fmla="*/ 8114230 w 10411276"/>
              <a:gd name="connsiteY7" fmla="*/ 5502085 h 8562060"/>
              <a:gd name="connsiteX8" fmla="*/ 8338165 w 10411276"/>
              <a:gd name="connsiteY8" fmla="*/ 6431460 h 8562060"/>
              <a:gd name="connsiteX9" fmla="*/ 9373534 w 10411276"/>
              <a:gd name="connsiteY9" fmla="*/ 6745193 h 8562060"/>
              <a:gd name="connsiteX10" fmla="*/ 9758641 w 10411276"/>
              <a:gd name="connsiteY10" fmla="*/ 7584862 h 8562060"/>
              <a:gd name="connsiteX11" fmla="*/ 10373471 w 10411276"/>
              <a:gd name="connsiteY11" fmla="*/ 8061349 h 8562060"/>
              <a:gd name="connsiteX12" fmla="*/ 10278877 w 10411276"/>
              <a:gd name="connsiteY12" fmla="*/ 8562058 h 8562060"/>
              <a:gd name="connsiteX0" fmla="*/ 12818 w 10411276"/>
              <a:gd name="connsiteY0" fmla="*/ 0 h 8602211"/>
              <a:gd name="connsiteX1" fmla="*/ 2836630 w 10411276"/>
              <a:gd name="connsiteY1" fmla="*/ 748119 h 8602211"/>
              <a:gd name="connsiteX2" fmla="*/ 3513152 w 10411276"/>
              <a:gd name="connsiteY2" fmla="*/ 1980793 h 8602211"/>
              <a:gd name="connsiteX3" fmla="*/ 4673468 w 10411276"/>
              <a:gd name="connsiteY3" fmla="*/ 2458601 h 8602211"/>
              <a:gd name="connsiteX4" fmla="*/ 5415102 w 10411276"/>
              <a:gd name="connsiteY4" fmla="*/ 3689965 h 8602211"/>
              <a:gd name="connsiteX5" fmla="*/ 6748700 w 10411276"/>
              <a:gd name="connsiteY5" fmla="*/ 4080508 h 8602211"/>
              <a:gd name="connsiteX6" fmla="*/ 7092770 w 10411276"/>
              <a:gd name="connsiteY6" fmla="*/ 4946627 h 8602211"/>
              <a:gd name="connsiteX7" fmla="*/ 8114230 w 10411276"/>
              <a:gd name="connsiteY7" fmla="*/ 5502085 h 8602211"/>
              <a:gd name="connsiteX8" fmla="*/ 8338165 w 10411276"/>
              <a:gd name="connsiteY8" fmla="*/ 6431460 h 8602211"/>
              <a:gd name="connsiteX9" fmla="*/ 9373534 w 10411276"/>
              <a:gd name="connsiteY9" fmla="*/ 6745193 h 8602211"/>
              <a:gd name="connsiteX10" fmla="*/ 9758641 w 10411276"/>
              <a:gd name="connsiteY10" fmla="*/ 7584862 h 8602211"/>
              <a:gd name="connsiteX11" fmla="*/ 10373471 w 10411276"/>
              <a:gd name="connsiteY11" fmla="*/ 8061349 h 8602211"/>
              <a:gd name="connsiteX12" fmla="*/ 10278877 w 10411276"/>
              <a:gd name="connsiteY12" fmla="*/ 8562058 h 8602211"/>
              <a:gd name="connsiteX13" fmla="*/ 10276403 w 10411276"/>
              <a:gd name="connsiteY13" fmla="*/ 8572257 h 8602211"/>
              <a:gd name="connsiteX0" fmla="*/ 12818 w 10896621"/>
              <a:gd name="connsiteY0" fmla="*/ 0 h 8785464"/>
              <a:gd name="connsiteX1" fmla="*/ 2836630 w 10896621"/>
              <a:gd name="connsiteY1" fmla="*/ 748119 h 8785464"/>
              <a:gd name="connsiteX2" fmla="*/ 3513152 w 10896621"/>
              <a:gd name="connsiteY2" fmla="*/ 1980793 h 8785464"/>
              <a:gd name="connsiteX3" fmla="*/ 4673468 w 10896621"/>
              <a:gd name="connsiteY3" fmla="*/ 2458601 h 8785464"/>
              <a:gd name="connsiteX4" fmla="*/ 5415102 w 10896621"/>
              <a:gd name="connsiteY4" fmla="*/ 3689965 h 8785464"/>
              <a:gd name="connsiteX5" fmla="*/ 6748700 w 10896621"/>
              <a:gd name="connsiteY5" fmla="*/ 4080508 h 8785464"/>
              <a:gd name="connsiteX6" fmla="*/ 7092770 w 10896621"/>
              <a:gd name="connsiteY6" fmla="*/ 4946627 h 8785464"/>
              <a:gd name="connsiteX7" fmla="*/ 8114230 w 10896621"/>
              <a:gd name="connsiteY7" fmla="*/ 5502085 h 8785464"/>
              <a:gd name="connsiteX8" fmla="*/ 8338165 w 10896621"/>
              <a:gd name="connsiteY8" fmla="*/ 6431460 h 8785464"/>
              <a:gd name="connsiteX9" fmla="*/ 9373534 w 10896621"/>
              <a:gd name="connsiteY9" fmla="*/ 6745193 h 8785464"/>
              <a:gd name="connsiteX10" fmla="*/ 9758641 w 10896621"/>
              <a:gd name="connsiteY10" fmla="*/ 7584862 h 8785464"/>
              <a:gd name="connsiteX11" fmla="*/ 10373471 w 10896621"/>
              <a:gd name="connsiteY11" fmla="*/ 8061349 h 8785464"/>
              <a:gd name="connsiteX12" fmla="*/ 10278877 w 10896621"/>
              <a:gd name="connsiteY12" fmla="*/ 8562058 h 8785464"/>
              <a:gd name="connsiteX13" fmla="*/ 10896622 w 10896621"/>
              <a:gd name="connsiteY13" fmla="*/ 8785464 h 8785464"/>
              <a:gd name="connsiteX0" fmla="*/ 12818 w 10939709"/>
              <a:gd name="connsiteY0" fmla="*/ 0 h 8815236"/>
              <a:gd name="connsiteX1" fmla="*/ 2836630 w 10939709"/>
              <a:gd name="connsiteY1" fmla="*/ 748119 h 8815236"/>
              <a:gd name="connsiteX2" fmla="*/ 3513152 w 10939709"/>
              <a:gd name="connsiteY2" fmla="*/ 1980793 h 8815236"/>
              <a:gd name="connsiteX3" fmla="*/ 4673468 w 10939709"/>
              <a:gd name="connsiteY3" fmla="*/ 2458601 h 8815236"/>
              <a:gd name="connsiteX4" fmla="*/ 5415102 w 10939709"/>
              <a:gd name="connsiteY4" fmla="*/ 3689965 h 8815236"/>
              <a:gd name="connsiteX5" fmla="*/ 6748700 w 10939709"/>
              <a:gd name="connsiteY5" fmla="*/ 4080508 h 8815236"/>
              <a:gd name="connsiteX6" fmla="*/ 7092770 w 10939709"/>
              <a:gd name="connsiteY6" fmla="*/ 4946627 h 8815236"/>
              <a:gd name="connsiteX7" fmla="*/ 8114230 w 10939709"/>
              <a:gd name="connsiteY7" fmla="*/ 5502085 h 8815236"/>
              <a:gd name="connsiteX8" fmla="*/ 8338165 w 10939709"/>
              <a:gd name="connsiteY8" fmla="*/ 6431460 h 8815236"/>
              <a:gd name="connsiteX9" fmla="*/ 9373534 w 10939709"/>
              <a:gd name="connsiteY9" fmla="*/ 6745193 h 8815236"/>
              <a:gd name="connsiteX10" fmla="*/ 9758641 w 10939709"/>
              <a:gd name="connsiteY10" fmla="*/ 7584862 h 8815236"/>
              <a:gd name="connsiteX11" fmla="*/ 10373471 w 10939709"/>
              <a:gd name="connsiteY11" fmla="*/ 8061349 h 8815236"/>
              <a:gd name="connsiteX12" fmla="*/ 10278877 w 10939709"/>
              <a:gd name="connsiteY12" fmla="*/ 8562058 h 8815236"/>
              <a:gd name="connsiteX13" fmla="*/ 10896622 w 10939709"/>
              <a:gd name="connsiteY13" fmla="*/ 8785464 h 8815236"/>
              <a:gd name="connsiteX14" fmla="*/ 10886994 w 10939709"/>
              <a:gd name="connsiteY14" fmla="*/ 8815236 h 8815236"/>
              <a:gd name="connsiteX0" fmla="*/ 12818 w 10927571"/>
              <a:gd name="connsiteY0" fmla="*/ 0 h 9096797"/>
              <a:gd name="connsiteX1" fmla="*/ 2836630 w 10927571"/>
              <a:gd name="connsiteY1" fmla="*/ 748119 h 9096797"/>
              <a:gd name="connsiteX2" fmla="*/ 3513152 w 10927571"/>
              <a:gd name="connsiteY2" fmla="*/ 1980793 h 9096797"/>
              <a:gd name="connsiteX3" fmla="*/ 4673468 w 10927571"/>
              <a:gd name="connsiteY3" fmla="*/ 2458601 h 9096797"/>
              <a:gd name="connsiteX4" fmla="*/ 5415102 w 10927571"/>
              <a:gd name="connsiteY4" fmla="*/ 3689965 h 9096797"/>
              <a:gd name="connsiteX5" fmla="*/ 6748700 w 10927571"/>
              <a:gd name="connsiteY5" fmla="*/ 4080508 h 9096797"/>
              <a:gd name="connsiteX6" fmla="*/ 7092770 w 10927571"/>
              <a:gd name="connsiteY6" fmla="*/ 4946627 h 9096797"/>
              <a:gd name="connsiteX7" fmla="*/ 8114230 w 10927571"/>
              <a:gd name="connsiteY7" fmla="*/ 5502085 h 9096797"/>
              <a:gd name="connsiteX8" fmla="*/ 8338165 w 10927571"/>
              <a:gd name="connsiteY8" fmla="*/ 6431460 h 9096797"/>
              <a:gd name="connsiteX9" fmla="*/ 9373534 w 10927571"/>
              <a:gd name="connsiteY9" fmla="*/ 6745193 h 9096797"/>
              <a:gd name="connsiteX10" fmla="*/ 9758641 w 10927571"/>
              <a:gd name="connsiteY10" fmla="*/ 7584862 h 9096797"/>
              <a:gd name="connsiteX11" fmla="*/ 10373471 w 10927571"/>
              <a:gd name="connsiteY11" fmla="*/ 8061349 h 9096797"/>
              <a:gd name="connsiteX12" fmla="*/ 10278877 w 10927571"/>
              <a:gd name="connsiteY12" fmla="*/ 8562058 h 9096797"/>
              <a:gd name="connsiteX13" fmla="*/ 10896622 w 10927571"/>
              <a:gd name="connsiteY13" fmla="*/ 8785464 h 9096797"/>
              <a:gd name="connsiteX14" fmla="*/ 10816111 w 10927571"/>
              <a:gd name="connsiteY14" fmla="*/ 9096797 h 9096797"/>
              <a:gd name="connsiteX0" fmla="*/ 12818 w 10927571"/>
              <a:gd name="connsiteY0" fmla="*/ 0 h 9096797"/>
              <a:gd name="connsiteX1" fmla="*/ 2836630 w 10927571"/>
              <a:gd name="connsiteY1" fmla="*/ 748119 h 9096797"/>
              <a:gd name="connsiteX2" fmla="*/ 3513152 w 10927571"/>
              <a:gd name="connsiteY2" fmla="*/ 1980793 h 9096797"/>
              <a:gd name="connsiteX3" fmla="*/ 4673468 w 10927571"/>
              <a:gd name="connsiteY3" fmla="*/ 2458601 h 9096797"/>
              <a:gd name="connsiteX4" fmla="*/ 5415102 w 10927571"/>
              <a:gd name="connsiteY4" fmla="*/ 3689965 h 9096797"/>
              <a:gd name="connsiteX5" fmla="*/ 6748700 w 10927571"/>
              <a:gd name="connsiteY5" fmla="*/ 4080508 h 9096797"/>
              <a:gd name="connsiteX6" fmla="*/ 7092770 w 10927571"/>
              <a:gd name="connsiteY6" fmla="*/ 4946627 h 9096797"/>
              <a:gd name="connsiteX7" fmla="*/ 8114230 w 10927571"/>
              <a:gd name="connsiteY7" fmla="*/ 5502085 h 9096797"/>
              <a:gd name="connsiteX8" fmla="*/ 8338165 w 10927571"/>
              <a:gd name="connsiteY8" fmla="*/ 6431460 h 9096797"/>
              <a:gd name="connsiteX9" fmla="*/ 9373534 w 10927571"/>
              <a:gd name="connsiteY9" fmla="*/ 6745193 h 9096797"/>
              <a:gd name="connsiteX10" fmla="*/ 9758641 w 10927571"/>
              <a:gd name="connsiteY10" fmla="*/ 7584862 h 9096797"/>
              <a:gd name="connsiteX11" fmla="*/ 10373471 w 10927571"/>
              <a:gd name="connsiteY11" fmla="*/ 8061349 h 9096797"/>
              <a:gd name="connsiteX12" fmla="*/ 10278877 w 10927571"/>
              <a:gd name="connsiteY12" fmla="*/ 8562058 h 9096797"/>
              <a:gd name="connsiteX13" fmla="*/ 10896622 w 10927571"/>
              <a:gd name="connsiteY13" fmla="*/ 8785464 h 9096797"/>
              <a:gd name="connsiteX14" fmla="*/ 10816111 w 10927571"/>
              <a:gd name="connsiteY14" fmla="*/ 9096797 h 9096797"/>
              <a:gd name="connsiteX0" fmla="*/ 12818 w 10911614"/>
              <a:gd name="connsiteY0" fmla="*/ 0 h 9096797"/>
              <a:gd name="connsiteX1" fmla="*/ 2836630 w 10911614"/>
              <a:gd name="connsiteY1" fmla="*/ 748119 h 9096797"/>
              <a:gd name="connsiteX2" fmla="*/ 3513152 w 10911614"/>
              <a:gd name="connsiteY2" fmla="*/ 1980793 h 9096797"/>
              <a:gd name="connsiteX3" fmla="*/ 4673468 w 10911614"/>
              <a:gd name="connsiteY3" fmla="*/ 2458601 h 9096797"/>
              <a:gd name="connsiteX4" fmla="*/ 5415102 w 10911614"/>
              <a:gd name="connsiteY4" fmla="*/ 3689965 h 9096797"/>
              <a:gd name="connsiteX5" fmla="*/ 6748700 w 10911614"/>
              <a:gd name="connsiteY5" fmla="*/ 4080508 h 9096797"/>
              <a:gd name="connsiteX6" fmla="*/ 7092770 w 10911614"/>
              <a:gd name="connsiteY6" fmla="*/ 4946627 h 9096797"/>
              <a:gd name="connsiteX7" fmla="*/ 8114230 w 10911614"/>
              <a:gd name="connsiteY7" fmla="*/ 5502085 h 9096797"/>
              <a:gd name="connsiteX8" fmla="*/ 8338165 w 10911614"/>
              <a:gd name="connsiteY8" fmla="*/ 6431460 h 9096797"/>
              <a:gd name="connsiteX9" fmla="*/ 9373534 w 10911614"/>
              <a:gd name="connsiteY9" fmla="*/ 6745193 h 9096797"/>
              <a:gd name="connsiteX10" fmla="*/ 9758641 w 10911614"/>
              <a:gd name="connsiteY10" fmla="*/ 7584862 h 9096797"/>
              <a:gd name="connsiteX11" fmla="*/ 10373471 w 10911614"/>
              <a:gd name="connsiteY11" fmla="*/ 8061349 h 9096797"/>
              <a:gd name="connsiteX12" fmla="*/ 10278877 w 10911614"/>
              <a:gd name="connsiteY12" fmla="*/ 8562058 h 9096797"/>
              <a:gd name="connsiteX13" fmla="*/ 10896622 w 10911614"/>
              <a:gd name="connsiteY13" fmla="*/ 8785464 h 9096797"/>
              <a:gd name="connsiteX14" fmla="*/ 10816111 w 10911614"/>
              <a:gd name="connsiteY14" fmla="*/ 9096797 h 9096797"/>
              <a:gd name="connsiteX0" fmla="*/ 12818 w 10911614"/>
              <a:gd name="connsiteY0" fmla="*/ 0 h 9096797"/>
              <a:gd name="connsiteX1" fmla="*/ 2836630 w 10911614"/>
              <a:gd name="connsiteY1" fmla="*/ 748119 h 9096797"/>
              <a:gd name="connsiteX2" fmla="*/ 3513152 w 10911614"/>
              <a:gd name="connsiteY2" fmla="*/ 1980793 h 9096797"/>
              <a:gd name="connsiteX3" fmla="*/ 4673468 w 10911614"/>
              <a:gd name="connsiteY3" fmla="*/ 2458601 h 9096797"/>
              <a:gd name="connsiteX4" fmla="*/ 5415102 w 10911614"/>
              <a:gd name="connsiteY4" fmla="*/ 3689965 h 9096797"/>
              <a:gd name="connsiteX5" fmla="*/ 6748700 w 10911614"/>
              <a:gd name="connsiteY5" fmla="*/ 4080508 h 9096797"/>
              <a:gd name="connsiteX6" fmla="*/ 7092770 w 10911614"/>
              <a:gd name="connsiteY6" fmla="*/ 4946627 h 9096797"/>
              <a:gd name="connsiteX7" fmla="*/ 8114230 w 10911614"/>
              <a:gd name="connsiteY7" fmla="*/ 5502085 h 9096797"/>
              <a:gd name="connsiteX8" fmla="*/ 8338165 w 10911614"/>
              <a:gd name="connsiteY8" fmla="*/ 6431460 h 9096797"/>
              <a:gd name="connsiteX9" fmla="*/ 9373534 w 10911614"/>
              <a:gd name="connsiteY9" fmla="*/ 6745193 h 9096797"/>
              <a:gd name="connsiteX10" fmla="*/ 9758641 w 10911614"/>
              <a:gd name="connsiteY10" fmla="*/ 7584862 h 9096797"/>
              <a:gd name="connsiteX11" fmla="*/ 10373471 w 10911614"/>
              <a:gd name="connsiteY11" fmla="*/ 8061349 h 9096797"/>
              <a:gd name="connsiteX12" fmla="*/ 10278877 w 10911614"/>
              <a:gd name="connsiteY12" fmla="*/ 8562058 h 9096797"/>
              <a:gd name="connsiteX13" fmla="*/ 10896622 w 10911614"/>
              <a:gd name="connsiteY13" fmla="*/ 8785464 h 9096797"/>
              <a:gd name="connsiteX14" fmla="*/ 10816111 w 10911614"/>
              <a:gd name="connsiteY14" fmla="*/ 9096797 h 9096797"/>
              <a:gd name="connsiteX0" fmla="*/ 12818 w 10911614"/>
              <a:gd name="connsiteY0" fmla="*/ 0 h 9096797"/>
              <a:gd name="connsiteX1" fmla="*/ 2836630 w 10911614"/>
              <a:gd name="connsiteY1" fmla="*/ 748119 h 9096797"/>
              <a:gd name="connsiteX2" fmla="*/ 3513152 w 10911614"/>
              <a:gd name="connsiteY2" fmla="*/ 1980793 h 9096797"/>
              <a:gd name="connsiteX3" fmla="*/ 4673468 w 10911614"/>
              <a:gd name="connsiteY3" fmla="*/ 2458601 h 9096797"/>
              <a:gd name="connsiteX4" fmla="*/ 5415102 w 10911614"/>
              <a:gd name="connsiteY4" fmla="*/ 3689965 h 9096797"/>
              <a:gd name="connsiteX5" fmla="*/ 6748700 w 10911614"/>
              <a:gd name="connsiteY5" fmla="*/ 4080508 h 9096797"/>
              <a:gd name="connsiteX6" fmla="*/ 7092770 w 10911614"/>
              <a:gd name="connsiteY6" fmla="*/ 4946627 h 9096797"/>
              <a:gd name="connsiteX7" fmla="*/ 8114230 w 10911614"/>
              <a:gd name="connsiteY7" fmla="*/ 5502085 h 9096797"/>
              <a:gd name="connsiteX8" fmla="*/ 8338165 w 10911614"/>
              <a:gd name="connsiteY8" fmla="*/ 6431460 h 9096797"/>
              <a:gd name="connsiteX9" fmla="*/ 9373534 w 10911614"/>
              <a:gd name="connsiteY9" fmla="*/ 6745193 h 9096797"/>
              <a:gd name="connsiteX10" fmla="*/ 9758641 w 10911614"/>
              <a:gd name="connsiteY10" fmla="*/ 7584862 h 9096797"/>
              <a:gd name="connsiteX11" fmla="*/ 10373471 w 10911614"/>
              <a:gd name="connsiteY11" fmla="*/ 8061349 h 9096797"/>
              <a:gd name="connsiteX12" fmla="*/ 10278877 w 10911614"/>
              <a:gd name="connsiteY12" fmla="*/ 8562058 h 9096797"/>
              <a:gd name="connsiteX13" fmla="*/ 10896622 w 10911614"/>
              <a:gd name="connsiteY13" fmla="*/ 8785464 h 9096797"/>
              <a:gd name="connsiteX14" fmla="*/ 10816111 w 10911614"/>
              <a:gd name="connsiteY14" fmla="*/ 9096797 h 9096797"/>
              <a:gd name="connsiteX0" fmla="*/ 12818 w 10911614"/>
              <a:gd name="connsiteY0" fmla="*/ 0 h 9096797"/>
              <a:gd name="connsiteX1" fmla="*/ 2836630 w 10911614"/>
              <a:gd name="connsiteY1" fmla="*/ 748119 h 9096797"/>
              <a:gd name="connsiteX2" fmla="*/ 3513152 w 10911614"/>
              <a:gd name="connsiteY2" fmla="*/ 1980793 h 9096797"/>
              <a:gd name="connsiteX3" fmla="*/ 4673468 w 10911614"/>
              <a:gd name="connsiteY3" fmla="*/ 2458601 h 9096797"/>
              <a:gd name="connsiteX4" fmla="*/ 5415102 w 10911614"/>
              <a:gd name="connsiteY4" fmla="*/ 3689965 h 9096797"/>
              <a:gd name="connsiteX5" fmla="*/ 6748700 w 10911614"/>
              <a:gd name="connsiteY5" fmla="*/ 4080508 h 9096797"/>
              <a:gd name="connsiteX6" fmla="*/ 7092770 w 10911614"/>
              <a:gd name="connsiteY6" fmla="*/ 4946627 h 9096797"/>
              <a:gd name="connsiteX7" fmla="*/ 8114230 w 10911614"/>
              <a:gd name="connsiteY7" fmla="*/ 5502085 h 9096797"/>
              <a:gd name="connsiteX8" fmla="*/ 8338165 w 10911614"/>
              <a:gd name="connsiteY8" fmla="*/ 6431460 h 9096797"/>
              <a:gd name="connsiteX9" fmla="*/ 9373534 w 10911614"/>
              <a:gd name="connsiteY9" fmla="*/ 6745193 h 9096797"/>
              <a:gd name="connsiteX10" fmla="*/ 9758641 w 10911614"/>
              <a:gd name="connsiteY10" fmla="*/ 7584862 h 9096797"/>
              <a:gd name="connsiteX11" fmla="*/ 10373471 w 10911614"/>
              <a:gd name="connsiteY11" fmla="*/ 8061349 h 9096797"/>
              <a:gd name="connsiteX12" fmla="*/ 10278877 w 10911614"/>
              <a:gd name="connsiteY12" fmla="*/ 8562058 h 9096797"/>
              <a:gd name="connsiteX13" fmla="*/ 10896622 w 10911614"/>
              <a:gd name="connsiteY13" fmla="*/ 8785464 h 9096797"/>
              <a:gd name="connsiteX14" fmla="*/ 10816111 w 10911614"/>
              <a:gd name="connsiteY14" fmla="*/ 9096797 h 9096797"/>
              <a:gd name="connsiteX0" fmla="*/ 12818 w 10912617"/>
              <a:gd name="connsiteY0" fmla="*/ 0 h 9096797"/>
              <a:gd name="connsiteX1" fmla="*/ 2836630 w 10912617"/>
              <a:gd name="connsiteY1" fmla="*/ 748119 h 9096797"/>
              <a:gd name="connsiteX2" fmla="*/ 3513152 w 10912617"/>
              <a:gd name="connsiteY2" fmla="*/ 1980793 h 9096797"/>
              <a:gd name="connsiteX3" fmla="*/ 4673468 w 10912617"/>
              <a:gd name="connsiteY3" fmla="*/ 2458601 h 9096797"/>
              <a:gd name="connsiteX4" fmla="*/ 5415102 w 10912617"/>
              <a:gd name="connsiteY4" fmla="*/ 3689965 h 9096797"/>
              <a:gd name="connsiteX5" fmla="*/ 6748700 w 10912617"/>
              <a:gd name="connsiteY5" fmla="*/ 4080508 h 9096797"/>
              <a:gd name="connsiteX6" fmla="*/ 7092770 w 10912617"/>
              <a:gd name="connsiteY6" fmla="*/ 4946627 h 9096797"/>
              <a:gd name="connsiteX7" fmla="*/ 8114230 w 10912617"/>
              <a:gd name="connsiteY7" fmla="*/ 5502085 h 9096797"/>
              <a:gd name="connsiteX8" fmla="*/ 8338165 w 10912617"/>
              <a:gd name="connsiteY8" fmla="*/ 6431460 h 9096797"/>
              <a:gd name="connsiteX9" fmla="*/ 9373534 w 10912617"/>
              <a:gd name="connsiteY9" fmla="*/ 6745193 h 9096797"/>
              <a:gd name="connsiteX10" fmla="*/ 9758641 w 10912617"/>
              <a:gd name="connsiteY10" fmla="*/ 7584862 h 9096797"/>
              <a:gd name="connsiteX11" fmla="*/ 10373471 w 10912617"/>
              <a:gd name="connsiteY11" fmla="*/ 8061349 h 9096797"/>
              <a:gd name="connsiteX12" fmla="*/ 10440624 w 10912617"/>
              <a:gd name="connsiteY12" fmla="*/ 8530034 h 9096797"/>
              <a:gd name="connsiteX13" fmla="*/ 10896622 w 10912617"/>
              <a:gd name="connsiteY13" fmla="*/ 8785464 h 9096797"/>
              <a:gd name="connsiteX14" fmla="*/ 10816111 w 10912617"/>
              <a:gd name="connsiteY14" fmla="*/ 9096797 h 9096797"/>
              <a:gd name="connsiteX0" fmla="*/ 12818 w 10912619"/>
              <a:gd name="connsiteY0" fmla="*/ 0 h 9096797"/>
              <a:gd name="connsiteX1" fmla="*/ 2836630 w 10912619"/>
              <a:gd name="connsiteY1" fmla="*/ 748119 h 9096797"/>
              <a:gd name="connsiteX2" fmla="*/ 3513152 w 10912619"/>
              <a:gd name="connsiteY2" fmla="*/ 1980793 h 9096797"/>
              <a:gd name="connsiteX3" fmla="*/ 4673468 w 10912619"/>
              <a:gd name="connsiteY3" fmla="*/ 2458601 h 9096797"/>
              <a:gd name="connsiteX4" fmla="*/ 5415102 w 10912619"/>
              <a:gd name="connsiteY4" fmla="*/ 3689965 h 9096797"/>
              <a:gd name="connsiteX5" fmla="*/ 6748700 w 10912619"/>
              <a:gd name="connsiteY5" fmla="*/ 4080508 h 9096797"/>
              <a:gd name="connsiteX6" fmla="*/ 7092770 w 10912619"/>
              <a:gd name="connsiteY6" fmla="*/ 4946627 h 9096797"/>
              <a:gd name="connsiteX7" fmla="*/ 8114230 w 10912619"/>
              <a:gd name="connsiteY7" fmla="*/ 5502085 h 9096797"/>
              <a:gd name="connsiteX8" fmla="*/ 8338165 w 10912619"/>
              <a:gd name="connsiteY8" fmla="*/ 6431460 h 9096797"/>
              <a:gd name="connsiteX9" fmla="*/ 9373534 w 10912619"/>
              <a:gd name="connsiteY9" fmla="*/ 6745193 h 9096797"/>
              <a:gd name="connsiteX10" fmla="*/ 9695039 w 10912619"/>
              <a:gd name="connsiteY10" fmla="*/ 7638858 h 9096797"/>
              <a:gd name="connsiteX11" fmla="*/ 10373471 w 10912619"/>
              <a:gd name="connsiteY11" fmla="*/ 8061349 h 9096797"/>
              <a:gd name="connsiteX12" fmla="*/ 10440624 w 10912619"/>
              <a:gd name="connsiteY12" fmla="*/ 8530034 h 9096797"/>
              <a:gd name="connsiteX13" fmla="*/ 10896622 w 10912619"/>
              <a:gd name="connsiteY13" fmla="*/ 8785464 h 9096797"/>
              <a:gd name="connsiteX14" fmla="*/ 10816111 w 10912619"/>
              <a:gd name="connsiteY14" fmla="*/ 9096797 h 9096797"/>
              <a:gd name="connsiteX0" fmla="*/ 12818 w 10912617"/>
              <a:gd name="connsiteY0" fmla="*/ 0 h 9096797"/>
              <a:gd name="connsiteX1" fmla="*/ 2836630 w 10912617"/>
              <a:gd name="connsiteY1" fmla="*/ 748119 h 9096797"/>
              <a:gd name="connsiteX2" fmla="*/ 3513152 w 10912617"/>
              <a:gd name="connsiteY2" fmla="*/ 1980793 h 9096797"/>
              <a:gd name="connsiteX3" fmla="*/ 4673468 w 10912617"/>
              <a:gd name="connsiteY3" fmla="*/ 2458601 h 9096797"/>
              <a:gd name="connsiteX4" fmla="*/ 5415102 w 10912617"/>
              <a:gd name="connsiteY4" fmla="*/ 3689965 h 9096797"/>
              <a:gd name="connsiteX5" fmla="*/ 6748700 w 10912617"/>
              <a:gd name="connsiteY5" fmla="*/ 4080508 h 9096797"/>
              <a:gd name="connsiteX6" fmla="*/ 7092770 w 10912617"/>
              <a:gd name="connsiteY6" fmla="*/ 4946627 h 9096797"/>
              <a:gd name="connsiteX7" fmla="*/ 8114230 w 10912617"/>
              <a:gd name="connsiteY7" fmla="*/ 5502085 h 9096797"/>
              <a:gd name="connsiteX8" fmla="*/ 8338165 w 10912617"/>
              <a:gd name="connsiteY8" fmla="*/ 6431460 h 9096797"/>
              <a:gd name="connsiteX9" fmla="*/ 9373534 w 10912617"/>
              <a:gd name="connsiteY9" fmla="*/ 6745193 h 9096797"/>
              <a:gd name="connsiteX10" fmla="*/ 9625167 w 10912617"/>
              <a:gd name="connsiteY10" fmla="*/ 7676579 h 9096797"/>
              <a:gd name="connsiteX11" fmla="*/ 10373471 w 10912617"/>
              <a:gd name="connsiteY11" fmla="*/ 8061349 h 9096797"/>
              <a:gd name="connsiteX12" fmla="*/ 10440624 w 10912617"/>
              <a:gd name="connsiteY12" fmla="*/ 8530034 h 9096797"/>
              <a:gd name="connsiteX13" fmla="*/ 10896622 w 10912617"/>
              <a:gd name="connsiteY13" fmla="*/ 8785464 h 9096797"/>
              <a:gd name="connsiteX14" fmla="*/ 10816111 w 10912617"/>
              <a:gd name="connsiteY14" fmla="*/ 9096797 h 9096797"/>
              <a:gd name="connsiteX0" fmla="*/ 12818 w 10912619"/>
              <a:gd name="connsiteY0" fmla="*/ 0 h 9096797"/>
              <a:gd name="connsiteX1" fmla="*/ 2836630 w 10912619"/>
              <a:gd name="connsiteY1" fmla="*/ 748119 h 9096797"/>
              <a:gd name="connsiteX2" fmla="*/ 3513152 w 10912619"/>
              <a:gd name="connsiteY2" fmla="*/ 1980793 h 9096797"/>
              <a:gd name="connsiteX3" fmla="*/ 4673468 w 10912619"/>
              <a:gd name="connsiteY3" fmla="*/ 2458601 h 9096797"/>
              <a:gd name="connsiteX4" fmla="*/ 5415102 w 10912619"/>
              <a:gd name="connsiteY4" fmla="*/ 3689965 h 9096797"/>
              <a:gd name="connsiteX5" fmla="*/ 6748700 w 10912619"/>
              <a:gd name="connsiteY5" fmla="*/ 4080508 h 9096797"/>
              <a:gd name="connsiteX6" fmla="*/ 7092770 w 10912619"/>
              <a:gd name="connsiteY6" fmla="*/ 4946627 h 9096797"/>
              <a:gd name="connsiteX7" fmla="*/ 8114230 w 10912619"/>
              <a:gd name="connsiteY7" fmla="*/ 5502085 h 9096797"/>
              <a:gd name="connsiteX8" fmla="*/ 8338165 w 10912619"/>
              <a:gd name="connsiteY8" fmla="*/ 6431460 h 9096797"/>
              <a:gd name="connsiteX9" fmla="*/ 9373534 w 10912619"/>
              <a:gd name="connsiteY9" fmla="*/ 6745193 h 9096797"/>
              <a:gd name="connsiteX10" fmla="*/ 9653891 w 10912619"/>
              <a:gd name="connsiteY10" fmla="*/ 7627899 h 9096797"/>
              <a:gd name="connsiteX11" fmla="*/ 10373471 w 10912619"/>
              <a:gd name="connsiteY11" fmla="*/ 8061349 h 9096797"/>
              <a:gd name="connsiteX12" fmla="*/ 10440624 w 10912619"/>
              <a:gd name="connsiteY12" fmla="*/ 8530034 h 9096797"/>
              <a:gd name="connsiteX13" fmla="*/ 10896622 w 10912619"/>
              <a:gd name="connsiteY13" fmla="*/ 8785464 h 9096797"/>
              <a:gd name="connsiteX14" fmla="*/ 10816111 w 10912619"/>
              <a:gd name="connsiteY14" fmla="*/ 9096797 h 9096797"/>
              <a:gd name="connsiteX0" fmla="*/ 12818 w 10912617"/>
              <a:gd name="connsiteY0" fmla="*/ 0 h 9096797"/>
              <a:gd name="connsiteX1" fmla="*/ 2836630 w 10912617"/>
              <a:gd name="connsiteY1" fmla="*/ 748119 h 9096797"/>
              <a:gd name="connsiteX2" fmla="*/ 3513152 w 10912617"/>
              <a:gd name="connsiteY2" fmla="*/ 1980793 h 9096797"/>
              <a:gd name="connsiteX3" fmla="*/ 4673468 w 10912617"/>
              <a:gd name="connsiteY3" fmla="*/ 2458601 h 9096797"/>
              <a:gd name="connsiteX4" fmla="*/ 5415102 w 10912617"/>
              <a:gd name="connsiteY4" fmla="*/ 3689965 h 9096797"/>
              <a:gd name="connsiteX5" fmla="*/ 6748700 w 10912617"/>
              <a:gd name="connsiteY5" fmla="*/ 4080508 h 9096797"/>
              <a:gd name="connsiteX6" fmla="*/ 7092770 w 10912617"/>
              <a:gd name="connsiteY6" fmla="*/ 4946627 h 9096797"/>
              <a:gd name="connsiteX7" fmla="*/ 8114230 w 10912617"/>
              <a:gd name="connsiteY7" fmla="*/ 5502085 h 9096797"/>
              <a:gd name="connsiteX8" fmla="*/ 8338165 w 10912617"/>
              <a:gd name="connsiteY8" fmla="*/ 6431460 h 9096797"/>
              <a:gd name="connsiteX9" fmla="*/ 9472016 w 10912617"/>
              <a:gd name="connsiteY9" fmla="*/ 6685887 h 9096797"/>
              <a:gd name="connsiteX10" fmla="*/ 9653891 w 10912617"/>
              <a:gd name="connsiteY10" fmla="*/ 7627899 h 9096797"/>
              <a:gd name="connsiteX11" fmla="*/ 10373471 w 10912617"/>
              <a:gd name="connsiteY11" fmla="*/ 8061349 h 9096797"/>
              <a:gd name="connsiteX12" fmla="*/ 10440624 w 10912617"/>
              <a:gd name="connsiteY12" fmla="*/ 8530034 h 9096797"/>
              <a:gd name="connsiteX13" fmla="*/ 10896622 w 10912617"/>
              <a:gd name="connsiteY13" fmla="*/ 8785464 h 9096797"/>
              <a:gd name="connsiteX14" fmla="*/ 10816111 w 10912617"/>
              <a:gd name="connsiteY14" fmla="*/ 9096797 h 9096797"/>
              <a:gd name="connsiteX0" fmla="*/ 12818 w 10912619"/>
              <a:gd name="connsiteY0" fmla="*/ 0 h 9096797"/>
              <a:gd name="connsiteX1" fmla="*/ 2836630 w 10912619"/>
              <a:gd name="connsiteY1" fmla="*/ 748119 h 9096797"/>
              <a:gd name="connsiteX2" fmla="*/ 3513152 w 10912619"/>
              <a:gd name="connsiteY2" fmla="*/ 1980793 h 9096797"/>
              <a:gd name="connsiteX3" fmla="*/ 4673468 w 10912619"/>
              <a:gd name="connsiteY3" fmla="*/ 2458601 h 9096797"/>
              <a:gd name="connsiteX4" fmla="*/ 5415102 w 10912619"/>
              <a:gd name="connsiteY4" fmla="*/ 3689965 h 9096797"/>
              <a:gd name="connsiteX5" fmla="*/ 6748700 w 10912619"/>
              <a:gd name="connsiteY5" fmla="*/ 4080508 h 9096797"/>
              <a:gd name="connsiteX6" fmla="*/ 7092770 w 10912619"/>
              <a:gd name="connsiteY6" fmla="*/ 4946627 h 9096797"/>
              <a:gd name="connsiteX7" fmla="*/ 8114230 w 10912619"/>
              <a:gd name="connsiteY7" fmla="*/ 5502085 h 9096797"/>
              <a:gd name="connsiteX8" fmla="*/ 8134541 w 10912619"/>
              <a:gd name="connsiteY8" fmla="*/ 6628629 h 9096797"/>
              <a:gd name="connsiteX9" fmla="*/ 9472016 w 10912619"/>
              <a:gd name="connsiteY9" fmla="*/ 6685887 h 9096797"/>
              <a:gd name="connsiteX10" fmla="*/ 9653891 w 10912619"/>
              <a:gd name="connsiteY10" fmla="*/ 7627899 h 9096797"/>
              <a:gd name="connsiteX11" fmla="*/ 10373471 w 10912619"/>
              <a:gd name="connsiteY11" fmla="*/ 8061349 h 9096797"/>
              <a:gd name="connsiteX12" fmla="*/ 10440624 w 10912619"/>
              <a:gd name="connsiteY12" fmla="*/ 8530034 h 9096797"/>
              <a:gd name="connsiteX13" fmla="*/ 10896622 w 10912619"/>
              <a:gd name="connsiteY13" fmla="*/ 8785464 h 9096797"/>
              <a:gd name="connsiteX14" fmla="*/ 10816111 w 10912619"/>
              <a:gd name="connsiteY14" fmla="*/ 9096797 h 9096797"/>
              <a:gd name="connsiteX0" fmla="*/ 12818 w 10912617"/>
              <a:gd name="connsiteY0" fmla="*/ 0 h 9096797"/>
              <a:gd name="connsiteX1" fmla="*/ 2836630 w 10912617"/>
              <a:gd name="connsiteY1" fmla="*/ 748119 h 9096797"/>
              <a:gd name="connsiteX2" fmla="*/ 3513152 w 10912617"/>
              <a:gd name="connsiteY2" fmla="*/ 1980793 h 9096797"/>
              <a:gd name="connsiteX3" fmla="*/ 4673468 w 10912617"/>
              <a:gd name="connsiteY3" fmla="*/ 2458601 h 9096797"/>
              <a:gd name="connsiteX4" fmla="*/ 5415102 w 10912617"/>
              <a:gd name="connsiteY4" fmla="*/ 3689965 h 9096797"/>
              <a:gd name="connsiteX5" fmla="*/ 6748700 w 10912617"/>
              <a:gd name="connsiteY5" fmla="*/ 4080508 h 9096797"/>
              <a:gd name="connsiteX6" fmla="*/ 7092770 w 10912617"/>
              <a:gd name="connsiteY6" fmla="*/ 4946627 h 9096797"/>
              <a:gd name="connsiteX7" fmla="*/ 8114230 w 10912617"/>
              <a:gd name="connsiteY7" fmla="*/ 5502085 h 9096797"/>
              <a:gd name="connsiteX8" fmla="*/ 8134541 w 10912617"/>
              <a:gd name="connsiteY8" fmla="*/ 6628629 h 9096797"/>
              <a:gd name="connsiteX9" fmla="*/ 9566801 w 10912617"/>
              <a:gd name="connsiteY9" fmla="*/ 6753908 h 9096797"/>
              <a:gd name="connsiteX10" fmla="*/ 9653891 w 10912617"/>
              <a:gd name="connsiteY10" fmla="*/ 7627899 h 9096797"/>
              <a:gd name="connsiteX11" fmla="*/ 10373471 w 10912617"/>
              <a:gd name="connsiteY11" fmla="*/ 8061349 h 9096797"/>
              <a:gd name="connsiteX12" fmla="*/ 10440624 w 10912617"/>
              <a:gd name="connsiteY12" fmla="*/ 8530034 h 9096797"/>
              <a:gd name="connsiteX13" fmla="*/ 10896622 w 10912617"/>
              <a:gd name="connsiteY13" fmla="*/ 8785464 h 9096797"/>
              <a:gd name="connsiteX14" fmla="*/ 10816111 w 10912617"/>
              <a:gd name="connsiteY14" fmla="*/ 9096797 h 9096797"/>
              <a:gd name="connsiteX0" fmla="*/ 12818 w 10912619"/>
              <a:gd name="connsiteY0" fmla="*/ 0 h 9096797"/>
              <a:gd name="connsiteX1" fmla="*/ 2836630 w 10912619"/>
              <a:gd name="connsiteY1" fmla="*/ 748119 h 9096797"/>
              <a:gd name="connsiteX2" fmla="*/ 3513152 w 10912619"/>
              <a:gd name="connsiteY2" fmla="*/ 1980793 h 9096797"/>
              <a:gd name="connsiteX3" fmla="*/ 4673468 w 10912619"/>
              <a:gd name="connsiteY3" fmla="*/ 2458601 h 9096797"/>
              <a:gd name="connsiteX4" fmla="*/ 5415102 w 10912619"/>
              <a:gd name="connsiteY4" fmla="*/ 3689965 h 9096797"/>
              <a:gd name="connsiteX5" fmla="*/ 6748700 w 10912619"/>
              <a:gd name="connsiteY5" fmla="*/ 4080508 h 9096797"/>
              <a:gd name="connsiteX6" fmla="*/ 7092770 w 10912619"/>
              <a:gd name="connsiteY6" fmla="*/ 4946627 h 9096797"/>
              <a:gd name="connsiteX7" fmla="*/ 8114230 w 10912619"/>
              <a:gd name="connsiteY7" fmla="*/ 5502085 h 9096797"/>
              <a:gd name="connsiteX8" fmla="*/ 7966078 w 10912619"/>
              <a:gd name="connsiteY8" fmla="*/ 6752751 h 9096797"/>
              <a:gd name="connsiteX9" fmla="*/ 9566801 w 10912619"/>
              <a:gd name="connsiteY9" fmla="*/ 6753908 h 9096797"/>
              <a:gd name="connsiteX10" fmla="*/ 9653891 w 10912619"/>
              <a:gd name="connsiteY10" fmla="*/ 7627899 h 9096797"/>
              <a:gd name="connsiteX11" fmla="*/ 10373471 w 10912619"/>
              <a:gd name="connsiteY11" fmla="*/ 8061349 h 9096797"/>
              <a:gd name="connsiteX12" fmla="*/ 10440624 w 10912619"/>
              <a:gd name="connsiteY12" fmla="*/ 8530034 h 9096797"/>
              <a:gd name="connsiteX13" fmla="*/ 10896622 w 10912619"/>
              <a:gd name="connsiteY13" fmla="*/ 8785464 h 9096797"/>
              <a:gd name="connsiteX14" fmla="*/ 10816111 w 10912619"/>
              <a:gd name="connsiteY14" fmla="*/ 9096797 h 9096797"/>
              <a:gd name="connsiteX0" fmla="*/ 12818 w 10912617"/>
              <a:gd name="connsiteY0" fmla="*/ 0 h 9096797"/>
              <a:gd name="connsiteX1" fmla="*/ 2836630 w 10912617"/>
              <a:gd name="connsiteY1" fmla="*/ 748119 h 9096797"/>
              <a:gd name="connsiteX2" fmla="*/ 3513152 w 10912617"/>
              <a:gd name="connsiteY2" fmla="*/ 1980793 h 9096797"/>
              <a:gd name="connsiteX3" fmla="*/ 4673468 w 10912617"/>
              <a:gd name="connsiteY3" fmla="*/ 2458601 h 9096797"/>
              <a:gd name="connsiteX4" fmla="*/ 5415102 w 10912617"/>
              <a:gd name="connsiteY4" fmla="*/ 3689965 h 9096797"/>
              <a:gd name="connsiteX5" fmla="*/ 6748700 w 10912617"/>
              <a:gd name="connsiteY5" fmla="*/ 4080508 h 9096797"/>
              <a:gd name="connsiteX6" fmla="*/ 7092770 w 10912617"/>
              <a:gd name="connsiteY6" fmla="*/ 4946627 h 9096797"/>
              <a:gd name="connsiteX7" fmla="*/ 7969169 w 10912617"/>
              <a:gd name="connsiteY7" fmla="*/ 5330956 h 9096797"/>
              <a:gd name="connsiteX8" fmla="*/ 7966078 w 10912617"/>
              <a:gd name="connsiteY8" fmla="*/ 6752751 h 9096797"/>
              <a:gd name="connsiteX9" fmla="*/ 9566801 w 10912617"/>
              <a:gd name="connsiteY9" fmla="*/ 6753908 h 9096797"/>
              <a:gd name="connsiteX10" fmla="*/ 9653891 w 10912617"/>
              <a:gd name="connsiteY10" fmla="*/ 7627899 h 9096797"/>
              <a:gd name="connsiteX11" fmla="*/ 10373471 w 10912617"/>
              <a:gd name="connsiteY11" fmla="*/ 8061349 h 9096797"/>
              <a:gd name="connsiteX12" fmla="*/ 10440624 w 10912617"/>
              <a:gd name="connsiteY12" fmla="*/ 8530034 h 9096797"/>
              <a:gd name="connsiteX13" fmla="*/ 10896622 w 10912617"/>
              <a:gd name="connsiteY13" fmla="*/ 8785464 h 9096797"/>
              <a:gd name="connsiteX14" fmla="*/ 10816111 w 10912617"/>
              <a:gd name="connsiteY14" fmla="*/ 9096797 h 9096797"/>
              <a:gd name="connsiteX0" fmla="*/ 12818 w 10912619"/>
              <a:gd name="connsiteY0" fmla="*/ 0 h 9096797"/>
              <a:gd name="connsiteX1" fmla="*/ 2836630 w 10912619"/>
              <a:gd name="connsiteY1" fmla="*/ 748119 h 9096797"/>
              <a:gd name="connsiteX2" fmla="*/ 3513152 w 10912619"/>
              <a:gd name="connsiteY2" fmla="*/ 1980793 h 9096797"/>
              <a:gd name="connsiteX3" fmla="*/ 4673468 w 10912619"/>
              <a:gd name="connsiteY3" fmla="*/ 2458601 h 9096797"/>
              <a:gd name="connsiteX4" fmla="*/ 5415102 w 10912619"/>
              <a:gd name="connsiteY4" fmla="*/ 3689965 h 9096797"/>
              <a:gd name="connsiteX5" fmla="*/ 6748700 w 10912619"/>
              <a:gd name="connsiteY5" fmla="*/ 4080508 h 9096797"/>
              <a:gd name="connsiteX6" fmla="*/ 7092770 w 10912619"/>
              <a:gd name="connsiteY6" fmla="*/ 4946627 h 9096797"/>
              <a:gd name="connsiteX7" fmla="*/ 7969169 w 10912619"/>
              <a:gd name="connsiteY7" fmla="*/ 5330956 h 9096797"/>
              <a:gd name="connsiteX8" fmla="*/ 8092947 w 10912619"/>
              <a:gd name="connsiteY8" fmla="*/ 6726043 h 9096797"/>
              <a:gd name="connsiteX9" fmla="*/ 9566801 w 10912619"/>
              <a:gd name="connsiteY9" fmla="*/ 6753908 h 9096797"/>
              <a:gd name="connsiteX10" fmla="*/ 9653891 w 10912619"/>
              <a:gd name="connsiteY10" fmla="*/ 7627899 h 9096797"/>
              <a:gd name="connsiteX11" fmla="*/ 10373471 w 10912619"/>
              <a:gd name="connsiteY11" fmla="*/ 8061349 h 9096797"/>
              <a:gd name="connsiteX12" fmla="*/ 10440624 w 10912619"/>
              <a:gd name="connsiteY12" fmla="*/ 8530034 h 9096797"/>
              <a:gd name="connsiteX13" fmla="*/ 10896622 w 10912619"/>
              <a:gd name="connsiteY13" fmla="*/ 8785464 h 9096797"/>
              <a:gd name="connsiteX14" fmla="*/ 10816111 w 10912619"/>
              <a:gd name="connsiteY14" fmla="*/ 9096797 h 9096797"/>
              <a:gd name="connsiteX0" fmla="*/ 12818 w 10912617"/>
              <a:gd name="connsiteY0" fmla="*/ 0 h 9096797"/>
              <a:gd name="connsiteX1" fmla="*/ 2836630 w 10912617"/>
              <a:gd name="connsiteY1" fmla="*/ 748119 h 9096797"/>
              <a:gd name="connsiteX2" fmla="*/ 3513152 w 10912617"/>
              <a:gd name="connsiteY2" fmla="*/ 1980793 h 9096797"/>
              <a:gd name="connsiteX3" fmla="*/ 4673468 w 10912617"/>
              <a:gd name="connsiteY3" fmla="*/ 2458601 h 9096797"/>
              <a:gd name="connsiteX4" fmla="*/ 5415102 w 10912617"/>
              <a:gd name="connsiteY4" fmla="*/ 3689965 h 9096797"/>
              <a:gd name="connsiteX5" fmla="*/ 6748700 w 10912617"/>
              <a:gd name="connsiteY5" fmla="*/ 4080508 h 9096797"/>
              <a:gd name="connsiteX6" fmla="*/ 7092770 w 10912617"/>
              <a:gd name="connsiteY6" fmla="*/ 4946627 h 9096797"/>
              <a:gd name="connsiteX7" fmla="*/ 7969169 w 10912617"/>
              <a:gd name="connsiteY7" fmla="*/ 5330956 h 9096797"/>
              <a:gd name="connsiteX8" fmla="*/ 8134378 w 10912617"/>
              <a:gd name="connsiteY8" fmla="*/ 6669273 h 9096797"/>
              <a:gd name="connsiteX9" fmla="*/ 9566801 w 10912617"/>
              <a:gd name="connsiteY9" fmla="*/ 6753908 h 9096797"/>
              <a:gd name="connsiteX10" fmla="*/ 9653891 w 10912617"/>
              <a:gd name="connsiteY10" fmla="*/ 7627899 h 9096797"/>
              <a:gd name="connsiteX11" fmla="*/ 10373471 w 10912617"/>
              <a:gd name="connsiteY11" fmla="*/ 8061349 h 9096797"/>
              <a:gd name="connsiteX12" fmla="*/ 10440624 w 10912617"/>
              <a:gd name="connsiteY12" fmla="*/ 8530034 h 9096797"/>
              <a:gd name="connsiteX13" fmla="*/ 10896622 w 10912617"/>
              <a:gd name="connsiteY13" fmla="*/ 8785464 h 9096797"/>
              <a:gd name="connsiteX14" fmla="*/ 10816111 w 10912617"/>
              <a:gd name="connsiteY14" fmla="*/ 9096797 h 9096797"/>
              <a:gd name="connsiteX0" fmla="*/ 12818 w 10912619"/>
              <a:gd name="connsiteY0" fmla="*/ 0 h 9096797"/>
              <a:gd name="connsiteX1" fmla="*/ 2836630 w 10912619"/>
              <a:gd name="connsiteY1" fmla="*/ 748119 h 9096797"/>
              <a:gd name="connsiteX2" fmla="*/ 3513152 w 10912619"/>
              <a:gd name="connsiteY2" fmla="*/ 1980793 h 9096797"/>
              <a:gd name="connsiteX3" fmla="*/ 4673468 w 10912619"/>
              <a:gd name="connsiteY3" fmla="*/ 2458601 h 9096797"/>
              <a:gd name="connsiteX4" fmla="*/ 5415102 w 10912619"/>
              <a:gd name="connsiteY4" fmla="*/ 3689965 h 9096797"/>
              <a:gd name="connsiteX5" fmla="*/ 6748700 w 10912619"/>
              <a:gd name="connsiteY5" fmla="*/ 4080508 h 9096797"/>
              <a:gd name="connsiteX6" fmla="*/ 7092770 w 10912619"/>
              <a:gd name="connsiteY6" fmla="*/ 4946627 h 9096797"/>
              <a:gd name="connsiteX7" fmla="*/ 7969169 w 10912619"/>
              <a:gd name="connsiteY7" fmla="*/ 5330956 h 9096797"/>
              <a:gd name="connsiteX8" fmla="*/ 8134378 w 10912619"/>
              <a:gd name="connsiteY8" fmla="*/ 6669273 h 9096797"/>
              <a:gd name="connsiteX9" fmla="*/ 9566801 w 10912619"/>
              <a:gd name="connsiteY9" fmla="*/ 6753908 h 9096797"/>
              <a:gd name="connsiteX10" fmla="*/ 9628305 w 10912619"/>
              <a:gd name="connsiteY10" fmla="*/ 7684721 h 9096797"/>
              <a:gd name="connsiteX11" fmla="*/ 10373471 w 10912619"/>
              <a:gd name="connsiteY11" fmla="*/ 8061349 h 9096797"/>
              <a:gd name="connsiteX12" fmla="*/ 10440624 w 10912619"/>
              <a:gd name="connsiteY12" fmla="*/ 8530034 h 9096797"/>
              <a:gd name="connsiteX13" fmla="*/ 10896622 w 10912619"/>
              <a:gd name="connsiteY13" fmla="*/ 8785464 h 9096797"/>
              <a:gd name="connsiteX14" fmla="*/ 10816111 w 10912619"/>
              <a:gd name="connsiteY14" fmla="*/ 9096797 h 9096797"/>
              <a:gd name="connsiteX0" fmla="*/ 12818 w 10912617"/>
              <a:gd name="connsiteY0" fmla="*/ 0 h 9096797"/>
              <a:gd name="connsiteX1" fmla="*/ 2836630 w 10912617"/>
              <a:gd name="connsiteY1" fmla="*/ 748119 h 9096797"/>
              <a:gd name="connsiteX2" fmla="*/ 3513152 w 10912617"/>
              <a:gd name="connsiteY2" fmla="*/ 1980793 h 9096797"/>
              <a:gd name="connsiteX3" fmla="*/ 4673468 w 10912617"/>
              <a:gd name="connsiteY3" fmla="*/ 2458601 h 9096797"/>
              <a:gd name="connsiteX4" fmla="*/ 5415102 w 10912617"/>
              <a:gd name="connsiteY4" fmla="*/ 3689965 h 9096797"/>
              <a:gd name="connsiteX5" fmla="*/ 6748700 w 10912617"/>
              <a:gd name="connsiteY5" fmla="*/ 4080508 h 9096797"/>
              <a:gd name="connsiteX6" fmla="*/ 7092770 w 10912617"/>
              <a:gd name="connsiteY6" fmla="*/ 4946627 h 9096797"/>
              <a:gd name="connsiteX7" fmla="*/ 7969169 w 10912617"/>
              <a:gd name="connsiteY7" fmla="*/ 5330956 h 9096797"/>
              <a:gd name="connsiteX8" fmla="*/ 8134378 w 10912617"/>
              <a:gd name="connsiteY8" fmla="*/ 6669273 h 9096797"/>
              <a:gd name="connsiteX9" fmla="*/ 9566801 w 10912617"/>
              <a:gd name="connsiteY9" fmla="*/ 6753908 h 9096797"/>
              <a:gd name="connsiteX10" fmla="*/ 9628305 w 10912617"/>
              <a:gd name="connsiteY10" fmla="*/ 7684721 h 9096797"/>
              <a:gd name="connsiteX11" fmla="*/ 10373471 w 10912617"/>
              <a:gd name="connsiteY11" fmla="*/ 8061349 h 9096797"/>
              <a:gd name="connsiteX12" fmla="*/ 10440624 w 10912617"/>
              <a:gd name="connsiteY12" fmla="*/ 8530034 h 9096797"/>
              <a:gd name="connsiteX13" fmla="*/ 10896622 w 10912617"/>
              <a:gd name="connsiteY13" fmla="*/ 8785464 h 9096797"/>
              <a:gd name="connsiteX14" fmla="*/ 10816111 w 10912617"/>
              <a:gd name="connsiteY14" fmla="*/ 9096797 h 9096797"/>
              <a:gd name="connsiteX0" fmla="*/ 12818 w 10912619"/>
              <a:gd name="connsiteY0" fmla="*/ 0 h 9096797"/>
              <a:gd name="connsiteX1" fmla="*/ 2836630 w 10912619"/>
              <a:gd name="connsiteY1" fmla="*/ 748119 h 9096797"/>
              <a:gd name="connsiteX2" fmla="*/ 3513152 w 10912619"/>
              <a:gd name="connsiteY2" fmla="*/ 1980793 h 9096797"/>
              <a:gd name="connsiteX3" fmla="*/ 4673468 w 10912619"/>
              <a:gd name="connsiteY3" fmla="*/ 2458601 h 9096797"/>
              <a:gd name="connsiteX4" fmla="*/ 5415102 w 10912619"/>
              <a:gd name="connsiteY4" fmla="*/ 3689965 h 9096797"/>
              <a:gd name="connsiteX5" fmla="*/ 6748700 w 10912619"/>
              <a:gd name="connsiteY5" fmla="*/ 4080508 h 9096797"/>
              <a:gd name="connsiteX6" fmla="*/ 7092770 w 10912619"/>
              <a:gd name="connsiteY6" fmla="*/ 4946627 h 9096797"/>
              <a:gd name="connsiteX7" fmla="*/ 7969169 w 10912619"/>
              <a:gd name="connsiteY7" fmla="*/ 5330956 h 9096797"/>
              <a:gd name="connsiteX8" fmla="*/ 8134378 w 10912619"/>
              <a:gd name="connsiteY8" fmla="*/ 6669273 h 9096797"/>
              <a:gd name="connsiteX9" fmla="*/ 9566801 w 10912619"/>
              <a:gd name="connsiteY9" fmla="*/ 6753908 h 9096797"/>
              <a:gd name="connsiteX10" fmla="*/ 9672592 w 10912619"/>
              <a:gd name="connsiteY10" fmla="*/ 7703821 h 9096797"/>
              <a:gd name="connsiteX11" fmla="*/ 10373471 w 10912619"/>
              <a:gd name="connsiteY11" fmla="*/ 8061349 h 9096797"/>
              <a:gd name="connsiteX12" fmla="*/ 10440624 w 10912619"/>
              <a:gd name="connsiteY12" fmla="*/ 8530034 h 9096797"/>
              <a:gd name="connsiteX13" fmla="*/ 10896622 w 10912619"/>
              <a:gd name="connsiteY13" fmla="*/ 8785464 h 9096797"/>
              <a:gd name="connsiteX14" fmla="*/ 10816111 w 10912619"/>
              <a:gd name="connsiteY14" fmla="*/ 9096797 h 9096797"/>
              <a:gd name="connsiteX0" fmla="*/ 12818 w 10912617"/>
              <a:gd name="connsiteY0" fmla="*/ 0 h 9096797"/>
              <a:gd name="connsiteX1" fmla="*/ 2836630 w 10912617"/>
              <a:gd name="connsiteY1" fmla="*/ 748119 h 9096797"/>
              <a:gd name="connsiteX2" fmla="*/ 3513152 w 10912617"/>
              <a:gd name="connsiteY2" fmla="*/ 1980793 h 9096797"/>
              <a:gd name="connsiteX3" fmla="*/ 4673468 w 10912617"/>
              <a:gd name="connsiteY3" fmla="*/ 2458601 h 9096797"/>
              <a:gd name="connsiteX4" fmla="*/ 5415102 w 10912617"/>
              <a:gd name="connsiteY4" fmla="*/ 3689965 h 9096797"/>
              <a:gd name="connsiteX5" fmla="*/ 6748700 w 10912617"/>
              <a:gd name="connsiteY5" fmla="*/ 4080508 h 9096797"/>
              <a:gd name="connsiteX6" fmla="*/ 7092770 w 10912617"/>
              <a:gd name="connsiteY6" fmla="*/ 4946627 h 9096797"/>
              <a:gd name="connsiteX7" fmla="*/ 7969169 w 10912617"/>
              <a:gd name="connsiteY7" fmla="*/ 5330956 h 9096797"/>
              <a:gd name="connsiteX8" fmla="*/ 8134378 w 10912617"/>
              <a:gd name="connsiteY8" fmla="*/ 6669273 h 9096797"/>
              <a:gd name="connsiteX9" fmla="*/ 9633090 w 10912617"/>
              <a:gd name="connsiteY9" fmla="*/ 6816424 h 9096797"/>
              <a:gd name="connsiteX10" fmla="*/ 9672592 w 10912617"/>
              <a:gd name="connsiteY10" fmla="*/ 7703821 h 9096797"/>
              <a:gd name="connsiteX11" fmla="*/ 10373471 w 10912617"/>
              <a:gd name="connsiteY11" fmla="*/ 8061349 h 9096797"/>
              <a:gd name="connsiteX12" fmla="*/ 10440624 w 10912617"/>
              <a:gd name="connsiteY12" fmla="*/ 8530034 h 9096797"/>
              <a:gd name="connsiteX13" fmla="*/ 10896622 w 10912617"/>
              <a:gd name="connsiteY13" fmla="*/ 8785464 h 9096797"/>
              <a:gd name="connsiteX14" fmla="*/ 10816111 w 10912617"/>
              <a:gd name="connsiteY14" fmla="*/ 9096797 h 9096797"/>
              <a:gd name="connsiteX0" fmla="*/ 12818 w 10912619"/>
              <a:gd name="connsiteY0" fmla="*/ 0 h 9096797"/>
              <a:gd name="connsiteX1" fmla="*/ 2836630 w 10912619"/>
              <a:gd name="connsiteY1" fmla="*/ 748119 h 9096797"/>
              <a:gd name="connsiteX2" fmla="*/ 3513152 w 10912619"/>
              <a:gd name="connsiteY2" fmla="*/ 1980793 h 9096797"/>
              <a:gd name="connsiteX3" fmla="*/ 4673468 w 10912619"/>
              <a:gd name="connsiteY3" fmla="*/ 2458601 h 9096797"/>
              <a:gd name="connsiteX4" fmla="*/ 5415102 w 10912619"/>
              <a:gd name="connsiteY4" fmla="*/ 3689965 h 9096797"/>
              <a:gd name="connsiteX5" fmla="*/ 6748700 w 10912619"/>
              <a:gd name="connsiteY5" fmla="*/ 4080508 h 9096797"/>
              <a:gd name="connsiteX6" fmla="*/ 7092770 w 10912619"/>
              <a:gd name="connsiteY6" fmla="*/ 4946627 h 9096797"/>
              <a:gd name="connsiteX7" fmla="*/ 7969169 w 10912619"/>
              <a:gd name="connsiteY7" fmla="*/ 5330956 h 9096797"/>
              <a:gd name="connsiteX8" fmla="*/ 8134378 w 10912619"/>
              <a:gd name="connsiteY8" fmla="*/ 6669273 h 9096797"/>
              <a:gd name="connsiteX9" fmla="*/ 9633090 w 10912619"/>
              <a:gd name="connsiteY9" fmla="*/ 6816424 h 9096797"/>
              <a:gd name="connsiteX10" fmla="*/ 9672592 w 10912619"/>
              <a:gd name="connsiteY10" fmla="*/ 7703821 h 9096797"/>
              <a:gd name="connsiteX11" fmla="*/ 10373471 w 10912619"/>
              <a:gd name="connsiteY11" fmla="*/ 8061349 h 9096797"/>
              <a:gd name="connsiteX12" fmla="*/ 10440624 w 10912619"/>
              <a:gd name="connsiteY12" fmla="*/ 8530034 h 9096797"/>
              <a:gd name="connsiteX13" fmla="*/ 10896622 w 10912619"/>
              <a:gd name="connsiteY13" fmla="*/ 8785464 h 9096797"/>
              <a:gd name="connsiteX14" fmla="*/ 10816111 w 10912619"/>
              <a:gd name="connsiteY14" fmla="*/ 9096797 h 9096797"/>
              <a:gd name="connsiteX0" fmla="*/ 12818 w 10912617"/>
              <a:gd name="connsiteY0" fmla="*/ 0 h 9096797"/>
              <a:gd name="connsiteX1" fmla="*/ 2836630 w 10912617"/>
              <a:gd name="connsiteY1" fmla="*/ 748119 h 9096797"/>
              <a:gd name="connsiteX2" fmla="*/ 3513152 w 10912617"/>
              <a:gd name="connsiteY2" fmla="*/ 1980793 h 9096797"/>
              <a:gd name="connsiteX3" fmla="*/ 4673468 w 10912617"/>
              <a:gd name="connsiteY3" fmla="*/ 2458601 h 9096797"/>
              <a:gd name="connsiteX4" fmla="*/ 5415102 w 10912617"/>
              <a:gd name="connsiteY4" fmla="*/ 3689965 h 9096797"/>
              <a:gd name="connsiteX5" fmla="*/ 6748700 w 10912617"/>
              <a:gd name="connsiteY5" fmla="*/ 4080508 h 9096797"/>
              <a:gd name="connsiteX6" fmla="*/ 7092770 w 10912617"/>
              <a:gd name="connsiteY6" fmla="*/ 4946627 h 9096797"/>
              <a:gd name="connsiteX7" fmla="*/ 7969169 w 10912617"/>
              <a:gd name="connsiteY7" fmla="*/ 5330956 h 9096797"/>
              <a:gd name="connsiteX8" fmla="*/ 8134378 w 10912617"/>
              <a:gd name="connsiteY8" fmla="*/ 6669273 h 9096797"/>
              <a:gd name="connsiteX9" fmla="*/ 9633090 w 10912617"/>
              <a:gd name="connsiteY9" fmla="*/ 6816424 h 9096797"/>
              <a:gd name="connsiteX10" fmla="*/ 9672592 w 10912617"/>
              <a:gd name="connsiteY10" fmla="*/ 7703821 h 9096797"/>
              <a:gd name="connsiteX11" fmla="*/ 10373471 w 10912617"/>
              <a:gd name="connsiteY11" fmla="*/ 8061349 h 9096797"/>
              <a:gd name="connsiteX12" fmla="*/ 10440624 w 10912617"/>
              <a:gd name="connsiteY12" fmla="*/ 8530034 h 9096797"/>
              <a:gd name="connsiteX13" fmla="*/ 10896622 w 10912617"/>
              <a:gd name="connsiteY13" fmla="*/ 8785464 h 9096797"/>
              <a:gd name="connsiteX14" fmla="*/ 10816111 w 10912617"/>
              <a:gd name="connsiteY14" fmla="*/ 9096797 h 9096797"/>
              <a:gd name="connsiteX0" fmla="*/ 12818 w 10835603"/>
              <a:gd name="connsiteY0" fmla="*/ 0 h 9096797"/>
              <a:gd name="connsiteX1" fmla="*/ 2836630 w 10835603"/>
              <a:gd name="connsiteY1" fmla="*/ 748119 h 9096797"/>
              <a:gd name="connsiteX2" fmla="*/ 3513152 w 10835603"/>
              <a:gd name="connsiteY2" fmla="*/ 1980793 h 9096797"/>
              <a:gd name="connsiteX3" fmla="*/ 4673468 w 10835603"/>
              <a:gd name="connsiteY3" fmla="*/ 2458601 h 9096797"/>
              <a:gd name="connsiteX4" fmla="*/ 5415102 w 10835603"/>
              <a:gd name="connsiteY4" fmla="*/ 3689965 h 9096797"/>
              <a:gd name="connsiteX5" fmla="*/ 6748700 w 10835603"/>
              <a:gd name="connsiteY5" fmla="*/ 4080508 h 9096797"/>
              <a:gd name="connsiteX6" fmla="*/ 7092770 w 10835603"/>
              <a:gd name="connsiteY6" fmla="*/ 4946627 h 9096797"/>
              <a:gd name="connsiteX7" fmla="*/ 7969169 w 10835603"/>
              <a:gd name="connsiteY7" fmla="*/ 5330956 h 9096797"/>
              <a:gd name="connsiteX8" fmla="*/ 8134378 w 10835603"/>
              <a:gd name="connsiteY8" fmla="*/ 6669273 h 9096797"/>
              <a:gd name="connsiteX9" fmla="*/ 9633090 w 10835603"/>
              <a:gd name="connsiteY9" fmla="*/ 6816424 h 9096797"/>
              <a:gd name="connsiteX10" fmla="*/ 9672592 w 10835603"/>
              <a:gd name="connsiteY10" fmla="*/ 7703821 h 9096797"/>
              <a:gd name="connsiteX11" fmla="*/ 10373471 w 10835603"/>
              <a:gd name="connsiteY11" fmla="*/ 8061349 h 9096797"/>
              <a:gd name="connsiteX12" fmla="*/ 10440624 w 10835603"/>
              <a:gd name="connsiteY12" fmla="*/ 8530034 h 9096797"/>
              <a:gd name="connsiteX13" fmla="*/ 10803563 w 10835603"/>
              <a:gd name="connsiteY13" fmla="*/ 8838877 h 9096797"/>
              <a:gd name="connsiteX14" fmla="*/ 10816111 w 10835603"/>
              <a:gd name="connsiteY14" fmla="*/ 9096797 h 9096797"/>
              <a:gd name="connsiteX0" fmla="*/ 12818 w 10857942"/>
              <a:gd name="connsiteY0" fmla="*/ 0 h 9096797"/>
              <a:gd name="connsiteX1" fmla="*/ 2836630 w 10857942"/>
              <a:gd name="connsiteY1" fmla="*/ 748119 h 9096797"/>
              <a:gd name="connsiteX2" fmla="*/ 3513152 w 10857942"/>
              <a:gd name="connsiteY2" fmla="*/ 1980793 h 9096797"/>
              <a:gd name="connsiteX3" fmla="*/ 4673468 w 10857942"/>
              <a:gd name="connsiteY3" fmla="*/ 2458601 h 9096797"/>
              <a:gd name="connsiteX4" fmla="*/ 5415102 w 10857942"/>
              <a:gd name="connsiteY4" fmla="*/ 3689965 h 9096797"/>
              <a:gd name="connsiteX5" fmla="*/ 6748700 w 10857942"/>
              <a:gd name="connsiteY5" fmla="*/ 4080508 h 9096797"/>
              <a:gd name="connsiteX6" fmla="*/ 7092770 w 10857942"/>
              <a:gd name="connsiteY6" fmla="*/ 4946627 h 9096797"/>
              <a:gd name="connsiteX7" fmla="*/ 7969169 w 10857942"/>
              <a:gd name="connsiteY7" fmla="*/ 5330956 h 9096797"/>
              <a:gd name="connsiteX8" fmla="*/ 8134378 w 10857942"/>
              <a:gd name="connsiteY8" fmla="*/ 6669273 h 9096797"/>
              <a:gd name="connsiteX9" fmla="*/ 9633090 w 10857942"/>
              <a:gd name="connsiteY9" fmla="*/ 6816424 h 9096797"/>
              <a:gd name="connsiteX10" fmla="*/ 9672592 w 10857942"/>
              <a:gd name="connsiteY10" fmla="*/ 7703821 h 9096797"/>
              <a:gd name="connsiteX11" fmla="*/ 10373471 w 10857942"/>
              <a:gd name="connsiteY11" fmla="*/ 8061349 h 9096797"/>
              <a:gd name="connsiteX12" fmla="*/ 10440624 w 10857942"/>
              <a:gd name="connsiteY12" fmla="*/ 8530034 h 9096797"/>
              <a:gd name="connsiteX13" fmla="*/ 10833715 w 10857942"/>
              <a:gd name="connsiteY13" fmla="*/ 8810953 h 9096797"/>
              <a:gd name="connsiteX14" fmla="*/ 10816111 w 10857942"/>
              <a:gd name="connsiteY14" fmla="*/ 9096797 h 9096797"/>
              <a:gd name="connsiteX0" fmla="*/ 12818 w 10816331"/>
              <a:gd name="connsiteY0" fmla="*/ 0 h 9096797"/>
              <a:gd name="connsiteX1" fmla="*/ 2836630 w 10816331"/>
              <a:gd name="connsiteY1" fmla="*/ 748119 h 9096797"/>
              <a:gd name="connsiteX2" fmla="*/ 3513152 w 10816331"/>
              <a:gd name="connsiteY2" fmla="*/ 1980793 h 9096797"/>
              <a:gd name="connsiteX3" fmla="*/ 4673468 w 10816331"/>
              <a:gd name="connsiteY3" fmla="*/ 2458601 h 9096797"/>
              <a:gd name="connsiteX4" fmla="*/ 5415102 w 10816331"/>
              <a:gd name="connsiteY4" fmla="*/ 3689965 h 9096797"/>
              <a:gd name="connsiteX5" fmla="*/ 6748700 w 10816331"/>
              <a:gd name="connsiteY5" fmla="*/ 4080508 h 9096797"/>
              <a:gd name="connsiteX6" fmla="*/ 7092770 w 10816331"/>
              <a:gd name="connsiteY6" fmla="*/ 4946627 h 9096797"/>
              <a:gd name="connsiteX7" fmla="*/ 7969169 w 10816331"/>
              <a:gd name="connsiteY7" fmla="*/ 5330956 h 9096797"/>
              <a:gd name="connsiteX8" fmla="*/ 8134378 w 10816331"/>
              <a:gd name="connsiteY8" fmla="*/ 6669273 h 9096797"/>
              <a:gd name="connsiteX9" fmla="*/ 9633090 w 10816331"/>
              <a:gd name="connsiteY9" fmla="*/ 6816424 h 9096797"/>
              <a:gd name="connsiteX10" fmla="*/ 9672592 w 10816331"/>
              <a:gd name="connsiteY10" fmla="*/ 7703821 h 9096797"/>
              <a:gd name="connsiteX11" fmla="*/ 10373471 w 10816331"/>
              <a:gd name="connsiteY11" fmla="*/ 8061349 h 9096797"/>
              <a:gd name="connsiteX12" fmla="*/ 10440624 w 10816331"/>
              <a:gd name="connsiteY12" fmla="*/ 8530034 h 9096797"/>
              <a:gd name="connsiteX13" fmla="*/ 10744818 w 10816331"/>
              <a:gd name="connsiteY13" fmla="*/ 8916927 h 9096797"/>
              <a:gd name="connsiteX14" fmla="*/ 10816111 w 10816331"/>
              <a:gd name="connsiteY14" fmla="*/ 9096797 h 9096797"/>
              <a:gd name="connsiteX0" fmla="*/ 12818 w 10768253"/>
              <a:gd name="connsiteY0" fmla="*/ 0 h 9215434"/>
              <a:gd name="connsiteX1" fmla="*/ 2836630 w 10768253"/>
              <a:gd name="connsiteY1" fmla="*/ 748119 h 9215434"/>
              <a:gd name="connsiteX2" fmla="*/ 3513152 w 10768253"/>
              <a:gd name="connsiteY2" fmla="*/ 1980793 h 9215434"/>
              <a:gd name="connsiteX3" fmla="*/ 4673468 w 10768253"/>
              <a:gd name="connsiteY3" fmla="*/ 2458601 h 9215434"/>
              <a:gd name="connsiteX4" fmla="*/ 5415102 w 10768253"/>
              <a:gd name="connsiteY4" fmla="*/ 3689965 h 9215434"/>
              <a:gd name="connsiteX5" fmla="*/ 6748700 w 10768253"/>
              <a:gd name="connsiteY5" fmla="*/ 4080508 h 9215434"/>
              <a:gd name="connsiteX6" fmla="*/ 7092770 w 10768253"/>
              <a:gd name="connsiteY6" fmla="*/ 4946627 h 9215434"/>
              <a:gd name="connsiteX7" fmla="*/ 7969169 w 10768253"/>
              <a:gd name="connsiteY7" fmla="*/ 5330956 h 9215434"/>
              <a:gd name="connsiteX8" fmla="*/ 8134378 w 10768253"/>
              <a:gd name="connsiteY8" fmla="*/ 6669273 h 9215434"/>
              <a:gd name="connsiteX9" fmla="*/ 9633090 w 10768253"/>
              <a:gd name="connsiteY9" fmla="*/ 6816424 h 9215434"/>
              <a:gd name="connsiteX10" fmla="*/ 9672592 w 10768253"/>
              <a:gd name="connsiteY10" fmla="*/ 7703821 h 9215434"/>
              <a:gd name="connsiteX11" fmla="*/ 10373471 w 10768253"/>
              <a:gd name="connsiteY11" fmla="*/ 8061349 h 9215434"/>
              <a:gd name="connsiteX12" fmla="*/ 10440624 w 10768253"/>
              <a:gd name="connsiteY12" fmla="*/ 8530034 h 9215434"/>
              <a:gd name="connsiteX13" fmla="*/ 10744818 w 10768253"/>
              <a:gd name="connsiteY13" fmla="*/ 8916927 h 9215434"/>
              <a:gd name="connsiteX14" fmla="*/ 10746119 w 10768253"/>
              <a:gd name="connsiteY14" fmla="*/ 9215435 h 9215434"/>
              <a:gd name="connsiteX0" fmla="*/ 12818 w 10768253"/>
              <a:gd name="connsiteY0" fmla="*/ 0 h 9215435"/>
              <a:gd name="connsiteX1" fmla="*/ 2836630 w 10768253"/>
              <a:gd name="connsiteY1" fmla="*/ 748119 h 9215435"/>
              <a:gd name="connsiteX2" fmla="*/ 3513152 w 10768253"/>
              <a:gd name="connsiteY2" fmla="*/ 1980793 h 9215435"/>
              <a:gd name="connsiteX3" fmla="*/ 4673468 w 10768253"/>
              <a:gd name="connsiteY3" fmla="*/ 2458601 h 9215435"/>
              <a:gd name="connsiteX4" fmla="*/ 5415102 w 10768253"/>
              <a:gd name="connsiteY4" fmla="*/ 3689965 h 9215435"/>
              <a:gd name="connsiteX5" fmla="*/ 6748700 w 10768253"/>
              <a:gd name="connsiteY5" fmla="*/ 4080508 h 9215435"/>
              <a:gd name="connsiteX6" fmla="*/ 7635236 w 10768253"/>
              <a:gd name="connsiteY6" fmla="*/ 4373732 h 9215435"/>
              <a:gd name="connsiteX7" fmla="*/ 7969169 w 10768253"/>
              <a:gd name="connsiteY7" fmla="*/ 5330956 h 9215435"/>
              <a:gd name="connsiteX8" fmla="*/ 8134378 w 10768253"/>
              <a:gd name="connsiteY8" fmla="*/ 6669273 h 9215435"/>
              <a:gd name="connsiteX9" fmla="*/ 9633090 w 10768253"/>
              <a:gd name="connsiteY9" fmla="*/ 6816424 h 9215435"/>
              <a:gd name="connsiteX10" fmla="*/ 9672592 w 10768253"/>
              <a:gd name="connsiteY10" fmla="*/ 7703821 h 9215435"/>
              <a:gd name="connsiteX11" fmla="*/ 10373471 w 10768253"/>
              <a:gd name="connsiteY11" fmla="*/ 8061349 h 9215435"/>
              <a:gd name="connsiteX12" fmla="*/ 10440624 w 10768253"/>
              <a:gd name="connsiteY12" fmla="*/ 8530034 h 9215435"/>
              <a:gd name="connsiteX13" fmla="*/ 10744818 w 10768253"/>
              <a:gd name="connsiteY13" fmla="*/ 8916927 h 9215435"/>
              <a:gd name="connsiteX14" fmla="*/ 10746119 w 10768253"/>
              <a:gd name="connsiteY14" fmla="*/ 9215435 h 9215435"/>
              <a:gd name="connsiteX0" fmla="*/ 12818 w 10768253"/>
              <a:gd name="connsiteY0" fmla="*/ 0 h 9215435"/>
              <a:gd name="connsiteX1" fmla="*/ 2836630 w 10768253"/>
              <a:gd name="connsiteY1" fmla="*/ 748119 h 9215435"/>
              <a:gd name="connsiteX2" fmla="*/ 3513152 w 10768253"/>
              <a:gd name="connsiteY2" fmla="*/ 1980793 h 9215435"/>
              <a:gd name="connsiteX3" fmla="*/ 4673468 w 10768253"/>
              <a:gd name="connsiteY3" fmla="*/ 2458601 h 9215435"/>
              <a:gd name="connsiteX4" fmla="*/ 5415102 w 10768253"/>
              <a:gd name="connsiteY4" fmla="*/ 3689965 h 9215435"/>
              <a:gd name="connsiteX5" fmla="*/ 6748700 w 10768253"/>
              <a:gd name="connsiteY5" fmla="*/ 4080508 h 9215435"/>
              <a:gd name="connsiteX6" fmla="*/ 7969169 w 10768253"/>
              <a:gd name="connsiteY6" fmla="*/ 5330956 h 9215435"/>
              <a:gd name="connsiteX7" fmla="*/ 8134378 w 10768253"/>
              <a:gd name="connsiteY7" fmla="*/ 6669273 h 9215435"/>
              <a:gd name="connsiteX8" fmla="*/ 9633090 w 10768253"/>
              <a:gd name="connsiteY8" fmla="*/ 6816424 h 9215435"/>
              <a:gd name="connsiteX9" fmla="*/ 9672592 w 10768253"/>
              <a:gd name="connsiteY9" fmla="*/ 7703821 h 9215435"/>
              <a:gd name="connsiteX10" fmla="*/ 10373471 w 10768253"/>
              <a:gd name="connsiteY10" fmla="*/ 8061349 h 9215435"/>
              <a:gd name="connsiteX11" fmla="*/ 10440624 w 10768253"/>
              <a:gd name="connsiteY11" fmla="*/ 8530034 h 9215435"/>
              <a:gd name="connsiteX12" fmla="*/ 10744818 w 10768253"/>
              <a:gd name="connsiteY12" fmla="*/ 8916927 h 9215435"/>
              <a:gd name="connsiteX13" fmla="*/ 10746119 w 10768253"/>
              <a:gd name="connsiteY13" fmla="*/ 9215435 h 9215435"/>
              <a:gd name="connsiteX0" fmla="*/ 12818 w 10768253"/>
              <a:gd name="connsiteY0" fmla="*/ 0 h 9215435"/>
              <a:gd name="connsiteX1" fmla="*/ 2836630 w 10768253"/>
              <a:gd name="connsiteY1" fmla="*/ 748119 h 9215435"/>
              <a:gd name="connsiteX2" fmla="*/ 3513152 w 10768253"/>
              <a:gd name="connsiteY2" fmla="*/ 1980793 h 9215435"/>
              <a:gd name="connsiteX3" fmla="*/ 4673468 w 10768253"/>
              <a:gd name="connsiteY3" fmla="*/ 2458601 h 9215435"/>
              <a:gd name="connsiteX4" fmla="*/ 5415102 w 10768253"/>
              <a:gd name="connsiteY4" fmla="*/ 3689965 h 9215435"/>
              <a:gd name="connsiteX5" fmla="*/ 6748700 w 10768253"/>
              <a:gd name="connsiteY5" fmla="*/ 4080508 h 9215435"/>
              <a:gd name="connsiteX6" fmla="*/ 7776330 w 10768253"/>
              <a:gd name="connsiteY6" fmla="*/ 4884704 h 9215435"/>
              <a:gd name="connsiteX7" fmla="*/ 8134378 w 10768253"/>
              <a:gd name="connsiteY7" fmla="*/ 6669273 h 9215435"/>
              <a:gd name="connsiteX8" fmla="*/ 9633090 w 10768253"/>
              <a:gd name="connsiteY8" fmla="*/ 6816424 h 9215435"/>
              <a:gd name="connsiteX9" fmla="*/ 9672592 w 10768253"/>
              <a:gd name="connsiteY9" fmla="*/ 7703821 h 9215435"/>
              <a:gd name="connsiteX10" fmla="*/ 10373471 w 10768253"/>
              <a:gd name="connsiteY10" fmla="*/ 8061349 h 9215435"/>
              <a:gd name="connsiteX11" fmla="*/ 10440624 w 10768253"/>
              <a:gd name="connsiteY11" fmla="*/ 8530034 h 9215435"/>
              <a:gd name="connsiteX12" fmla="*/ 10744818 w 10768253"/>
              <a:gd name="connsiteY12" fmla="*/ 8916927 h 9215435"/>
              <a:gd name="connsiteX13" fmla="*/ 10746119 w 10768253"/>
              <a:gd name="connsiteY13" fmla="*/ 9215435 h 9215435"/>
              <a:gd name="connsiteX0" fmla="*/ 12818 w 10768253"/>
              <a:gd name="connsiteY0" fmla="*/ 0 h 9215435"/>
              <a:gd name="connsiteX1" fmla="*/ 2836630 w 10768253"/>
              <a:gd name="connsiteY1" fmla="*/ 748119 h 9215435"/>
              <a:gd name="connsiteX2" fmla="*/ 3513152 w 10768253"/>
              <a:gd name="connsiteY2" fmla="*/ 1980793 h 9215435"/>
              <a:gd name="connsiteX3" fmla="*/ 4673468 w 10768253"/>
              <a:gd name="connsiteY3" fmla="*/ 2458601 h 9215435"/>
              <a:gd name="connsiteX4" fmla="*/ 5415102 w 10768253"/>
              <a:gd name="connsiteY4" fmla="*/ 3689965 h 9215435"/>
              <a:gd name="connsiteX5" fmla="*/ 7776330 w 10768253"/>
              <a:gd name="connsiteY5" fmla="*/ 4884704 h 9215435"/>
              <a:gd name="connsiteX6" fmla="*/ 8134378 w 10768253"/>
              <a:gd name="connsiteY6" fmla="*/ 6669273 h 9215435"/>
              <a:gd name="connsiteX7" fmla="*/ 9633090 w 10768253"/>
              <a:gd name="connsiteY7" fmla="*/ 6816424 h 9215435"/>
              <a:gd name="connsiteX8" fmla="*/ 9672592 w 10768253"/>
              <a:gd name="connsiteY8" fmla="*/ 7703821 h 9215435"/>
              <a:gd name="connsiteX9" fmla="*/ 10373471 w 10768253"/>
              <a:gd name="connsiteY9" fmla="*/ 8061349 h 9215435"/>
              <a:gd name="connsiteX10" fmla="*/ 10440624 w 10768253"/>
              <a:gd name="connsiteY10" fmla="*/ 8530034 h 9215435"/>
              <a:gd name="connsiteX11" fmla="*/ 10744818 w 10768253"/>
              <a:gd name="connsiteY11" fmla="*/ 8916927 h 9215435"/>
              <a:gd name="connsiteX12" fmla="*/ 10746119 w 10768253"/>
              <a:gd name="connsiteY12" fmla="*/ 9215435 h 9215435"/>
              <a:gd name="connsiteX0" fmla="*/ 12818 w 10768253"/>
              <a:gd name="connsiteY0" fmla="*/ 0 h 9215435"/>
              <a:gd name="connsiteX1" fmla="*/ 2836630 w 10768253"/>
              <a:gd name="connsiteY1" fmla="*/ 748119 h 9215435"/>
              <a:gd name="connsiteX2" fmla="*/ 3513152 w 10768253"/>
              <a:gd name="connsiteY2" fmla="*/ 1980793 h 9215435"/>
              <a:gd name="connsiteX3" fmla="*/ 4673468 w 10768253"/>
              <a:gd name="connsiteY3" fmla="*/ 2458601 h 9215435"/>
              <a:gd name="connsiteX4" fmla="*/ 5415102 w 10768253"/>
              <a:gd name="connsiteY4" fmla="*/ 3689965 h 9215435"/>
              <a:gd name="connsiteX5" fmla="*/ 7350816 w 10768253"/>
              <a:gd name="connsiteY5" fmla="*/ 4512921 h 9215435"/>
              <a:gd name="connsiteX6" fmla="*/ 8134378 w 10768253"/>
              <a:gd name="connsiteY6" fmla="*/ 6669273 h 9215435"/>
              <a:gd name="connsiteX7" fmla="*/ 9633090 w 10768253"/>
              <a:gd name="connsiteY7" fmla="*/ 6816424 h 9215435"/>
              <a:gd name="connsiteX8" fmla="*/ 9672592 w 10768253"/>
              <a:gd name="connsiteY8" fmla="*/ 7703821 h 9215435"/>
              <a:gd name="connsiteX9" fmla="*/ 10373471 w 10768253"/>
              <a:gd name="connsiteY9" fmla="*/ 8061349 h 9215435"/>
              <a:gd name="connsiteX10" fmla="*/ 10440624 w 10768253"/>
              <a:gd name="connsiteY10" fmla="*/ 8530034 h 9215435"/>
              <a:gd name="connsiteX11" fmla="*/ 10744818 w 10768253"/>
              <a:gd name="connsiteY11" fmla="*/ 8916927 h 9215435"/>
              <a:gd name="connsiteX12" fmla="*/ 10746119 w 10768253"/>
              <a:gd name="connsiteY12" fmla="*/ 9215435 h 9215435"/>
              <a:gd name="connsiteX0" fmla="*/ 12818 w 10768253"/>
              <a:gd name="connsiteY0" fmla="*/ 0 h 9215435"/>
              <a:gd name="connsiteX1" fmla="*/ 2836630 w 10768253"/>
              <a:gd name="connsiteY1" fmla="*/ 748119 h 9215435"/>
              <a:gd name="connsiteX2" fmla="*/ 3513152 w 10768253"/>
              <a:gd name="connsiteY2" fmla="*/ 1980793 h 9215435"/>
              <a:gd name="connsiteX3" fmla="*/ 4673468 w 10768253"/>
              <a:gd name="connsiteY3" fmla="*/ 2458601 h 9215435"/>
              <a:gd name="connsiteX4" fmla="*/ 5415102 w 10768253"/>
              <a:gd name="connsiteY4" fmla="*/ 3689965 h 9215435"/>
              <a:gd name="connsiteX5" fmla="*/ 7582490 w 10768253"/>
              <a:gd name="connsiteY5" fmla="*/ 4680077 h 9215435"/>
              <a:gd name="connsiteX6" fmla="*/ 8134378 w 10768253"/>
              <a:gd name="connsiteY6" fmla="*/ 6669273 h 9215435"/>
              <a:gd name="connsiteX7" fmla="*/ 9633090 w 10768253"/>
              <a:gd name="connsiteY7" fmla="*/ 6816424 h 9215435"/>
              <a:gd name="connsiteX8" fmla="*/ 9672592 w 10768253"/>
              <a:gd name="connsiteY8" fmla="*/ 7703821 h 9215435"/>
              <a:gd name="connsiteX9" fmla="*/ 10373471 w 10768253"/>
              <a:gd name="connsiteY9" fmla="*/ 8061349 h 9215435"/>
              <a:gd name="connsiteX10" fmla="*/ 10440624 w 10768253"/>
              <a:gd name="connsiteY10" fmla="*/ 8530034 h 9215435"/>
              <a:gd name="connsiteX11" fmla="*/ 10744818 w 10768253"/>
              <a:gd name="connsiteY11" fmla="*/ 8916927 h 9215435"/>
              <a:gd name="connsiteX12" fmla="*/ 10746119 w 10768253"/>
              <a:gd name="connsiteY12" fmla="*/ 9215435 h 9215435"/>
              <a:gd name="connsiteX0" fmla="*/ 12818 w 10768253"/>
              <a:gd name="connsiteY0" fmla="*/ 0 h 9215435"/>
              <a:gd name="connsiteX1" fmla="*/ 2836630 w 10768253"/>
              <a:gd name="connsiteY1" fmla="*/ 748119 h 9215435"/>
              <a:gd name="connsiteX2" fmla="*/ 3513152 w 10768253"/>
              <a:gd name="connsiteY2" fmla="*/ 1980793 h 9215435"/>
              <a:gd name="connsiteX3" fmla="*/ 4673468 w 10768253"/>
              <a:gd name="connsiteY3" fmla="*/ 2458601 h 9215435"/>
              <a:gd name="connsiteX4" fmla="*/ 6262915 w 10768253"/>
              <a:gd name="connsiteY4" fmla="*/ 3692531 h 9215435"/>
              <a:gd name="connsiteX5" fmla="*/ 7582490 w 10768253"/>
              <a:gd name="connsiteY5" fmla="*/ 4680077 h 9215435"/>
              <a:gd name="connsiteX6" fmla="*/ 8134378 w 10768253"/>
              <a:gd name="connsiteY6" fmla="*/ 6669273 h 9215435"/>
              <a:gd name="connsiteX7" fmla="*/ 9633090 w 10768253"/>
              <a:gd name="connsiteY7" fmla="*/ 6816424 h 9215435"/>
              <a:gd name="connsiteX8" fmla="*/ 9672592 w 10768253"/>
              <a:gd name="connsiteY8" fmla="*/ 7703821 h 9215435"/>
              <a:gd name="connsiteX9" fmla="*/ 10373471 w 10768253"/>
              <a:gd name="connsiteY9" fmla="*/ 8061349 h 9215435"/>
              <a:gd name="connsiteX10" fmla="*/ 10440624 w 10768253"/>
              <a:gd name="connsiteY10" fmla="*/ 8530034 h 9215435"/>
              <a:gd name="connsiteX11" fmla="*/ 10744818 w 10768253"/>
              <a:gd name="connsiteY11" fmla="*/ 8916927 h 9215435"/>
              <a:gd name="connsiteX12" fmla="*/ 10746119 w 10768253"/>
              <a:gd name="connsiteY12" fmla="*/ 9215435 h 9215435"/>
              <a:gd name="connsiteX0" fmla="*/ 12818 w 10768253"/>
              <a:gd name="connsiteY0" fmla="*/ 0 h 9215435"/>
              <a:gd name="connsiteX1" fmla="*/ 2836630 w 10768253"/>
              <a:gd name="connsiteY1" fmla="*/ 748119 h 9215435"/>
              <a:gd name="connsiteX2" fmla="*/ 3513152 w 10768253"/>
              <a:gd name="connsiteY2" fmla="*/ 1980793 h 9215435"/>
              <a:gd name="connsiteX3" fmla="*/ 4673468 w 10768253"/>
              <a:gd name="connsiteY3" fmla="*/ 2458601 h 9215435"/>
              <a:gd name="connsiteX4" fmla="*/ 6262915 w 10768253"/>
              <a:gd name="connsiteY4" fmla="*/ 3692531 h 9215435"/>
              <a:gd name="connsiteX5" fmla="*/ 7795970 w 10768253"/>
              <a:gd name="connsiteY5" fmla="*/ 4691463 h 9215435"/>
              <a:gd name="connsiteX6" fmla="*/ 8134378 w 10768253"/>
              <a:gd name="connsiteY6" fmla="*/ 6669273 h 9215435"/>
              <a:gd name="connsiteX7" fmla="*/ 9633090 w 10768253"/>
              <a:gd name="connsiteY7" fmla="*/ 6816424 h 9215435"/>
              <a:gd name="connsiteX8" fmla="*/ 9672592 w 10768253"/>
              <a:gd name="connsiteY8" fmla="*/ 7703821 h 9215435"/>
              <a:gd name="connsiteX9" fmla="*/ 10373471 w 10768253"/>
              <a:gd name="connsiteY9" fmla="*/ 8061349 h 9215435"/>
              <a:gd name="connsiteX10" fmla="*/ 10440624 w 10768253"/>
              <a:gd name="connsiteY10" fmla="*/ 8530034 h 9215435"/>
              <a:gd name="connsiteX11" fmla="*/ 10744818 w 10768253"/>
              <a:gd name="connsiteY11" fmla="*/ 8916927 h 9215435"/>
              <a:gd name="connsiteX12" fmla="*/ 10746119 w 10768253"/>
              <a:gd name="connsiteY12" fmla="*/ 9215435 h 9215435"/>
              <a:gd name="connsiteX0" fmla="*/ 12818 w 10768253"/>
              <a:gd name="connsiteY0" fmla="*/ 0 h 9215435"/>
              <a:gd name="connsiteX1" fmla="*/ 2836630 w 10768253"/>
              <a:gd name="connsiteY1" fmla="*/ 748119 h 9215435"/>
              <a:gd name="connsiteX2" fmla="*/ 3513152 w 10768253"/>
              <a:gd name="connsiteY2" fmla="*/ 1980793 h 9215435"/>
              <a:gd name="connsiteX3" fmla="*/ 4673468 w 10768253"/>
              <a:gd name="connsiteY3" fmla="*/ 2458601 h 9215435"/>
              <a:gd name="connsiteX4" fmla="*/ 6073736 w 10768253"/>
              <a:gd name="connsiteY4" fmla="*/ 3879890 h 9215435"/>
              <a:gd name="connsiteX5" fmla="*/ 7795970 w 10768253"/>
              <a:gd name="connsiteY5" fmla="*/ 4691463 h 9215435"/>
              <a:gd name="connsiteX6" fmla="*/ 8134378 w 10768253"/>
              <a:gd name="connsiteY6" fmla="*/ 6669273 h 9215435"/>
              <a:gd name="connsiteX7" fmla="*/ 9633090 w 10768253"/>
              <a:gd name="connsiteY7" fmla="*/ 6816424 h 9215435"/>
              <a:gd name="connsiteX8" fmla="*/ 9672592 w 10768253"/>
              <a:gd name="connsiteY8" fmla="*/ 7703821 h 9215435"/>
              <a:gd name="connsiteX9" fmla="*/ 10373471 w 10768253"/>
              <a:gd name="connsiteY9" fmla="*/ 8061349 h 9215435"/>
              <a:gd name="connsiteX10" fmla="*/ 10440624 w 10768253"/>
              <a:gd name="connsiteY10" fmla="*/ 8530034 h 9215435"/>
              <a:gd name="connsiteX11" fmla="*/ 10744818 w 10768253"/>
              <a:gd name="connsiteY11" fmla="*/ 8916927 h 9215435"/>
              <a:gd name="connsiteX12" fmla="*/ 10746119 w 10768253"/>
              <a:gd name="connsiteY12" fmla="*/ 9215435 h 9215435"/>
              <a:gd name="connsiteX0" fmla="*/ 12818 w 10768253"/>
              <a:gd name="connsiteY0" fmla="*/ 0 h 9215435"/>
              <a:gd name="connsiteX1" fmla="*/ 2836630 w 10768253"/>
              <a:gd name="connsiteY1" fmla="*/ 748119 h 9215435"/>
              <a:gd name="connsiteX2" fmla="*/ 3513152 w 10768253"/>
              <a:gd name="connsiteY2" fmla="*/ 1980793 h 9215435"/>
              <a:gd name="connsiteX3" fmla="*/ 5275735 w 10768253"/>
              <a:gd name="connsiteY3" fmla="*/ 2610769 h 9215435"/>
              <a:gd name="connsiteX4" fmla="*/ 6073736 w 10768253"/>
              <a:gd name="connsiteY4" fmla="*/ 3879890 h 9215435"/>
              <a:gd name="connsiteX5" fmla="*/ 7795970 w 10768253"/>
              <a:gd name="connsiteY5" fmla="*/ 4691463 h 9215435"/>
              <a:gd name="connsiteX6" fmla="*/ 8134378 w 10768253"/>
              <a:gd name="connsiteY6" fmla="*/ 6669273 h 9215435"/>
              <a:gd name="connsiteX7" fmla="*/ 9633090 w 10768253"/>
              <a:gd name="connsiteY7" fmla="*/ 6816424 h 9215435"/>
              <a:gd name="connsiteX8" fmla="*/ 9672592 w 10768253"/>
              <a:gd name="connsiteY8" fmla="*/ 7703821 h 9215435"/>
              <a:gd name="connsiteX9" fmla="*/ 10373471 w 10768253"/>
              <a:gd name="connsiteY9" fmla="*/ 8061349 h 9215435"/>
              <a:gd name="connsiteX10" fmla="*/ 10440624 w 10768253"/>
              <a:gd name="connsiteY10" fmla="*/ 8530034 h 9215435"/>
              <a:gd name="connsiteX11" fmla="*/ 10744818 w 10768253"/>
              <a:gd name="connsiteY11" fmla="*/ 8916927 h 9215435"/>
              <a:gd name="connsiteX12" fmla="*/ 10746119 w 10768253"/>
              <a:gd name="connsiteY12" fmla="*/ 9215435 h 9215435"/>
              <a:gd name="connsiteX0" fmla="*/ 12818 w 10768253"/>
              <a:gd name="connsiteY0" fmla="*/ 0 h 9215435"/>
              <a:gd name="connsiteX1" fmla="*/ 2836630 w 10768253"/>
              <a:gd name="connsiteY1" fmla="*/ 748119 h 9215435"/>
              <a:gd name="connsiteX2" fmla="*/ 3513152 w 10768253"/>
              <a:gd name="connsiteY2" fmla="*/ 1980793 h 9215435"/>
              <a:gd name="connsiteX3" fmla="*/ 5483114 w 10768253"/>
              <a:gd name="connsiteY3" fmla="*/ 2579180 h 9215435"/>
              <a:gd name="connsiteX4" fmla="*/ 6073736 w 10768253"/>
              <a:gd name="connsiteY4" fmla="*/ 3879890 h 9215435"/>
              <a:gd name="connsiteX5" fmla="*/ 7795970 w 10768253"/>
              <a:gd name="connsiteY5" fmla="*/ 4691463 h 9215435"/>
              <a:gd name="connsiteX6" fmla="*/ 8134378 w 10768253"/>
              <a:gd name="connsiteY6" fmla="*/ 6669273 h 9215435"/>
              <a:gd name="connsiteX7" fmla="*/ 9633090 w 10768253"/>
              <a:gd name="connsiteY7" fmla="*/ 6816424 h 9215435"/>
              <a:gd name="connsiteX8" fmla="*/ 9672592 w 10768253"/>
              <a:gd name="connsiteY8" fmla="*/ 7703821 h 9215435"/>
              <a:gd name="connsiteX9" fmla="*/ 10373471 w 10768253"/>
              <a:gd name="connsiteY9" fmla="*/ 8061349 h 9215435"/>
              <a:gd name="connsiteX10" fmla="*/ 10440624 w 10768253"/>
              <a:gd name="connsiteY10" fmla="*/ 8530034 h 9215435"/>
              <a:gd name="connsiteX11" fmla="*/ 10744818 w 10768253"/>
              <a:gd name="connsiteY11" fmla="*/ 8916927 h 9215435"/>
              <a:gd name="connsiteX12" fmla="*/ 10746119 w 10768253"/>
              <a:gd name="connsiteY12" fmla="*/ 9215435 h 9215435"/>
              <a:gd name="connsiteX0" fmla="*/ 13049 w 10768484"/>
              <a:gd name="connsiteY0" fmla="*/ 0 h 9215435"/>
              <a:gd name="connsiteX1" fmla="*/ 2836861 w 10768484"/>
              <a:gd name="connsiteY1" fmla="*/ 748119 h 9215435"/>
              <a:gd name="connsiteX2" fmla="*/ 3795319 w 10768484"/>
              <a:gd name="connsiteY2" fmla="*/ 2142730 h 9215435"/>
              <a:gd name="connsiteX3" fmla="*/ 5483345 w 10768484"/>
              <a:gd name="connsiteY3" fmla="*/ 2579180 h 9215435"/>
              <a:gd name="connsiteX4" fmla="*/ 6073967 w 10768484"/>
              <a:gd name="connsiteY4" fmla="*/ 3879890 h 9215435"/>
              <a:gd name="connsiteX5" fmla="*/ 7796201 w 10768484"/>
              <a:gd name="connsiteY5" fmla="*/ 4691463 h 9215435"/>
              <a:gd name="connsiteX6" fmla="*/ 8134609 w 10768484"/>
              <a:gd name="connsiteY6" fmla="*/ 6669273 h 9215435"/>
              <a:gd name="connsiteX7" fmla="*/ 9633321 w 10768484"/>
              <a:gd name="connsiteY7" fmla="*/ 6816424 h 9215435"/>
              <a:gd name="connsiteX8" fmla="*/ 9672823 w 10768484"/>
              <a:gd name="connsiteY8" fmla="*/ 7703821 h 9215435"/>
              <a:gd name="connsiteX9" fmla="*/ 10373702 w 10768484"/>
              <a:gd name="connsiteY9" fmla="*/ 8061349 h 9215435"/>
              <a:gd name="connsiteX10" fmla="*/ 10440855 w 10768484"/>
              <a:gd name="connsiteY10" fmla="*/ 8530034 h 9215435"/>
              <a:gd name="connsiteX11" fmla="*/ 10745049 w 10768484"/>
              <a:gd name="connsiteY11" fmla="*/ 8916927 h 9215435"/>
              <a:gd name="connsiteX12" fmla="*/ 10746350 w 10768484"/>
              <a:gd name="connsiteY12" fmla="*/ 9215435 h 9215435"/>
              <a:gd name="connsiteX0" fmla="*/ 12826 w 10768261"/>
              <a:gd name="connsiteY0" fmla="*/ 0 h 9215435"/>
              <a:gd name="connsiteX1" fmla="*/ 2881466 w 10768261"/>
              <a:gd name="connsiteY1" fmla="*/ 538843 h 9215435"/>
              <a:gd name="connsiteX2" fmla="*/ 3795096 w 10768261"/>
              <a:gd name="connsiteY2" fmla="*/ 2142730 h 9215435"/>
              <a:gd name="connsiteX3" fmla="*/ 5483122 w 10768261"/>
              <a:gd name="connsiteY3" fmla="*/ 2579180 h 9215435"/>
              <a:gd name="connsiteX4" fmla="*/ 6073744 w 10768261"/>
              <a:gd name="connsiteY4" fmla="*/ 3879890 h 9215435"/>
              <a:gd name="connsiteX5" fmla="*/ 7795978 w 10768261"/>
              <a:gd name="connsiteY5" fmla="*/ 4691463 h 9215435"/>
              <a:gd name="connsiteX6" fmla="*/ 8134386 w 10768261"/>
              <a:gd name="connsiteY6" fmla="*/ 6669273 h 9215435"/>
              <a:gd name="connsiteX7" fmla="*/ 9633098 w 10768261"/>
              <a:gd name="connsiteY7" fmla="*/ 6816424 h 9215435"/>
              <a:gd name="connsiteX8" fmla="*/ 9672600 w 10768261"/>
              <a:gd name="connsiteY8" fmla="*/ 7703821 h 9215435"/>
              <a:gd name="connsiteX9" fmla="*/ 10373479 w 10768261"/>
              <a:gd name="connsiteY9" fmla="*/ 8061349 h 9215435"/>
              <a:gd name="connsiteX10" fmla="*/ 10440632 w 10768261"/>
              <a:gd name="connsiteY10" fmla="*/ 8530034 h 9215435"/>
              <a:gd name="connsiteX11" fmla="*/ 10744826 w 10768261"/>
              <a:gd name="connsiteY11" fmla="*/ 8916927 h 9215435"/>
              <a:gd name="connsiteX12" fmla="*/ 10746127 w 10768261"/>
              <a:gd name="connsiteY12" fmla="*/ 9215435 h 9215435"/>
              <a:gd name="connsiteX0" fmla="*/ 12959 w 10736328"/>
              <a:gd name="connsiteY0" fmla="*/ 0 h 9376422"/>
              <a:gd name="connsiteX1" fmla="*/ 2849533 w 10736328"/>
              <a:gd name="connsiteY1" fmla="*/ 699830 h 9376422"/>
              <a:gd name="connsiteX2" fmla="*/ 3763163 w 10736328"/>
              <a:gd name="connsiteY2" fmla="*/ 2303717 h 9376422"/>
              <a:gd name="connsiteX3" fmla="*/ 5451189 w 10736328"/>
              <a:gd name="connsiteY3" fmla="*/ 2740167 h 9376422"/>
              <a:gd name="connsiteX4" fmla="*/ 6041811 w 10736328"/>
              <a:gd name="connsiteY4" fmla="*/ 4040877 h 9376422"/>
              <a:gd name="connsiteX5" fmla="*/ 7764045 w 10736328"/>
              <a:gd name="connsiteY5" fmla="*/ 4852450 h 9376422"/>
              <a:gd name="connsiteX6" fmla="*/ 8102453 w 10736328"/>
              <a:gd name="connsiteY6" fmla="*/ 6830260 h 9376422"/>
              <a:gd name="connsiteX7" fmla="*/ 9601165 w 10736328"/>
              <a:gd name="connsiteY7" fmla="*/ 6977411 h 9376422"/>
              <a:gd name="connsiteX8" fmla="*/ 9640667 w 10736328"/>
              <a:gd name="connsiteY8" fmla="*/ 7864808 h 9376422"/>
              <a:gd name="connsiteX9" fmla="*/ 10341546 w 10736328"/>
              <a:gd name="connsiteY9" fmla="*/ 8222336 h 9376422"/>
              <a:gd name="connsiteX10" fmla="*/ 10408699 w 10736328"/>
              <a:gd name="connsiteY10" fmla="*/ 8691021 h 9376422"/>
              <a:gd name="connsiteX11" fmla="*/ 10712893 w 10736328"/>
              <a:gd name="connsiteY11" fmla="*/ 9077914 h 9376422"/>
              <a:gd name="connsiteX12" fmla="*/ 10714194 w 10736328"/>
              <a:gd name="connsiteY12" fmla="*/ 9376422 h 9376422"/>
              <a:gd name="connsiteX0" fmla="*/ 12959 w 10736328"/>
              <a:gd name="connsiteY0" fmla="*/ 0 h 9376422"/>
              <a:gd name="connsiteX1" fmla="*/ 2849533 w 10736328"/>
              <a:gd name="connsiteY1" fmla="*/ 699830 h 9376422"/>
              <a:gd name="connsiteX2" fmla="*/ 3763163 w 10736328"/>
              <a:gd name="connsiteY2" fmla="*/ 2303717 h 9376422"/>
              <a:gd name="connsiteX3" fmla="*/ 5451189 w 10736328"/>
              <a:gd name="connsiteY3" fmla="*/ 2740167 h 9376422"/>
              <a:gd name="connsiteX4" fmla="*/ 6041811 w 10736328"/>
              <a:gd name="connsiteY4" fmla="*/ 4040877 h 9376422"/>
              <a:gd name="connsiteX5" fmla="*/ 7764045 w 10736328"/>
              <a:gd name="connsiteY5" fmla="*/ 4852450 h 9376422"/>
              <a:gd name="connsiteX6" fmla="*/ 7977409 w 10736328"/>
              <a:gd name="connsiteY6" fmla="*/ 6695646 h 9376422"/>
              <a:gd name="connsiteX7" fmla="*/ 9601165 w 10736328"/>
              <a:gd name="connsiteY7" fmla="*/ 6977411 h 9376422"/>
              <a:gd name="connsiteX8" fmla="*/ 9640667 w 10736328"/>
              <a:gd name="connsiteY8" fmla="*/ 7864808 h 9376422"/>
              <a:gd name="connsiteX9" fmla="*/ 10341546 w 10736328"/>
              <a:gd name="connsiteY9" fmla="*/ 8222336 h 9376422"/>
              <a:gd name="connsiteX10" fmla="*/ 10408699 w 10736328"/>
              <a:gd name="connsiteY10" fmla="*/ 8691021 h 9376422"/>
              <a:gd name="connsiteX11" fmla="*/ 10712893 w 10736328"/>
              <a:gd name="connsiteY11" fmla="*/ 9077914 h 9376422"/>
              <a:gd name="connsiteX12" fmla="*/ 10714194 w 10736328"/>
              <a:gd name="connsiteY12" fmla="*/ 9376422 h 9376422"/>
              <a:gd name="connsiteX0" fmla="*/ 12959 w 10736328"/>
              <a:gd name="connsiteY0" fmla="*/ 0 h 9376422"/>
              <a:gd name="connsiteX1" fmla="*/ 2849533 w 10736328"/>
              <a:gd name="connsiteY1" fmla="*/ 699830 h 9376422"/>
              <a:gd name="connsiteX2" fmla="*/ 3763163 w 10736328"/>
              <a:gd name="connsiteY2" fmla="*/ 2303717 h 9376422"/>
              <a:gd name="connsiteX3" fmla="*/ 5451189 w 10736328"/>
              <a:gd name="connsiteY3" fmla="*/ 2740167 h 9376422"/>
              <a:gd name="connsiteX4" fmla="*/ 6041811 w 10736328"/>
              <a:gd name="connsiteY4" fmla="*/ 4040877 h 9376422"/>
              <a:gd name="connsiteX5" fmla="*/ 7539250 w 10736328"/>
              <a:gd name="connsiteY5" fmla="*/ 4540341 h 9376422"/>
              <a:gd name="connsiteX6" fmla="*/ 7977409 w 10736328"/>
              <a:gd name="connsiteY6" fmla="*/ 6695646 h 9376422"/>
              <a:gd name="connsiteX7" fmla="*/ 9601165 w 10736328"/>
              <a:gd name="connsiteY7" fmla="*/ 6977411 h 9376422"/>
              <a:gd name="connsiteX8" fmla="*/ 9640667 w 10736328"/>
              <a:gd name="connsiteY8" fmla="*/ 7864808 h 9376422"/>
              <a:gd name="connsiteX9" fmla="*/ 10341546 w 10736328"/>
              <a:gd name="connsiteY9" fmla="*/ 8222336 h 9376422"/>
              <a:gd name="connsiteX10" fmla="*/ 10408699 w 10736328"/>
              <a:gd name="connsiteY10" fmla="*/ 8691021 h 9376422"/>
              <a:gd name="connsiteX11" fmla="*/ 10712893 w 10736328"/>
              <a:gd name="connsiteY11" fmla="*/ 9077914 h 9376422"/>
              <a:gd name="connsiteX12" fmla="*/ 10714194 w 10736328"/>
              <a:gd name="connsiteY12" fmla="*/ 9376422 h 9376422"/>
              <a:gd name="connsiteX0" fmla="*/ 12917 w 10736286"/>
              <a:gd name="connsiteY0" fmla="*/ 46421 h 9422843"/>
              <a:gd name="connsiteX1" fmla="*/ 2857927 w 10736286"/>
              <a:gd name="connsiteY1" fmla="*/ 225436 h 9422843"/>
              <a:gd name="connsiteX2" fmla="*/ 3763121 w 10736286"/>
              <a:gd name="connsiteY2" fmla="*/ 2350138 h 9422843"/>
              <a:gd name="connsiteX3" fmla="*/ 5451147 w 10736286"/>
              <a:gd name="connsiteY3" fmla="*/ 2786588 h 9422843"/>
              <a:gd name="connsiteX4" fmla="*/ 6041769 w 10736286"/>
              <a:gd name="connsiteY4" fmla="*/ 4087298 h 9422843"/>
              <a:gd name="connsiteX5" fmla="*/ 7539208 w 10736286"/>
              <a:gd name="connsiteY5" fmla="*/ 4586762 h 9422843"/>
              <a:gd name="connsiteX6" fmla="*/ 7977367 w 10736286"/>
              <a:gd name="connsiteY6" fmla="*/ 6742067 h 9422843"/>
              <a:gd name="connsiteX7" fmla="*/ 9601123 w 10736286"/>
              <a:gd name="connsiteY7" fmla="*/ 7023832 h 9422843"/>
              <a:gd name="connsiteX8" fmla="*/ 9640625 w 10736286"/>
              <a:gd name="connsiteY8" fmla="*/ 7911229 h 9422843"/>
              <a:gd name="connsiteX9" fmla="*/ 10341504 w 10736286"/>
              <a:gd name="connsiteY9" fmla="*/ 8268757 h 9422843"/>
              <a:gd name="connsiteX10" fmla="*/ 10408657 w 10736286"/>
              <a:gd name="connsiteY10" fmla="*/ 8737442 h 9422843"/>
              <a:gd name="connsiteX11" fmla="*/ 10712851 w 10736286"/>
              <a:gd name="connsiteY11" fmla="*/ 9124335 h 9422843"/>
              <a:gd name="connsiteX12" fmla="*/ 10714152 w 10736286"/>
              <a:gd name="connsiteY12" fmla="*/ 9422843 h 9422843"/>
              <a:gd name="connsiteX0" fmla="*/ 12980 w 10736349"/>
              <a:gd name="connsiteY0" fmla="*/ 29409 h 9405831"/>
              <a:gd name="connsiteX1" fmla="*/ 2857990 w 10736349"/>
              <a:gd name="connsiteY1" fmla="*/ 208424 h 9405831"/>
              <a:gd name="connsiteX2" fmla="*/ 3839634 w 10736349"/>
              <a:gd name="connsiteY2" fmla="*/ 2070253 h 9405831"/>
              <a:gd name="connsiteX3" fmla="*/ 5451210 w 10736349"/>
              <a:gd name="connsiteY3" fmla="*/ 2769576 h 9405831"/>
              <a:gd name="connsiteX4" fmla="*/ 6041832 w 10736349"/>
              <a:gd name="connsiteY4" fmla="*/ 4070286 h 9405831"/>
              <a:gd name="connsiteX5" fmla="*/ 7539271 w 10736349"/>
              <a:gd name="connsiteY5" fmla="*/ 4569750 h 9405831"/>
              <a:gd name="connsiteX6" fmla="*/ 7977430 w 10736349"/>
              <a:gd name="connsiteY6" fmla="*/ 6725055 h 9405831"/>
              <a:gd name="connsiteX7" fmla="*/ 9601186 w 10736349"/>
              <a:gd name="connsiteY7" fmla="*/ 7006820 h 9405831"/>
              <a:gd name="connsiteX8" fmla="*/ 9640688 w 10736349"/>
              <a:gd name="connsiteY8" fmla="*/ 7894217 h 9405831"/>
              <a:gd name="connsiteX9" fmla="*/ 10341567 w 10736349"/>
              <a:gd name="connsiteY9" fmla="*/ 8251745 h 9405831"/>
              <a:gd name="connsiteX10" fmla="*/ 10408720 w 10736349"/>
              <a:gd name="connsiteY10" fmla="*/ 8720430 h 9405831"/>
              <a:gd name="connsiteX11" fmla="*/ 10712914 w 10736349"/>
              <a:gd name="connsiteY11" fmla="*/ 9107323 h 9405831"/>
              <a:gd name="connsiteX12" fmla="*/ 10714215 w 10736349"/>
              <a:gd name="connsiteY12" fmla="*/ 9405831 h 9405831"/>
              <a:gd name="connsiteX0" fmla="*/ 12980 w 10736349"/>
              <a:gd name="connsiteY0" fmla="*/ 29409 h 9405831"/>
              <a:gd name="connsiteX1" fmla="*/ 2857990 w 10736349"/>
              <a:gd name="connsiteY1" fmla="*/ 208424 h 9405831"/>
              <a:gd name="connsiteX2" fmla="*/ 3839634 w 10736349"/>
              <a:gd name="connsiteY2" fmla="*/ 2070253 h 9405831"/>
              <a:gd name="connsiteX3" fmla="*/ 5652373 w 10736349"/>
              <a:gd name="connsiteY3" fmla="*/ 2721859 h 9405831"/>
              <a:gd name="connsiteX4" fmla="*/ 6041832 w 10736349"/>
              <a:gd name="connsiteY4" fmla="*/ 4070286 h 9405831"/>
              <a:gd name="connsiteX5" fmla="*/ 7539271 w 10736349"/>
              <a:gd name="connsiteY5" fmla="*/ 4569750 h 9405831"/>
              <a:gd name="connsiteX6" fmla="*/ 7977430 w 10736349"/>
              <a:gd name="connsiteY6" fmla="*/ 6725055 h 9405831"/>
              <a:gd name="connsiteX7" fmla="*/ 9601186 w 10736349"/>
              <a:gd name="connsiteY7" fmla="*/ 7006820 h 9405831"/>
              <a:gd name="connsiteX8" fmla="*/ 9640688 w 10736349"/>
              <a:gd name="connsiteY8" fmla="*/ 7894217 h 9405831"/>
              <a:gd name="connsiteX9" fmla="*/ 10341567 w 10736349"/>
              <a:gd name="connsiteY9" fmla="*/ 8251745 h 9405831"/>
              <a:gd name="connsiteX10" fmla="*/ 10408720 w 10736349"/>
              <a:gd name="connsiteY10" fmla="*/ 8720430 h 9405831"/>
              <a:gd name="connsiteX11" fmla="*/ 10712914 w 10736349"/>
              <a:gd name="connsiteY11" fmla="*/ 9107323 h 9405831"/>
              <a:gd name="connsiteX12" fmla="*/ 10714215 w 10736349"/>
              <a:gd name="connsiteY12" fmla="*/ 9405831 h 9405831"/>
              <a:gd name="connsiteX0" fmla="*/ 12980 w 10736349"/>
              <a:gd name="connsiteY0" fmla="*/ 29409 h 9405831"/>
              <a:gd name="connsiteX1" fmla="*/ 2857990 w 10736349"/>
              <a:gd name="connsiteY1" fmla="*/ 208424 h 9405831"/>
              <a:gd name="connsiteX2" fmla="*/ 3839634 w 10736349"/>
              <a:gd name="connsiteY2" fmla="*/ 2070253 h 9405831"/>
              <a:gd name="connsiteX3" fmla="*/ 5652373 w 10736349"/>
              <a:gd name="connsiteY3" fmla="*/ 2721859 h 9405831"/>
              <a:gd name="connsiteX4" fmla="*/ 6168103 w 10736349"/>
              <a:gd name="connsiteY4" fmla="*/ 3909583 h 9405831"/>
              <a:gd name="connsiteX5" fmla="*/ 7539271 w 10736349"/>
              <a:gd name="connsiteY5" fmla="*/ 4569750 h 9405831"/>
              <a:gd name="connsiteX6" fmla="*/ 7977430 w 10736349"/>
              <a:gd name="connsiteY6" fmla="*/ 6725055 h 9405831"/>
              <a:gd name="connsiteX7" fmla="*/ 9601186 w 10736349"/>
              <a:gd name="connsiteY7" fmla="*/ 7006820 h 9405831"/>
              <a:gd name="connsiteX8" fmla="*/ 9640688 w 10736349"/>
              <a:gd name="connsiteY8" fmla="*/ 7894217 h 9405831"/>
              <a:gd name="connsiteX9" fmla="*/ 10341567 w 10736349"/>
              <a:gd name="connsiteY9" fmla="*/ 8251745 h 9405831"/>
              <a:gd name="connsiteX10" fmla="*/ 10408720 w 10736349"/>
              <a:gd name="connsiteY10" fmla="*/ 8720430 h 9405831"/>
              <a:gd name="connsiteX11" fmla="*/ 10712914 w 10736349"/>
              <a:gd name="connsiteY11" fmla="*/ 9107323 h 9405831"/>
              <a:gd name="connsiteX12" fmla="*/ 10714215 w 10736349"/>
              <a:gd name="connsiteY12" fmla="*/ 9405831 h 9405831"/>
              <a:gd name="connsiteX0" fmla="*/ 12800 w 10779107"/>
              <a:gd name="connsiteY0" fmla="*/ 0 h 9623548"/>
              <a:gd name="connsiteX1" fmla="*/ 2900748 w 10779107"/>
              <a:gd name="connsiteY1" fmla="*/ 426141 h 9623548"/>
              <a:gd name="connsiteX2" fmla="*/ 3882392 w 10779107"/>
              <a:gd name="connsiteY2" fmla="*/ 2287970 h 9623548"/>
              <a:gd name="connsiteX3" fmla="*/ 5695131 w 10779107"/>
              <a:gd name="connsiteY3" fmla="*/ 2939576 h 9623548"/>
              <a:gd name="connsiteX4" fmla="*/ 6210861 w 10779107"/>
              <a:gd name="connsiteY4" fmla="*/ 4127300 h 9623548"/>
              <a:gd name="connsiteX5" fmla="*/ 7582029 w 10779107"/>
              <a:gd name="connsiteY5" fmla="*/ 4787467 h 9623548"/>
              <a:gd name="connsiteX6" fmla="*/ 8020188 w 10779107"/>
              <a:gd name="connsiteY6" fmla="*/ 6942772 h 9623548"/>
              <a:gd name="connsiteX7" fmla="*/ 9643944 w 10779107"/>
              <a:gd name="connsiteY7" fmla="*/ 7224537 h 9623548"/>
              <a:gd name="connsiteX8" fmla="*/ 9683446 w 10779107"/>
              <a:gd name="connsiteY8" fmla="*/ 8111934 h 9623548"/>
              <a:gd name="connsiteX9" fmla="*/ 10384325 w 10779107"/>
              <a:gd name="connsiteY9" fmla="*/ 8469462 h 9623548"/>
              <a:gd name="connsiteX10" fmla="*/ 10451478 w 10779107"/>
              <a:gd name="connsiteY10" fmla="*/ 8938147 h 9623548"/>
              <a:gd name="connsiteX11" fmla="*/ 10755672 w 10779107"/>
              <a:gd name="connsiteY11" fmla="*/ 9325040 h 9623548"/>
              <a:gd name="connsiteX12" fmla="*/ 10756973 w 10779107"/>
              <a:gd name="connsiteY12" fmla="*/ 9623548 h 9623548"/>
              <a:gd name="connsiteX0" fmla="*/ 13774 w 10559275"/>
              <a:gd name="connsiteY0" fmla="*/ 0 h 9864507"/>
              <a:gd name="connsiteX1" fmla="*/ 2680916 w 10559275"/>
              <a:gd name="connsiteY1" fmla="*/ 667100 h 9864507"/>
              <a:gd name="connsiteX2" fmla="*/ 3662560 w 10559275"/>
              <a:gd name="connsiteY2" fmla="*/ 2528929 h 9864507"/>
              <a:gd name="connsiteX3" fmla="*/ 5475299 w 10559275"/>
              <a:gd name="connsiteY3" fmla="*/ 3180535 h 9864507"/>
              <a:gd name="connsiteX4" fmla="*/ 5991029 w 10559275"/>
              <a:gd name="connsiteY4" fmla="*/ 4368259 h 9864507"/>
              <a:gd name="connsiteX5" fmla="*/ 7362197 w 10559275"/>
              <a:gd name="connsiteY5" fmla="*/ 5028426 h 9864507"/>
              <a:gd name="connsiteX6" fmla="*/ 7800356 w 10559275"/>
              <a:gd name="connsiteY6" fmla="*/ 7183731 h 9864507"/>
              <a:gd name="connsiteX7" fmla="*/ 9424112 w 10559275"/>
              <a:gd name="connsiteY7" fmla="*/ 7465496 h 9864507"/>
              <a:gd name="connsiteX8" fmla="*/ 9463614 w 10559275"/>
              <a:gd name="connsiteY8" fmla="*/ 8352893 h 9864507"/>
              <a:gd name="connsiteX9" fmla="*/ 10164493 w 10559275"/>
              <a:gd name="connsiteY9" fmla="*/ 8710421 h 9864507"/>
              <a:gd name="connsiteX10" fmla="*/ 10231646 w 10559275"/>
              <a:gd name="connsiteY10" fmla="*/ 9179106 h 9864507"/>
              <a:gd name="connsiteX11" fmla="*/ 10535840 w 10559275"/>
              <a:gd name="connsiteY11" fmla="*/ 9565999 h 9864507"/>
              <a:gd name="connsiteX12" fmla="*/ 10537141 w 10559275"/>
              <a:gd name="connsiteY12" fmla="*/ 9864507 h 9864507"/>
              <a:gd name="connsiteX0" fmla="*/ 13626 w 10590749"/>
              <a:gd name="connsiteY0" fmla="*/ 0 h 9810909"/>
              <a:gd name="connsiteX1" fmla="*/ 2712390 w 10590749"/>
              <a:gd name="connsiteY1" fmla="*/ 613502 h 9810909"/>
              <a:gd name="connsiteX2" fmla="*/ 3694034 w 10590749"/>
              <a:gd name="connsiteY2" fmla="*/ 2475331 h 9810909"/>
              <a:gd name="connsiteX3" fmla="*/ 5506773 w 10590749"/>
              <a:gd name="connsiteY3" fmla="*/ 3126937 h 9810909"/>
              <a:gd name="connsiteX4" fmla="*/ 6022503 w 10590749"/>
              <a:gd name="connsiteY4" fmla="*/ 4314661 h 9810909"/>
              <a:gd name="connsiteX5" fmla="*/ 7393671 w 10590749"/>
              <a:gd name="connsiteY5" fmla="*/ 4974828 h 9810909"/>
              <a:gd name="connsiteX6" fmla="*/ 7831830 w 10590749"/>
              <a:gd name="connsiteY6" fmla="*/ 7130133 h 9810909"/>
              <a:gd name="connsiteX7" fmla="*/ 9455586 w 10590749"/>
              <a:gd name="connsiteY7" fmla="*/ 7411898 h 9810909"/>
              <a:gd name="connsiteX8" fmla="*/ 9495088 w 10590749"/>
              <a:gd name="connsiteY8" fmla="*/ 8299295 h 9810909"/>
              <a:gd name="connsiteX9" fmla="*/ 10195967 w 10590749"/>
              <a:gd name="connsiteY9" fmla="*/ 8656823 h 9810909"/>
              <a:gd name="connsiteX10" fmla="*/ 10263120 w 10590749"/>
              <a:gd name="connsiteY10" fmla="*/ 9125508 h 9810909"/>
              <a:gd name="connsiteX11" fmla="*/ 10567314 w 10590749"/>
              <a:gd name="connsiteY11" fmla="*/ 9512401 h 9810909"/>
              <a:gd name="connsiteX12" fmla="*/ 10568615 w 10590749"/>
              <a:gd name="connsiteY12" fmla="*/ 9810909 h 9810909"/>
              <a:gd name="connsiteX0" fmla="*/ 13626 w 10590749"/>
              <a:gd name="connsiteY0" fmla="*/ 0 h 9810909"/>
              <a:gd name="connsiteX1" fmla="*/ 2712390 w 10590749"/>
              <a:gd name="connsiteY1" fmla="*/ 613502 h 9810909"/>
              <a:gd name="connsiteX2" fmla="*/ 3694034 w 10590749"/>
              <a:gd name="connsiteY2" fmla="*/ 2475331 h 9810909"/>
              <a:gd name="connsiteX3" fmla="*/ 5506773 w 10590749"/>
              <a:gd name="connsiteY3" fmla="*/ 3126937 h 9810909"/>
              <a:gd name="connsiteX4" fmla="*/ 6022503 w 10590749"/>
              <a:gd name="connsiteY4" fmla="*/ 4314661 h 9810909"/>
              <a:gd name="connsiteX5" fmla="*/ 7393671 w 10590749"/>
              <a:gd name="connsiteY5" fmla="*/ 4974828 h 9810909"/>
              <a:gd name="connsiteX6" fmla="*/ 7831830 w 10590749"/>
              <a:gd name="connsiteY6" fmla="*/ 7130133 h 9810909"/>
              <a:gd name="connsiteX7" fmla="*/ 9455586 w 10590749"/>
              <a:gd name="connsiteY7" fmla="*/ 7411898 h 9810909"/>
              <a:gd name="connsiteX8" fmla="*/ 9495088 w 10590749"/>
              <a:gd name="connsiteY8" fmla="*/ 8299295 h 9810909"/>
              <a:gd name="connsiteX9" fmla="*/ 10263120 w 10590749"/>
              <a:gd name="connsiteY9" fmla="*/ 9125508 h 9810909"/>
              <a:gd name="connsiteX10" fmla="*/ 10567314 w 10590749"/>
              <a:gd name="connsiteY10" fmla="*/ 9512401 h 9810909"/>
              <a:gd name="connsiteX11" fmla="*/ 10568615 w 10590749"/>
              <a:gd name="connsiteY11" fmla="*/ 9810909 h 9810909"/>
              <a:gd name="connsiteX0" fmla="*/ 13626 w 10590749"/>
              <a:gd name="connsiteY0" fmla="*/ 0 h 9810909"/>
              <a:gd name="connsiteX1" fmla="*/ 2712390 w 10590749"/>
              <a:gd name="connsiteY1" fmla="*/ 613502 h 9810909"/>
              <a:gd name="connsiteX2" fmla="*/ 3694034 w 10590749"/>
              <a:gd name="connsiteY2" fmla="*/ 2475331 h 9810909"/>
              <a:gd name="connsiteX3" fmla="*/ 5506773 w 10590749"/>
              <a:gd name="connsiteY3" fmla="*/ 3126937 h 9810909"/>
              <a:gd name="connsiteX4" fmla="*/ 6022503 w 10590749"/>
              <a:gd name="connsiteY4" fmla="*/ 4314661 h 9810909"/>
              <a:gd name="connsiteX5" fmla="*/ 7393671 w 10590749"/>
              <a:gd name="connsiteY5" fmla="*/ 4974828 h 9810909"/>
              <a:gd name="connsiteX6" fmla="*/ 7831830 w 10590749"/>
              <a:gd name="connsiteY6" fmla="*/ 7130133 h 9810909"/>
              <a:gd name="connsiteX7" fmla="*/ 9455586 w 10590749"/>
              <a:gd name="connsiteY7" fmla="*/ 7411898 h 9810909"/>
              <a:gd name="connsiteX8" fmla="*/ 10263120 w 10590749"/>
              <a:gd name="connsiteY8" fmla="*/ 9125508 h 9810909"/>
              <a:gd name="connsiteX9" fmla="*/ 10567314 w 10590749"/>
              <a:gd name="connsiteY9" fmla="*/ 9512401 h 9810909"/>
              <a:gd name="connsiteX10" fmla="*/ 10568615 w 10590749"/>
              <a:gd name="connsiteY10" fmla="*/ 9810909 h 9810909"/>
              <a:gd name="connsiteX0" fmla="*/ 13626 w 10590749"/>
              <a:gd name="connsiteY0" fmla="*/ 0 h 9810909"/>
              <a:gd name="connsiteX1" fmla="*/ 2712390 w 10590749"/>
              <a:gd name="connsiteY1" fmla="*/ 613502 h 9810909"/>
              <a:gd name="connsiteX2" fmla="*/ 3694034 w 10590749"/>
              <a:gd name="connsiteY2" fmla="*/ 2475331 h 9810909"/>
              <a:gd name="connsiteX3" fmla="*/ 5506773 w 10590749"/>
              <a:gd name="connsiteY3" fmla="*/ 3126937 h 9810909"/>
              <a:gd name="connsiteX4" fmla="*/ 6022503 w 10590749"/>
              <a:gd name="connsiteY4" fmla="*/ 4314661 h 9810909"/>
              <a:gd name="connsiteX5" fmla="*/ 7393671 w 10590749"/>
              <a:gd name="connsiteY5" fmla="*/ 4974828 h 9810909"/>
              <a:gd name="connsiteX6" fmla="*/ 7831830 w 10590749"/>
              <a:gd name="connsiteY6" fmla="*/ 7130133 h 9810909"/>
              <a:gd name="connsiteX7" fmla="*/ 9673388 w 10590749"/>
              <a:gd name="connsiteY7" fmla="*/ 7895812 h 9810909"/>
              <a:gd name="connsiteX8" fmla="*/ 10263120 w 10590749"/>
              <a:gd name="connsiteY8" fmla="*/ 9125508 h 9810909"/>
              <a:gd name="connsiteX9" fmla="*/ 10567314 w 10590749"/>
              <a:gd name="connsiteY9" fmla="*/ 9512401 h 9810909"/>
              <a:gd name="connsiteX10" fmla="*/ 10568615 w 10590749"/>
              <a:gd name="connsiteY10" fmla="*/ 9810909 h 9810909"/>
              <a:gd name="connsiteX0" fmla="*/ 13626 w 10590749"/>
              <a:gd name="connsiteY0" fmla="*/ 0 h 9810909"/>
              <a:gd name="connsiteX1" fmla="*/ 2712390 w 10590749"/>
              <a:gd name="connsiteY1" fmla="*/ 613502 h 9810909"/>
              <a:gd name="connsiteX2" fmla="*/ 3694034 w 10590749"/>
              <a:gd name="connsiteY2" fmla="*/ 2475331 h 9810909"/>
              <a:gd name="connsiteX3" fmla="*/ 5506773 w 10590749"/>
              <a:gd name="connsiteY3" fmla="*/ 3126937 h 9810909"/>
              <a:gd name="connsiteX4" fmla="*/ 6022503 w 10590749"/>
              <a:gd name="connsiteY4" fmla="*/ 4314661 h 9810909"/>
              <a:gd name="connsiteX5" fmla="*/ 7393671 w 10590749"/>
              <a:gd name="connsiteY5" fmla="*/ 4974828 h 9810909"/>
              <a:gd name="connsiteX6" fmla="*/ 7831830 w 10590749"/>
              <a:gd name="connsiteY6" fmla="*/ 7130133 h 9810909"/>
              <a:gd name="connsiteX7" fmla="*/ 9673388 w 10590749"/>
              <a:gd name="connsiteY7" fmla="*/ 7895812 h 9810909"/>
              <a:gd name="connsiteX8" fmla="*/ 10263120 w 10590749"/>
              <a:gd name="connsiteY8" fmla="*/ 9125508 h 9810909"/>
              <a:gd name="connsiteX9" fmla="*/ 10567314 w 10590749"/>
              <a:gd name="connsiteY9" fmla="*/ 9512401 h 9810909"/>
              <a:gd name="connsiteX10" fmla="*/ 10568615 w 10590749"/>
              <a:gd name="connsiteY10" fmla="*/ 9810909 h 9810909"/>
              <a:gd name="connsiteX0" fmla="*/ 13626 w 10590749"/>
              <a:gd name="connsiteY0" fmla="*/ 0 h 9810909"/>
              <a:gd name="connsiteX1" fmla="*/ 2712390 w 10590749"/>
              <a:gd name="connsiteY1" fmla="*/ 613502 h 9810909"/>
              <a:gd name="connsiteX2" fmla="*/ 3694034 w 10590749"/>
              <a:gd name="connsiteY2" fmla="*/ 2475331 h 9810909"/>
              <a:gd name="connsiteX3" fmla="*/ 5506773 w 10590749"/>
              <a:gd name="connsiteY3" fmla="*/ 3126937 h 9810909"/>
              <a:gd name="connsiteX4" fmla="*/ 6022503 w 10590749"/>
              <a:gd name="connsiteY4" fmla="*/ 4314661 h 9810909"/>
              <a:gd name="connsiteX5" fmla="*/ 7393671 w 10590749"/>
              <a:gd name="connsiteY5" fmla="*/ 4974828 h 9810909"/>
              <a:gd name="connsiteX6" fmla="*/ 7831830 w 10590749"/>
              <a:gd name="connsiteY6" fmla="*/ 7130133 h 9810909"/>
              <a:gd name="connsiteX7" fmla="*/ 9773246 w 10590749"/>
              <a:gd name="connsiteY7" fmla="*/ 8046461 h 9810909"/>
              <a:gd name="connsiteX8" fmla="*/ 10263120 w 10590749"/>
              <a:gd name="connsiteY8" fmla="*/ 9125508 h 9810909"/>
              <a:gd name="connsiteX9" fmla="*/ 10567314 w 10590749"/>
              <a:gd name="connsiteY9" fmla="*/ 9512401 h 9810909"/>
              <a:gd name="connsiteX10" fmla="*/ 10568615 w 10590749"/>
              <a:gd name="connsiteY10" fmla="*/ 9810909 h 9810909"/>
              <a:gd name="connsiteX0" fmla="*/ 13626 w 10590749"/>
              <a:gd name="connsiteY0" fmla="*/ 0 h 9810909"/>
              <a:gd name="connsiteX1" fmla="*/ 2712390 w 10590749"/>
              <a:gd name="connsiteY1" fmla="*/ 613502 h 9810909"/>
              <a:gd name="connsiteX2" fmla="*/ 3694034 w 10590749"/>
              <a:gd name="connsiteY2" fmla="*/ 2475331 h 9810909"/>
              <a:gd name="connsiteX3" fmla="*/ 5506773 w 10590749"/>
              <a:gd name="connsiteY3" fmla="*/ 3126937 h 9810909"/>
              <a:gd name="connsiteX4" fmla="*/ 6022503 w 10590749"/>
              <a:gd name="connsiteY4" fmla="*/ 4314661 h 9810909"/>
              <a:gd name="connsiteX5" fmla="*/ 7393671 w 10590749"/>
              <a:gd name="connsiteY5" fmla="*/ 4974828 h 9810909"/>
              <a:gd name="connsiteX6" fmla="*/ 7831830 w 10590749"/>
              <a:gd name="connsiteY6" fmla="*/ 7130133 h 9810909"/>
              <a:gd name="connsiteX7" fmla="*/ 9698463 w 10590749"/>
              <a:gd name="connsiteY7" fmla="*/ 7906627 h 9810909"/>
              <a:gd name="connsiteX8" fmla="*/ 10263120 w 10590749"/>
              <a:gd name="connsiteY8" fmla="*/ 9125508 h 9810909"/>
              <a:gd name="connsiteX9" fmla="*/ 10567314 w 10590749"/>
              <a:gd name="connsiteY9" fmla="*/ 9512401 h 9810909"/>
              <a:gd name="connsiteX10" fmla="*/ 10568615 w 10590749"/>
              <a:gd name="connsiteY10" fmla="*/ 9810909 h 9810909"/>
              <a:gd name="connsiteX0" fmla="*/ 13626 w 10624613"/>
              <a:gd name="connsiteY0" fmla="*/ 0 h 9810909"/>
              <a:gd name="connsiteX1" fmla="*/ 2712390 w 10624613"/>
              <a:gd name="connsiteY1" fmla="*/ 613502 h 9810909"/>
              <a:gd name="connsiteX2" fmla="*/ 3694034 w 10624613"/>
              <a:gd name="connsiteY2" fmla="*/ 2475331 h 9810909"/>
              <a:gd name="connsiteX3" fmla="*/ 5506773 w 10624613"/>
              <a:gd name="connsiteY3" fmla="*/ 3126937 h 9810909"/>
              <a:gd name="connsiteX4" fmla="*/ 6022503 w 10624613"/>
              <a:gd name="connsiteY4" fmla="*/ 4314661 h 9810909"/>
              <a:gd name="connsiteX5" fmla="*/ 7393671 w 10624613"/>
              <a:gd name="connsiteY5" fmla="*/ 4974828 h 9810909"/>
              <a:gd name="connsiteX6" fmla="*/ 7831830 w 10624613"/>
              <a:gd name="connsiteY6" fmla="*/ 7130133 h 9810909"/>
              <a:gd name="connsiteX7" fmla="*/ 9698463 w 10624613"/>
              <a:gd name="connsiteY7" fmla="*/ 7906627 h 9810909"/>
              <a:gd name="connsiteX8" fmla="*/ 9805761 w 10624613"/>
              <a:gd name="connsiteY8" fmla="*/ 8861019 h 9810909"/>
              <a:gd name="connsiteX9" fmla="*/ 10567314 w 10624613"/>
              <a:gd name="connsiteY9" fmla="*/ 9512401 h 9810909"/>
              <a:gd name="connsiteX10" fmla="*/ 10568615 w 10624613"/>
              <a:gd name="connsiteY10" fmla="*/ 9810909 h 9810909"/>
              <a:gd name="connsiteX0" fmla="*/ 13626 w 10624613"/>
              <a:gd name="connsiteY0" fmla="*/ 0 h 9810909"/>
              <a:gd name="connsiteX1" fmla="*/ 2712390 w 10624613"/>
              <a:gd name="connsiteY1" fmla="*/ 613502 h 9810909"/>
              <a:gd name="connsiteX2" fmla="*/ 3694034 w 10624613"/>
              <a:gd name="connsiteY2" fmla="*/ 2475331 h 9810909"/>
              <a:gd name="connsiteX3" fmla="*/ 5506773 w 10624613"/>
              <a:gd name="connsiteY3" fmla="*/ 3126937 h 9810909"/>
              <a:gd name="connsiteX4" fmla="*/ 6022503 w 10624613"/>
              <a:gd name="connsiteY4" fmla="*/ 4314661 h 9810909"/>
              <a:gd name="connsiteX5" fmla="*/ 7393671 w 10624613"/>
              <a:gd name="connsiteY5" fmla="*/ 4974828 h 9810909"/>
              <a:gd name="connsiteX6" fmla="*/ 7831830 w 10624613"/>
              <a:gd name="connsiteY6" fmla="*/ 7130133 h 9810909"/>
              <a:gd name="connsiteX7" fmla="*/ 9698463 w 10624613"/>
              <a:gd name="connsiteY7" fmla="*/ 7906627 h 9810909"/>
              <a:gd name="connsiteX8" fmla="*/ 9805761 w 10624613"/>
              <a:gd name="connsiteY8" fmla="*/ 8861019 h 9810909"/>
              <a:gd name="connsiteX9" fmla="*/ 10567314 w 10624613"/>
              <a:gd name="connsiteY9" fmla="*/ 9512401 h 9810909"/>
              <a:gd name="connsiteX10" fmla="*/ 10568615 w 10624613"/>
              <a:gd name="connsiteY10" fmla="*/ 9810909 h 9810909"/>
              <a:gd name="connsiteX0" fmla="*/ 13626 w 10567315"/>
              <a:gd name="connsiteY0" fmla="*/ 0 h 10057180"/>
              <a:gd name="connsiteX1" fmla="*/ 2712390 w 10567315"/>
              <a:gd name="connsiteY1" fmla="*/ 613502 h 10057180"/>
              <a:gd name="connsiteX2" fmla="*/ 3694034 w 10567315"/>
              <a:gd name="connsiteY2" fmla="*/ 2475331 h 10057180"/>
              <a:gd name="connsiteX3" fmla="*/ 5506773 w 10567315"/>
              <a:gd name="connsiteY3" fmla="*/ 3126937 h 10057180"/>
              <a:gd name="connsiteX4" fmla="*/ 6022503 w 10567315"/>
              <a:gd name="connsiteY4" fmla="*/ 4314661 h 10057180"/>
              <a:gd name="connsiteX5" fmla="*/ 7393671 w 10567315"/>
              <a:gd name="connsiteY5" fmla="*/ 4974828 h 10057180"/>
              <a:gd name="connsiteX6" fmla="*/ 7831830 w 10567315"/>
              <a:gd name="connsiteY6" fmla="*/ 7130133 h 10057180"/>
              <a:gd name="connsiteX7" fmla="*/ 9698463 w 10567315"/>
              <a:gd name="connsiteY7" fmla="*/ 7906627 h 10057180"/>
              <a:gd name="connsiteX8" fmla="*/ 9805761 w 10567315"/>
              <a:gd name="connsiteY8" fmla="*/ 8861019 h 10057180"/>
              <a:gd name="connsiteX9" fmla="*/ 10567314 w 10567315"/>
              <a:gd name="connsiteY9" fmla="*/ 9512401 h 10057180"/>
              <a:gd name="connsiteX10" fmla="*/ 10328949 w 10567315"/>
              <a:gd name="connsiteY10" fmla="*/ 10057180 h 10057180"/>
              <a:gd name="connsiteX0" fmla="*/ 13626 w 10441378"/>
              <a:gd name="connsiteY0" fmla="*/ 0 h 10057180"/>
              <a:gd name="connsiteX1" fmla="*/ 2712390 w 10441378"/>
              <a:gd name="connsiteY1" fmla="*/ 613502 h 10057180"/>
              <a:gd name="connsiteX2" fmla="*/ 3694034 w 10441378"/>
              <a:gd name="connsiteY2" fmla="*/ 2475331 h 10057180"/>
              <a:gd name="connsiteX3" fmla="*/ 5506773 w 10441378"/>
              <a:gd name="connsiteY3" fmla="*/ 3126937 h 10057180"/>
              <a:gd name="connsiteX4" fmla="*/ 6022503 w 10441378"/>
              <a:gd name="connsiteY4" fmla="*/ 4314661 h 10057180"/>
              <a:gd name="connsiteX5" fmla="*/ 7393671 w 10441378"/>
              <a:gd name="connsiteY5" fmla="*/ 4974828 h 10057180"/>
              <a:gd name="connsiteX6" fmla="*/ 7831830 w 10441378"/>
              <a:gd name="connsiteY6" fmla="*/ 7130133 h 10057180"/>
              <a:gd name="connsiteX7" fmla="*/ 9698463 w 10441378"/>
              <a:gd name="connsiteY7" fmla="*/ 7906627 h 10057180"/>
              <a:gd name="connsiteX8" fmla="*/ 9805761 w 10441378"/>
              <a:gd name="connsiteY8" fmla="*/ 8861019 h 10057180"/>
              <a:gd name="connsiteX9" fmla="*/ 10441379 w 10441378"/>
              <a:gd name="connsiteY9" fmla="*/ 9592563 h 10057180"/>
              <a:gd name="connsiteX10" fmla="*/ 10328949 w 10441378"/>
              <a:gd name="connsiteY10" fmla="*/ 10057180 h 10057180"/>
              <a:gd name="connsiteX0" fmla="*/ 13626 w 10441380"/>
              <a:gd name="connsiteY0" fmla="*/ 0 h 10057180"/>
              <a:gd name="connsiteX1" fmla="*/ 2712390 w 10441380"/>
              <a:gd name="connsiteY1" fmla="*/ 613502 h 10057180"/>
              <a:gd name="connsiteX2" fmla="*/ 3694034 w 10441380"/>
              <a:gd name="connsiteY2" fmla="*/ 2475331 h 10057180"/>
              <a:gd name="connsiteX3" fmla="*/ 5506773 w 10441380"/>
              <a:gd name="connsiteY3" fmla="*/ 3126937 h 10057180"/>
              <a:gd name="connsiteX4" fmla="*/ 6022503 w 10441380"/>
              <a:gd name="connsiteY4" fmla="*/ 4314661 h 10057180"/>
              <a:gd name="connsiteX5" fmla="*/ 7393671 w 10441380"/>
              <a:gd name="connsiteY5" fmla="*/ 4974828 h 10057180"/>
              <a:gd name="connsiteX6" fmla="*/ 7995158 w 10441380"/>
              <a:gd name="connsiteY6" fmla="*/ 7119890 h 10057180"/>
              <a:gd name="connsiteX7" fmla="*/ 9698463 w 10441380"/>
              <a:gd name="connsiteY7" fmla="*/ 7906627 h 10057180"/>
              <a:gd name="connsiteX8" fmla="*/ 9805761 w 10441380"/>
              <a:gd name="connsiteY8" fmla="*/ 8861019 h 10057180"/>
              <a:gd name="connsiteX9" fmla="*/ 10441379 w 10441380"/>
              <a:gd name="connsiteY9" fmla="*/ 9592563 h 10057180"/>
              <a:gd name="connsiteX10" fmla="*/ 10328949 w 10441380"/>
              <a:gd name="connsiteY10" fmla="*/ 10057180 h 10057180"/>
              <a:gd name="connsiteX0" fmla="*/ 13626 w 10441378"/>
              <a:gd name="connsiteY0" fmla="*/ 0 h 10057180"/>
              <a:gd name="connsiteX1" fmla="*/ 2712390 w 10441378"/>
              <a:gd name="connsiteY1" fmla="*/ 613502 h 10057180"/>
              <a:gd name="connsiteX2" fmla="*/ 3694034 w 10441378"/>
              <a:gd name="connsiteY2" fmla="*/ 2475331 h 10057180"/>
              <a:gd name="connsiteX3" fmla="*/ 5506773 w 10441378"/>
              <a:gd name="connsiteY3" fmla="*/ 3126937 h 10057180"/>
              <a:gd name="connsiteX4" fmla="*/ 6022503 w 10441378"/>
              <a:gd name="connsiteY4" fmla="*/ 4314661 h 10057180"/>
              <a:gd name="connsiteX5" fmla="*/ 7625013 w 10441378"/>
              <a:gd name="connsiteY5" fmla="*/ 5222525 h 10057180"/>
              <a:gd name="connsiteX6" fmla="*/ 7995158 w 10441378"/>
              <a:gd name="connsiteY6" fmla="*/ 7119890 h 10057180"/>
              <a:gd name="connsiteX7" fmla="*/ 9698463 w 10441378"/>
              <a:gd name="connsiteY7" fmla="*/ 7906627 h 10057180"/>
              <a:gd name="connsiteX8" fmla="*/ 9805761 w 10441378"/>
              <a:gd name="connsiteY8" fmla="*/ 8861019 h 10057180"/>
              <a:gd name="connsiteX9" fmla="*/ 10441379 w 10441378"/>
              <a:gd name="connsiteY9" fmla="*/ 9592563 h 10057180"/>
              <a:gd name="connsiteX10" fmla="*/ 10328949 w 10441378"/>
              <a:gd name="connsiteY10" fmla="*/ 10057180 h 10057180"/>
              <a:gd name="connsiteX0" fmla="*/ 13626 w 10441380"/>
              <a:gd name="connsiteY0" fmla="*/ 0 h 10057180"/>
              <a:gd name="connsiteX1" fmla="*/ 2712390 w 10441380"/>
              <a:gd name="connsiteY1" fmla="*/ 613502 h 10057180"/>
              <a:gd name="connsiteX2" fmla="*/ 3694034 w 10441380"/>
              <a:gd name="connsiteY2" fmla="*/ 2475331 h 10057180"/>
              <a:gd name="connsiteX3" fmla="*/ 5506773 w 10441380"/>
              <a:gd name="connsiteY3" fmla="*/ 3126937 h 10057180"/>
              <a:gd name="connsiteX4" fmla="*/ 6065997 w 10441380"/>
              <a:gd name="connsiteY4" fmla="*/ 4427551 h 10057180"/>
              <a:gd name="connsiteX5" fmla="*/ 7625013 w 10441380"/>
              <a:gd name="connsiteY5" fmla="*/ 5222525 h 10057180"/>
              <a:gd name="connsiteX6" fmla="*/ 7995158 w 10441380"/>
              <a:gd name="connsiteY6" fmla="*/ 7119890 h 10057180"/>
              <a:gd name="connsiteX7" fmla="*/ 9698463 w 10441380"/>
              <a:gd name="connsiteY7" fmla="*/ 7906627 h 10057180"/>
              <a:gd name="connsiteX8" fmla="*/ 9805761 w 10441380"/>
              <a:gd name="connsiteY8" fmla="*/ 8861019 h 10057180"/>
              <a:gd name="connsiteX9" fmla="*/ 10441379 w 10441380"/>
              <a:gd name="connsiteY9" fmla="*/ 9592563 h 10057180"/>
              <a:gd name="connsiteX10" fmla="*/ 10328949 w 10441380"/>
              <a:gd name="connsiteY10" fmla="*/ 10057180 h 10057180"/>
              <a:gd name="connsiteX0" fmla="*/ 13626 w 10443208"/>
              <a:gd name="connsiteY0" fmla="*/ 0 h 10057180"/>
              <a:gd name="connsiteX1" fmla="*/ 2712390 w 10443208"/>
              <a:gd name="connsiteY1" fmla="*/ 613502 h 10057180"/>
              <a:gd name="connsiteX2" fmla="*/ 3694034 w 10443208"/>
              <a:gd name="connsiteY2" fmla="*/ 2475331 h 10057180"/>
              <a:gd name="connsiteX3" fmla="*/ 5506773 w 10443208"/>
              <a:gd name="connsiteY3" fmla="*/ 3126937 h 10057180"/>
              <a:gd name="connsiteX4" fmla="*/ 6065997 w 10443208"/>
              <a:gd name="connsiteY4" fmla="*/ 4427551 h 10057180"/>
              <a:gd name="connsiteX5" fmla="*/ 7625013 w 10443208"/>
              <a:gd name="connsiteY5" fmla="*/ 5222525 h 10057180"/>
              <a:gd name="connsiteX6" fmla="*/ 7995158 w 10443208"/>
              <a:gd name="connsiteY6" fmla="*/ 7119890 h 10057180"/>
              <a:gd name="connsiteX7" fmla="*/ 9698463 w 10443208"/>
              <a:gd name="connsiteY7" fmla="*/ 7906627 h 10057180"/>
              <a:gd name="connsiteX8" fmla="*/ 9805761 w 10443208"/>
              <a:gd name="connsiteY8" fmla="*/ 8861019 h 10057180"/>
              <a:gd name="connsiteX9" fmla="*/ 10441379 w 10443208"/>
              <a:gd name="connsiteY9" fmla="*/ 9592563 h 10057180"/>
              <a:gd name="connsiteX10" fmla="*/ 10328949 w 10443208"/>
              <a:gd name="connsiteY10" fmla="*/ 10057180 h 10057180"/>
              <a:gd name="connsiteX0" fmla="*/ 13626 w 10442071"/>
              <a:gd name="connsiteY0" fmla="*/ 0 h 10057180"/>
              <a:gd name="connsiteX1" fmla="*/ 2712390 w 10442071"/>
              <a:gd name="connsiteY1" fmla="*/ 613502 h 10057180"/>
              <a:gd name="connsiteX2" fmla="*/ 3694034 w 10442071"/>
              <a:gd name="connsiteY2" fmla="*/ 2475331 h 10057180"/>
              <a:gd name="connsiteX3" fmla="*/ 5506773 w 10442071"/>
              <a:gd name="connsiteY3" fmla="*/ 3126937 h 10057180"/>
              <a:gd name="connsiteX4" fmla="*/ 6065997 w 10442071"/>
              <a:gd name="connsiteY4" fmla="*/ 4427551 h 10057180"/>
              <a:gd name="connsiteX5" fmla="*/ 7625013 w 10442071"/>
              <a:gd name="connsiteY5" fmla="*/ 5222525 h 10057180"/>
              <a:gd name="connsiteX6" fmla="*/ 7995158 w 10442071"/>
              <a:gd name="connsiteY6" fmla="*/ 7119890 h 10057180"/>
              <a:gd name="connsiteX7" fmla="*/ 9698463 w 10442071"/>
              <a:gd name="connsiteY7" fmla="*/ 7906627 h 10057180"/>
              <a:gd name="connsiteX8" fmla="*/ 9805761 w 10442071"/>
              <a:gd name="connsiteY8" fmla="*/ 8861019 h 10057180"/>
              <a:gd name="connsiteX9" fmla="*/ 10441379 w 10442071"/>
              <a:gd name="connsiteY9" fmla="*/ 9592563 h 10057180"/>
              <a:gd name="connsiteX10" fmla="*/ 10328949 w 10442071"/>
              <a:gd name="connsiteY10" fmla="*/ 10057180 h 10057180"/>
              <a:gd name="connsiteX0" fmla="*/ 13626 w 10343469"/>
              <a:gd name="connsiteY0" fmla="*/ 0 h 10057180"/>
              <a:gd name="connsiteX1" fmla="*/ 2712390 w 10343469"/>
              <a:gd name="connsiteY1" fmla="*/ 613502 h 10057180"/>
              <a:gd name="connsiteX2" fmla="*/ 3694034 w 10343469"/>
              <a:gd name="connsiteY2" fmla="*/ 2475331 h 10057180"/>
              <a:gd name="connsiteX3" fmla="*/ 5506773 w 10343469"/>
              <a:gd name="connsiteY3" fmla="*/ 3126937 h 10057180"/>
              <a:gd name="connsiteX4" fmla="*/ 6065997 w 10343469"/>
              <a:gd name="connsiteY4" fmla="*/ 4427551 h 10057180"/>
              <a:gd name="connsiteX5" fmla="*/ 7625013 w 10343469"/>
              <a:gd name="connsiteY5" fmla="*/ 5222525 h 10057180"/>
              <a:gd name="connsiteX6" fmla="*/ 7995158 w 10343469"/>
              <a:gd name="connsiteY6" fmla="*/ 7119890 h 10057180"/>
              <a:gd name="connsiteX7" fmla="*/ 9698463 w 10343469"/>
              <a:gd name="connsiteY7" fmla="*/ 7906627 h 10057180"/>
              <a:gd name="connsiteX8" fmla="*/ 9805761 w 10343469"/>
              <a:gd name="connsiteY8" fmla="*/ 8861019 h 10057180"/>
              <a:gd name="connsiteX9" fmla="*/ 10311429 w 10343469"/>
              <a:gd name="connsiteY9" fmla="*/ 9543663 h 10057180"/>
              <a:gd name="connsiteX10" fmla="*/ 10328949 w 10343469"/>
              <a:gd name="connsiteY10" fmla="*/ 10057180 h 10057180"/>
              <a:gd name="connsiteX0" fmla="*/ 13626 w 10362807"/>
              <a:gd name="connsiteY0" fmla="*/ 0 h 10057180"/>
              <a:gd name="connsiteX1" fmla="*/ 2712390 w 10362807"/>
              <a:gd name="connsiteY1" fmla="*/ 613502 h 10057180"/>
              <a:gd name="connsiteX2" fmla="*/ 3694034 w 10362807"/>
              <a:gd name="connsiteY2" fmla="*/ 2475331 h 10057180"/>
              <a:gd name="connsiteX3" fmla="*/ 5506773 w 10362807"/>
              <a:gd name="connsiteY3" fmla="*/ 3126937 h 10057180"/>
              <a:gd name="connsiteX4" fmla="*/ 6065997 w 10362807"/>
              <a:gd name="connsiteY4" fmla="*/ 4427551 h 10057180"/>
              <a:gd name="connsiteX5" fmla="*/ 7625013 w 10362807"/>
              <a:gd name="connsiteY5" fmla="*/ 5222525 h 10057180"/>
              <a:gd name="connsiteX6" fmla="*/ 7995158 w 10362807"/>
              <a:gd name="connsiteY6" fmla="*/ 7119890 h 10057180"/>
              <a:gd name="connsiteX7" fmla="*/ 9698463 w 10362807"/>
              <a:gd name="connsiteY7" fmla="*/ 7906627 h 10057180"/>
              <a:gd name="connsiteX8" fmla="*/ 9872095 w 10362807"/>
              <a:gd name="connsiteY8" fmla="*/ 8961086 h 10057180"/>
              <a:gd name="connsiteX9" fmla="*/ 10311429 w 10362807"/>
              <a:gd name="connsiteY9" fmla="*/ 9543663 h 10057180"/>
              <a:gd name="connsiteX10" fmla="*/ 10328949 w 10362807"/>
              <a:gd name="connsiteY10" fmla="*/ 10057180 h 10057180"/>
              <a:gd name="connsiteX0" fmla="*/ 13626 w 10370115"/>
              <a:gd name="connsiteY0" fmla="*/ 0 h 10057180"/>
              <a:gd name="connsiteX1" fmla="*/ 2712390 w 10370115"/>
              <a:gd name="connsiteY1" fmla="*/ 613502 h 10057180"/>
              <a:gd name="connsiteX2" fmla="*/ 3694034 w 10370115"/>
              <a:gd name="connsiteY2" fmla="*/ 2475331 h 10057180"/>
              <a:gd name="connsiteX3" fmla="*/ 5506773 w 10370115"/>
              <a:gd name="connsiteY3" fmla="*/ 3126937 h 10057180"/>
              <a:gd name="connsiteX4" fmla="*/ 6065997 w 10370115"/>
              <a:gd name="connsiteY4" fmla="*/ 4427551 h 10057180"/>
              <a:gd name="connsiteX5" fmla="*/ 7625013 w 10370115"/>
              <a:gd name="connsiteY5" fmla="*/ 5222525 h 10057180"/>
              <a:gd name="connsiteX6" fmla="*/ 7995158 w 10370115"/>
              <a:gd name="connsiteY6" fmla="*/ 7119890 h 10057180"/>
              <a:gd name="connsiteX7" fmla="*/ 9698463 w 10370115"/>
              <a:gd name="connsiteY7" fmla="*/ 7906627 h 10057180"/>
              <a:gd name="connsiteX8" fmla="*/ 9872095 w 10370115"/>
              <a:gd name="connsiteY8" fmla="*/ 8961086 h 10057180"/>
              <a:gd name="connsiteX9" fmla="*/ 10324636 w 10370115"/>
              <a:gd name="connsiteY9" fmla="*/ 9577945 h 10057180"/>
              <a:gd name="connsiteX10" fmla="*/ 10328949 w 10370115"/>
              <a:gd name="connsiteY10" fmla="*/ 10057180 h 10057180"/>
              <a:gd name="connsiteX0" fmla="*/ 13626 w 10373642"/>
              <a:gd name="connsiteY0" fmla="*/ 0 h 9945922"/>
              <a:gd name="connsiteX1" fmla="*/ 2712390 w 10373642"/>
              <a:gd name="connsiteY1" fmla="*/ 613502 h 9945922"/>
              <a:gd name="connsiteX2" fmla="*/ 3694034 w 10373642"/>
              <a:gd name="connsiteY2" fmla="*/ 2475331 h 9945922"/>
              <a:gd name="connsiteX3" fmla="*/ 5506773 w 10373642"/>
              <a:gd name="connsiteY3" fmla="*/ 3126937 h 9945922"/>
              <a:gd name="connsiteX4" fmla="*/ 6065997 w 10373642"/>
              <a:gd name="connsiteY4" fmla="*/ 4427551 h 9945922"/>
              <a:gd name="connsiteX5" fmla="*/ 7625013 w 10373642"/>
              <a:gd name="connsiteY5" fmla="*/ 5222525 h 9945922"/>
              <a:gd name="connsiteX6" fmla="*/ 7995158 w 10373642"/>
              <a:gd name="connsiteY6" fmla="*/ 7119890 h 9945922"/>
              <a:gd name="connsiteX7" fmla="*/ 9698463 w 10373642"/>
              <a:gd name="connsiteY7" fmla="*/ 7906627 h 9945922"/>
              <a:gd name="connsiteX8" fmla="*/ 9872095 w 10373642"/>
              <a:gd name="connsiteY8" fmla="*/ 8961086 h 9945922"/>
              <a:gd name="connsiteX9" fmla="*/ 10324636 w 10373642"/>
              <a:gd name="connsiteY9" fmla="*/ 9577945 h 9945922"/>
              <a:gd name="connsiteX10" fmla="*/ 10336084 w 10373642"/>
              <a:gd name="connsiteY10" fmla="*/ 9945922 h 9945922"/>
              <a:gd name="connsiteX0" fmla="*/ 13626 w 10353995"/>
              <a:gd name="connsiteY0" fmla="*/ 0 h 9945922"/>
              <a:gd name="connsiteX1" fmla="*/ 2712390 w 10353995"/>
              <a:gd name="connsiteY1" fmla="*/ 613502 h 9945922"/>
              <a:gd name="connsiteX2" fmla="*/ 3694034 w 10353995"/>
              <a:gd name="connsiteY2" fmla="*/ 2475331 h 9945922"/>
              <a:gd name="connsiteX3" fmla="*/ 5506773 w 10353995"/>
              <a:gd name="connsiteY3" fmla="*/ 3126937 h 9945922"/>
              <a:gd name="connsiteX4" fmla="*/ 6065997 w 10353995"/>
              <a:gd name="connsiteY4" fmla="*/ 4427551 h 9945922"/>
              <a:gd name="connsiteX5" fmla="*/ 7625013 w 10353995"/>
              <a:gd name="connsiteY5" fmla="*/ 5222525 h 9945922"/>
              <a:gd name="connsiteX6" fmla="*/ 7995158 w 10353995"/>
              <a:gd name="connsiteY6" fmla="*/ 7119890 h 9945922"/>
              <a:gd name="connsiteX7" fmla="*/ 9698463 w 10353995"/>
              <a:gd name="connsiteY7" fmla="*/ 7906627 h 9945922"/>
              <a:gd name="connsiteX8" fmla="*/ 9872095 w 10353995"/>
              <a:gd name="connsiteY8" fmla="*/ 8961086 h 9945922"/>
              <a:gd name="connsiteX9" fmla="*/ 10274516 w 10353995"/>
              <a:gd name="connsiteY9" fmla="*/ 9592061 h 9945922"/>
              <a:gd name="connsiteX10" fmla="*/ 10336084 w 10353995"/>
              <a:gd name="connsiteY10" fmla="*/ 9945922 h 9945922"/>
              <a:gd name="connsiteX0" fmla="*/ 13626 w 10362521"/>
              <a:gd name="connsiteY0" fmla="*/ 0 h 9945922"/>
              <a:gd name="connsiteX1" fmla="*/ 2712390 w 10362521"/>
              <a:gd name="connsiteY1" fmla="*/ 613502 h 9945922"/>
              <a:gd name="connsiteX2" fmla="*/ 3694034 w 10362521"/>
              <a:gd name="connsiteY2" fmla="*/ 2475331 h 9945922"/>
              <a:gd name="connsiteX3" fmla="*/ 5506773 w 10362521"/>
              <a:gd name="connsiteY3" fmla="*/ 3126937 h 9945922"/>
              <a:gd name="connsiteX4" fmla="*/ 6065997 w 10362521"/>
              <a:gd name="connsiteY4" fmla="*/ 4427551 h 9945922"/>
              <a:gd name="connsiteX5" fmla="*/ 7625013 w 10362521"/>
              <a:gd name="connsiteY5" fmla="*/ 5222525 h 9945922"/>
              <a:gd name="connsiteX6" fmla="*/ 7995158 w 10362521"/>
              <a:gd name="connsiteY6" fmla="*/ 7119890 h 9945922"/>
              <a:gd name="connsiteX7" fmla="*/ 9698463 w 10362521"/>
              <a:gd name="connsiteY7" fmla="*/ 7906627 h 9945922"/>
              <a:gd name="connsiteX8" fmla="*/ 9872095 w 10362521"/>
              <a:gd name="connsiteY8" fmla="*/ 8961086 h 9945922"/>
              <a:gd name="connsiteX9" fmla="*/ 10301403 w 10362521"/>
              <a:gd name="connsiteY9" fmla="*/ 9546488 h 9945922"/>
              <a:gd name="connsiteX10" fmla="*/ 10336084 w 10362521"/>
              <a:gd name="connsiteY10" fmla="*/ 9945922 h 9945922"/>
              <a:gd name="connsiteX0" fmla="*/ 13626 w 10365465"/>
              <a:gd name="connsiteY0" fmla="*/ 0 h 9945922"/>
              <a:gd name="connsiteX1" fmla="*/ 2712390 w 10365465"/>
              <a:gd name="connsiteY1" fmla="*/ 613502 h 9945922"/>
              <a:gd name="connsiteX2" fmla="*/ 3694034 w 10365465"/>
              <a:gd name="connsiteY2" fmla="*/ 2475331 h 9945922"/>
              <a:gd name="connsiteX3" fmla="*/ 5506773 w 10365465"/>
              <a:gd name="connsiteY3" fmla="*/ 3126937 h 9945922"/>
              <a:gd name="connsiteX4" fmla="*/ 6065997 w 10365465"/>
              <a:gd name="connsiteY4" fmla="*/ 4427551 h 9945922"/>
              <a:gd name="connsiteX5" fmla="*/ 7625013 w 10365465"/>
              <a:gd name="connsiteY5" fmla="*/ 5222525 h 9945922"/>
              <a:gd name="connsiteX6" fmla="*/ 7995158 w 10365465"/>
              <a:gd name="connsiteY6" fmla="*/ 7119890 h 9945922"/>
              <a:gd name="connsiteX7" fmla="*/ 9698463 w 10365465"/>
              <a:gd name="connsiteY7" fmla="*/ 7906627 h 9945922"/>
              <a:gd name="connsiteX8" fmla="*/ 9818617 w 10365465"/>
              <a:gd name="connsiteY8" fmla="*/ 8980897 h 9945922"/>
              <a:gd name="connsiteX9" fmla="*/ 10301403 w 10365465"/>
              <a:gd name="connsiteY9" fmla="*/ 9546488 h 9945922"/>
              <a:gd name="connsiteX10" fmla="*/ 10336084 w 10365465"/>
              <a:gd name="connsiteY10" fmla="*/ 9945922 h 9945922"/>
              <a:gd name="connsiteX0" fmla="*/ 13626 w 10364718"/>
              <a:gd name="connsiteY0" fmla="*/ 0 h 9945922"/>
              <a:gd name="connsiteX1" fmla="*/ 2712390 w 10364718"/>
              <a:gd name="connsiteY1" fmla="*/ 613502 h 9945922"/>
              <a:gd name="connsiteX2" fmla="*/ 3694034 w 10364718"/>
              <a:gd name="connsiteY2" fmla="*/ 2475331 h 9945922"/>
              <a:gd name="connsiteX3" fmla="*/ 5506773 w 10364718"/>
              <a:gd name="connsiteY3" fmla="*/ 3126937 h 9945922"/>
              <a:gd name="connsiteX4" fmla="*/ 6065997 w 10364718"/>
              <a:gd name="connsiteY4" fmla="*/ 4427551 h 9945922"/>
              <a:gd name="connsiteX5" fmla="*/ 7625013 w 10364718"/>
              <a:gd name="connsiteY5" fmla="*/ 5222525 h 9945922"/>
              <a:gd name="connsiteX6" fmla="*/ 7995158 w 10364718"/>
              <a:gd name="connsiteY6" fmla="*/ 7119890 h 9945922"/>
              <a:gd name="connsiteX7" fmla="*/ 9698463 w 10364718"/>
              <a:gd name="connsiteY7" fmla="*/ 7906627 h 9945922"/>
              <a:gd name="connsiteX8" fmla="*/ 9831884 w 10364718"/>
              <a:gd name="connsiteY8" fmla="*/ 9000910 h 9945922"/>
              <a:gd name="connsiteX9" fmla="*/ 10301403 w 10364718"/>
              <a:gd name="connsiteY9" fmla="*/ 9546488 h 9945922"/>
              <a:gd name="connsiteX10" fmla="*/ 10336084 w 10364718"/>
              <a:gd name="connsiteY10" fmla="*/ 9945922 h 9945922"/>
              <a:gd name="connsiteX0" fmla="*/ 13774 w 10364866"/>
              <a:gd name="connsiteY0" fmla="*/ 0 h 9945922"/>
              <a:gd name="connsiteX1" fmla="*/ 2712538 w 10364866"/>
              <a:gd name="connsiteY1" fmla="*/ 613502 h 9945922"/>
              <a:gd name="connsiteX2" fmla="*/ 3856352 w 10364866"/>
              <a:gd name="connsiteY2" fmla="*/ 2708436 h 9945922"/>
              <a:gd name="connsiteX3" fmla="*/ 5506921 w 10364866"/>
              <a:gd name="connsiteY3" fmla="*/ 3126937 h 9945922"/>
              <a:gd name="connsiteX4" fmla="*/ 6066145 w 10364866"/>
              <a:gd name="connsiteY4" fmla="*/ 4427551 h 9945922"/>
              <a:gd name="connsiteX5" fmla="*/ 7625161 w 10364866"/>
              <a:gd name="connsiteY5" fmla="*/ 5222525 h 9945922"/>
              <a:gd name="connsiteX6" fmla="*/ 7995306 w 10364866"/>
              <a:gd name="connsiteY6" fmla="*/ 7119890 h 9945922"/>
              <a:gd name="connsiteX7" fmla="*/ 9698611 w 10364866"/>
              <a:gd name="connsiteY7" fmla="*/ 7906627 h 9945922"/>
              <a:gd name="connsiteX8" fmla="*/ 9832032 w 10364866"/>
              <a:gd name="connsiteY8" fmla="*/ 9000910 h 9945922"/>
              <a:gd name="connsiteX9" fmla="*/ 10301551 w 10364866"/>
              <a:gd name="connsiteY9" fmla="*/ 9546488 h 9945922"/>
              <a:gd name="connsiteX10" fmla="*/ 10336232 w 10364866"/>
              <a:gd name="connsiteY10" fmla="*/ 9945922 h 9945922"/>
              <a:gd name="connsiteX0" fmla="*/ 13806 w 10364898"/>
              <a:gd name="connsiteY0" fmla="*/ 0 h 9945922"/>
              <a:gd name="connsiteX1" fmla="*/ 2712570 w 10364898"/>
              <a:gd name="connsiteY1" fmla="*/ 613502 h 9945922"/>
              <a:gd name="connsiteX2" fmla="*/ 3889260 w 10364898"/>
              <a:gd name="connsiteY2" fmla="*/ 2571210 h 9945922"/>
              <a:gd name="connsiteX3" fmla="*/ 5506953 w 10364898"/>
              <a:gd name="connsiteY3" fmla="*/ 3126937 h 9945922"/>
              <a:gd name="connsiteX4" fmla="*/ 6066177 w 10364898"/>
              <a:gd name="connsiteY4" fmla="*/ 4427551 h 9945922"/>
              <a:gd name="connsiteX5" fmla="*/ 7625193 w 10364898"/>
              <a:gd name="connsiteY5" fmla="*/ 5222525 h 9945922"/>
              <a:gd name="connsiteX6" fmla="*/ 7995338 w 10364898"/>
              <a:gd name="connsiteY6" fmla="*/ 7119890 h 9945922"/>
              <a:gd name="connsiteX7" fmla="*/ 9698643 w 10364898"/>
              <a:gd name="connsiteY7" fmla="*/ 7906627 h 9945922"/>
              <a:gd name="connsiteX8" fmla="*/ 9832064 w 10364898"/>
              <a:gd name="connsiteY8" fmla="*/ 9000910 h 9945922"/>
              <a:gd name="connsiteX9" fmla="*/ 10301583 w 10364898"/>
              <a:gd name="connsiteY9" fmla="*/ 9546488 h 9945922"/>
              <a:gd name="connsiteX10" fmla="*/ 10336264 w 10364898"/>
              <a:gd name="connsiteY10" fmla="*/ 9945922 h 9945922"/>
              <a:gd name="connsiteX0" fmla="*/ 13858 w 10364950"/>
              <a:gd name="connsiteY0" fmla="*/ 0 h 9945922"/>
              <a:gd name="connsiteX1" fmla="*/ 2712622 w 10364950"/>
              <a:gd name="connsiteY1" fmla="*/ 613502 h 9945922"/>
              <a:gd name="connsiteX2" fmla="*/ 3946524 w 10364950"/>
              <a:gd name="connsiteY2" fmla="*/ 2690342 h 9945922"/>
              <a:gd name="connsiteX3" fmla="*/ 5507005 w 10364950"/>
              <a:gd name="connsiteY3" fmla="*/ 3126937 h 9945922"/>
              <a:gd name="connsiteX4" fmla="*/ 6066229 w 10364950"/>
              <a:gd name="connsiteY4" fmla="*/ 4427551 h 9945922"/>
              <a:gd name="connsiteX5" fmla="*/ 7625245 w 10364950"/>
              <a:gd name="connsiteY5" fmla="*/ 5222525 h 9945922"/>
              <a:gd name="connsiteX6" fmla="*/ 7995390 w 10364950"/>
              <a:gd name="connsiteY6" fmla="*/ 7119890 h 9945922"/>
              <a:gd name="connsiteX7" fmla="*/ 9698695 w 10364950"/>
              <a:gd name="connsiteY7" fmla="*/ 7906627 h 9945922"/>
              <a:gd name="connsiteX8" fmla="*/ 9832116 w 10364950"/>
              <a:gd name="connsiteY8" fmla="*/ 9000910 h 9945922"/>
              <a:gd name="connsiteX9" fmla="*/ 10301635 w 10364950"/>
              <a:gd name="connsiteY9" fmla="*/ 9546488 h 9945922"/>
              <a:gd name="connsiteX10" fmla="*/ 10336316 w 10364950"/>
              <a:gd name="connsiteY10" fmla="*/ 9945922 h 994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64950" h="9945922">
                <a:moveTo>
                  <a:pt x="13858" y="0"/>
                </a:moveTo>
                <a:cubicBezTo>
                  <a:pt x="-196961" y="23053"/>
                  <a:pt x="2057178" y="165112"/>
                  <a:pt x="2712622" y="613502"/>
                </a:cubicBezTo>
                <a:cubicBezTo>
                  <a:pt x="3368066" y="1061892"/>
                  <a:pt x="3480794" y="2271436"/>
                  <a:pt x="3946524" y="2690342"/>
                </a:cubicBezTo>
                <a:cubicBezTo>
                  <a:pt x="4412254" y="3109248"/>
                  <a:pt x="5153721" y="2837402"/>
                  <a:pt x="5507005" y="3126937"/>
                </a:cubicBezTo>
                <a:cubicBezTo>
                  <a:pt x="5860289" y="3416472"/>
                  <a:pt x="5713189" y="4078286"/>
                  <a:pt x="6066229" y="4427551"/>
                </a:cubicBezTo>
                <a:cubicBezTo>
                  <a:pt x="6419269" y="4776816"/>
                  <a:pt x="7303718" y="4773802"/>
                  <a:pt x="7625245" y="5222525"/>
                </a:cubicBezTo>
                <a:cubicBezTo>
                  <a:pt x="7946772" y="5671248"/>
                  <a:pt x="7649815" y="6672540"/>
                  <a:pt x="7995390" y="7119890"/>
                </a:cubicBezTo>
                <a:cubicBezTo>
                  <a:pt x="8340965" y="7567240"/>
                  <a:pt x="9392574" y="7593124"/>
                  <a:pt x="9698695" y="7906627"/>
                </a:cubicBezTo>
                <a:cubicBezTo>
                  <a:pt x="10004816" y="8220130"/>
                  <a:pt x="9731626" y="8727600"/>
                  <a:pt x="9832116" y="9000910"/>
                </a:cubicBezTo>
                <a:cubicBezTo>
                  <a:pt x="9932606" y="9274220"/>
                  <a:pt x="10217602" y="9388986"/>
                  <a:pt x="10301635" y="9546488"/>
                </a:cubicBezTo>
                <a:cubicBezTo>
                  <a:pt x="10385668" y="9703990"/>
                  <a:pt x="10373793" y="9791050"/>
                  <a:pt x="10336316" y="9945922"/>
                </a:cubicBezTo>
              </a:path>
            </a:pathLst>
          </a:custGeom>
          <a:noFill/>
          <a:ln w="38100" cap="rnd">
            <a:solidFill>
              <a:schemeClr val="tx2">
                <a:lumMod val="60000"/>
                <a:lumOff val="40000"/>
              </a:schemeClr>
            </a:solidFill>
            <a:prstDash val="sysDot"/>
            <a:headEnd type="none"/>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GE Inspira Sans"/>
              <a:ea typeface="+mn-ea"/>
              <a:cs typeface="+mn-cs"/>
            </a:endParaRPr>
          </a:p>
        </p:txBody>
      </p:sp>
      <p:sp>
        <p:nvSpPr>
          <p:cNvPr id="122" name="Rectangle: Rounded Corners 5">
            <a:extLst>
              <a:ext uri="{FF2B5EF4-FFF2-40B4-BE49-F238E27FC236}">
                <a16:creationId xmlns:a16="http://schemas.microsoft.com/office/drawing/2014/main" id="{2AC054BB-F639-4C84-9B07-4543D1E17386}"/>
              </a:ext>
            </a:extLst>
          </p:cNvPr>
          <p:cNvSpPr/>
          <p:nvPr/>
        </p:nvSpPr>
        <p:spPr>
          <a:xfrm>
            <a:off x="551478" y="4799140"/>
            <a:ext cx="1200921" cy="113956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 Inspira Sans"/>
              <a:ea typeface="+mn-ea"/>
              <a:cs typeface="+mn-cs"/>
            </a:endParaRPr>
          </a:p>
        </p:txBody>
      </p:sp>
      <p:sp>
        <p:nvSpPr>
          <p:cNvPr id="123" name="Rectangle: Rounded Corners 6">
            <a:extLst>
              <a:ext uri="{FF2B5EF4-FFF2-40B4-BE49-F238E27FC236}">
                <a16:creationId xmlns:a16="http://schemas.microsoft.com/office/drawing/2014/main" id="{3D2B8A03-78A8-4DAB-93E3-4E1DC0F15D48}"/>
              </a:ext>
            </a:extLst>
          </p:cNvPr>
          <p:cNvSpPr/>
          <p:nvPr/>
        </p:nvSpPr>
        <p:spPr>
          <a:xfrm>
            <a:off x="460263" y="1814928"/>
            <a:ext cx="1050237" cy="103138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 Inspira Sans"/>
              <a:ea typeface="+mn-ea"/>
              <a:cs typeface="+mn-cs"/>
            </a:endParaRPr>
          </a:p>
        </p:txBody>
      </p:sp>
      <p:grpSp>
        <p:nvGrpSpPr>
          <p:cNvPr id="124" name="Group 7">
            <a:extLst>
              <a:ext uri="{FF2B5EF4-FFF2-40B4-BE49-F238E27FC236}">
                <a16:creationId xmlns:a16="http://schemas.microsoft.com/office/drawing/2014/main" id="{4966461C-2A00-42AB-8E6B-EF6DEFE72287}"/>
              </a:ext>
            </a:extLst>
          </p:cNvPr>
          <p:cNvGrpSpPr/>
          <p:nvPr/>
        </p:nvGrpSpPr>
        <p:grpSpPr>
          <a:xfrm>
            <a:off x="823430" y="2053442"/>
            <a:ext cx="579955" cy="556932"/>
            <a:chOff x="627063" y="902494"/>
            <a:chExt cx="1479550" cy="1420813"/>
          </a:xfrm>
          <a:solidFill>
            <a:schemeClr val="accent4"/>
          </a:solidFill>
        </p:grpSpPr>
        <p:sp>
          <p:nvSpPr>
            <p:cNvPr id="130" name="Freeform 43">
              <a:extLst>
                <a:ext uri="{FF2B5EF4-FFF2-40B4-BE49-F238E27FC236}">
                  <a16:creationId xmlns:a16="http://schemas.microsoft.com/office/drawing/2014/main" id="{B4F5DA9E-FC25-4BE5-B814-6C61EDC45050}"/>
                </a:ext>
              </a:extLst>
            </p:cNvPr>
            <p:cNvSpPr>
              <a:spLocks/>
            </p:cNvSpPr>
            <p:nvPr/>
          </p:nvSpPr>
          <p:spPr bwMode="auto">
            <a:xfrm>
              <a:off x="736601" y="902494"/>
              <a:ext cx="1287463" cy="463550"/>
            </a:xfrm>
            <a:custGeom>
              <a:avLst/>
              <a:gdLst>
                <a:gd name="T0" fmla="*/ 38 w 2157"/>
                <a:gd name="T1" fmla="*/ 764 h 784"/>
                <a:gd name="T2" fmla="*/ 633 w 2157"/>
                <a:gd name="T3" fmla="*/ 651 h 784"/>
                <a:gd name="T4" fmla="*/ 1062 w 2157"/>
                <a:gd name="T5" fmla="*/ 633 h 784"/>
                <a:gd name="T6" fmla="*/ 1582 w 2157"/>
                <a:gd name="T7" fmla="*/ 662 h 784"/>
                <a:gd name="T8" fmla="*/ 2117 w 2157"/>
                <a:gd name="T9" fmla="*/ 780 h 784"/>
                <a:gd name="T10" fmla="*/ 2129 w 2157"/>
                <a:gd name="T11" fmla="*/ 784 h 784"/>
                <a:gd name="T12" fmla="*/ 2157 w 2157"/>
                <a:gd name="T13" fmla="*/ 656 h 784"/>
                <a:gd name="T14" fmla="*/ 1850 w 2157"/>
                <a:gd name="T15" fmla="*/ 348 h 784"/>
                <a:gd name="T16" fmla="*/ 1717 w 2157"/>
                <a:gd name="T17" fmla="*/ 379 h 784"/>
                <a:gd name="T18" fmla="*/ 1464 w 2157"/>
                <a:gd name="T19" fmla="*/ 133 h 784"/>
                <a:gd name="T20" fmla="*/ 1260 w 2157"/>
                <a:gd name="T21" fmla="*/ 237 h 784"/>
                <a:gd name="T22" fmla="*/ 1339 w 2157"/>
                <a:gd name="T23" fmla="*/ 117 h 784"/>
                <a:gd name="T24" fmla="*/ 1079 w 2157"/>
                <a:gd name="T25" fmla="*/ 0 h 784"/>
                <a:gd name="T26" fmla="*/ 818 w 2157"/>
                <a:gd name="T27" fmla="*/ 117 h 784"/>
                <a:gd name="T28" fmla="*/ 898 w 2157"/>
                <a:gd name="T29" fmla="*/ 237 h 784"/>
                <a:gd name="T30" fmla="*/ 693 w 2157"/>
                <a:gd name="T31" fmla="*/ 133 h 784"/>
                <a:gd name="T32" fmla="*/ 441 w 2157"/>
                <a:gd name="T33" fmla="*/ 379 h 784"/>
                <a:gd name="T34" fmla="*/ 308 w 2157"/>
                <a:gd name="T35" fmla="*/ 348 h 784"/>
                <a:gd name="T36" fmla="*/ 0 w 2157"/>
                <a:gd name="T37" fmla="*/ 656 h 784"/>
                <a:gd name="T38" fmla="*/ 22 w 2157"/>
                <a:gd name="T39" fmla="*/ 770 h 784"/>
                <a:gd name="T40" fmla="*/ 38 w 2157"/>
                <a:gd name="T41" fmla="*/ 764 h 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57" h="784">
                  <a:moveTo>
                    <a:pt x="38" y="764"/>
                  </a:moveTo>
                  <a:cubicBezTo>
                    <a:pt x="249" y="692"/>
                    <a:pt x="466" y="666"/>
                    <a:pt x="633" y="651"/>
                  </a:cubicBezTo>
                  <a:cubicBezTo>
                    <a:pt x="776" y="639"/>
                    <a:pt x="921" y="633"/>
                    <a:pt x="1062" y="633"/>
                  </a:cubicBezTo>
                  <a:cubicBezTo>
                    <a:pt x="1239" y="633"/>
                    <a:pt x="1413" y="642"/>
                    <a:pt x="1582" y="662"/>
                  </a:cubicBezTo>
                  <a:cubicBezTo>
                    <a:pt x="1733" y="679"/>
                    <a:pt x="1930" y="708"/>
                    <a:pt x="2117" y="780"/>
                  </a:cubicBezTo>
                  <a:cubicBezTo>
                    <a:pt x="2120" y="781"/>
                    <a:pt x="2125" y="783"/>
                    <a:pt x="2129" y="784"/>
                  </a:cubicBezTo>
                  <a:cubicBezTo>
                    <a:pt x="2147" y="745"/>
                    <a:pt x="2157" y="702"/>
                    <a:pt x="2157" y="656"/>
                  </a:cubicBezTo>
                  <a:cubicBezTo>
                    <a:pt x="2157" y="486"/>
                    <a:pt x="2019" y="348"/>
                    <a:pt x="1850" y="348"/>
                  </a:cubicBezTo>
                  <a:cubicBezTo>
                    <a:pt x="1802" y="348"/>
                    <a:pt x="1757" y="359"/>
                    <a:pt x="1717" y="379"/>
                  </a:cubicBezTo>
                  <a:cubicBezTo>
                    <a:pt x="1713" y="242"/>
                    <a:pt x="1601" y="133"/>
                    <a:pt x="1464" y="133"/>
                  </a:cubicBezTo>
                  <a:cubicBezTo>
                    <a:pt x="1380" y="133"/>
                    <a:pt x="1306" y="174"/>
                    <a:pt x="1260" y="237"/>
                  </a:cubicBezTo>
                  <a:cubicBezTo>
                    <a:pt x="1274" y="190"/>
                    <a:pt x="1302" y="148"/>
                    <a:pt x="1339" y="117"/>
                  </a:cubicBezTo>
                  <a:cubicBezTo>
                    <a:pt x="1275" y="45"/>
                    <a:pt x="1183" y="0"/>
                    <a:pt x="1079" y="0"/>
                  </a:cubicBezTo>
                  <a:cubicBezTo>
                    <a:pt x="975" y="0"/>
                    <a:pt x="882" y="45"/>
                    <a:pt x="818" y="117"/>
                  </a:cubicBezTo>
                  <a:cubicBezTo>
                    <a:pt x="855" y="148"/>
                    <a:pt x="883" y="190"/>
                    <a:pt x="898" y="237"/>
                  </a:cubicBezTo>
                  <a:cubicBezTo>
                    <a:pt x="852" y="174"/>
                    <a:pt x="777" y="133"/>
                    <a:pt x="693" y="133"/>
                  </a:cubicBezTo>
                  <a:cubicBezTo>
                    <a:pt x="556" y="133"/>
                    <a:pt x="444" y="242"/>
                    <a:pt x="441" y="379"/>
                  </a:cubicBezTo>
                  <a:cubicBezTo>
                    <a:pt x="401" y="359"/>
                    <a:pt x="356" y="348"/>
                    <a:pt x="308" y="348"/>
                  </a:cubicBezTo>
                  <a:cubicBezTo>
                    <a:pt x="138" y="348"/>
                    <a:pt x="0" y="486"/>
                    <a:pt x="0" y="656"/>
                  </a:cubicBezTo>
                  <a:cubicBezTo>
                    <a:pt x="0" y="696"/>
                    <a:pt x="8" y="734"/>
                    <a:pt x="22" y="770"/>
                  </a:cubicBezTo>
                  <a:cubicBezTo>
                    <a:pt x="28" y="768"/>
                    <a:pt x="33" y="766"/>
                    <a:pt x="38" y="76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134" name="Freeform 45">
              <a:extLst>
                <a:ext uri="{FF2B5EF4-FFF2-40B4-BE49-F238E27FC236}">
                  <a16:creationId xmlns:a16="http://schemas.microsoft.com/office/drawing/2014/main" id="{0E8E7884-2DFE-4030-9FBF-E251C2B30409}"/>
                </a:ext>
              </a:extLst>
            </p:cNvPr>
            <p:cNvSpPr>
              <a:spLocks/>
            </p:cNvSpPr>
            <p:nvPr/>
          </p:nvSpPr>
          <p:spPr bwMode="auto">
            <a:xfrm>
              <a:off x="627063" y="1339057"/>
              <a:ext cx="1479550" cy="747713"/>
            </a:xfrm>
            <a:custGeom>
              <a:avLst/>
              <a:gdLst>
                <a:gd name="T0" fmla="*/ 2480 w 2481"/>
                <a:gd name="T1" fmla="*/ 706 h 1262"/>
                <a:gd name="T2" fmla="*/ 2480 w 2481"/>
                <a:gd name="T3" fmla="*/ 430 h 1262"/>
                <a:gd name="T4" fmla="*/ 2480 w 2481"/>
                <a:gd name="T5" fmla="*/ 358 h 1262"/>
                <a:gd name="T6" fmla="*/ 2263 w 2481"/>
                <a:gd name="T7" fmla="*/ 140 h 1262"/>
                <a:gd name="T8" fmla="*/ 1754 w 2481"/>
                <a:gd name="T9" fmla="*/ 29 h 1262"/>
                <a:gd name="T10" fmla="*/ 1246 w 2481"/>
                <a:gd name="T11" fmla="*/ 0 h 1262"/>
                <a:gd name="T12" fmla="*/ 826 w 2481"/>
                <a:gd name="T13" fmla="*/ 19 h 1262"/>
                <a:gd name="T14" fmla="*/ 256 w 2481"/>
                <a:gd name="T15" fmla="*/ 126 h 1262"/>
                <a:gd name="T16" fmla="*/ 0 w 2481"/>
                <a:gd name="T17" fmla="*/ 358 h 1262"/>
                <a:gd name="T18" fmla="*/ 0 w 2481"/>
                <a:gd name="T19" fmla="*/ 867 h 1262"/>
                <a:gd name="T20" fmla="*/ 0 w 2481"/>
                <a:gd name="T21" fmla="*/ 1080 h 1262"/>
                <a:gd name="T22" fmla="*/ 111 w 2481"/>
                <a:gd name="T23" fmla="*/ 1247 h 1262"/>
                <a:gd name="T24" fmla="*/ 103 w 2481"/>
                <a:gd name="T25" fmla="*/ 1242 h 1262"/>
                <a:gd name="T26" fmla="*/ 123 w 2481"/>
                <a:gd name="T27" fmla="*/ 1255 h 1262"/>
                <a:gd name="T28" fmla="*/ 111 w 2481"/>
                <a:gd name="T29" fmla="*/ 1247 h 1262"/>
                <a:gd name="T30" fmla="*/ 194 w 2481"/>
                <a:gd name="T31" fmla="*/ 1262 h 1262"/>
                <a:gd name="T32" fmla="*/ 206 w 2481"/>
                <a:gd name="T33" fmla="*/ 1262 h 1262"/>
                <a:gd name="T34" fmla="*/ 559 w 2481"/>
                <a:gd name="T35" fmla="*/ 1017 h 1262"/>
                <a:gd name="T36" fmla="*/ 910 w 2481"/>
                <a:gd name="T37" fmla="*/ 1261 h 1262"/>
                <a:gd name="T38" fmla="*/ 1278 w 2481"/>
                <a:gd name="T39" fmla="*/ 1260 h 1262"/>
                <a:gd name="T40" fmla="*/ 1570 w 2481"/>
                <a:gd name="T41" fmla="*/ 1261 h 1262"/>
                <a:gd name="T42" fmla="*/ 1922 w 2481"/>
                <a:gd name="T43" fmla="*/ 1017 h 1262"/>
                <a:gd name="T44" fmla="*/ 2273 w 2481"/>
                <a:gd name="T45" fmla="*/ 1261 h 1262"/>
                <a:gd name="T46" fmla="*/ 2370 w 2481"/>
                <a:gd name="T47" fmla="*/ 1246 h 1262"/>
                <a:gd name="T48" fmla="*/ 2480 w 2481"/>
                <a:gd name="T49" fmla="*/ 970 h 1262"/>
                <a:gd name="T50" fmla="*/ 2480 w 2481"/>
                <a:gd name="T51" fmla="*/ 706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81" h="1262">
                  <a:moveTo>
                    <a:pt x="2480" y="706"/>
                  </a:moveTo>
                  <a:cubicBezTo>
                    <a:pt x="2480" y="430"/>
                    <a:pt x="2480" y="430"/>
                    <a:pt x="2480" y="430"/>
                  </a:cubicBezTo>
                  <a:cubicBezTo>
                    <a:pt x="2480" y="358"/>
                    <a:pt x="2480" y="358"/>
                    <a:pt x="2480" y="358"/>
                  </a:cubicBezTo>
                  <a:cubicBezTo>
                    <a:pt x="2480" y="238"/>
                    <a:pt x="2359" y="178"/>
                    <a:pt x="2263" y="140"/>
                  </a:cubicBezTo>
                  <a:cubicBezTo>
                    <a:pt x="2101" y="78"/>
                    <a:pt x="1926" y="48"/>
                    <a:pt x="1754" y="29"/>
                  </a:cubicBezTo>
                  <a:cubicBezTo>
                    <a:pt x="1586" y="9"/>
                    <a:pt x="1416" y="0"/>
                    <a:pt x="1246" y="0"/>
                  </a:cubicBezTo>
                  <a:cubicBezTo>
                    <a:pt x="1106" y="0"/>
                    <a:pt x="965" y="7"/>
                    <a:pt x="826" y="19"/>
                  </a:cubicBezTo>
                  <a:cubicBezTo>
                    <a:pt x="634" y="35"/>
                    <a:pt x="439" y="63"/>
                    <a:pt x="256" y="126"/>
                  </a:cubicBezTo>
                  <a:cubicBezTo>
                    <a:pt x="150" y="163"/>
                    <a:pt x="0" y="224"/>
                    <a:pt x="0" y="358"/>
                  </a:cubicBezTo>
                  <a:cubicBezTo>
                    <a:pt x="0" y="867"/>
                    <a:pt x="0" y="867"/>
                    <a:pt x="0" y="867"/>
                  </a:cubicBezTo>
                  <a:cubicBezTo>
                    <a:pt x="0" y="1080"/>
                    <a:pt x="0" y="1080"/>
                    <a:pt x="0" y="1080"/>
                  </a:cubicBezTo>
                  <a:cubicBezTo>
                    <a:pt x="0" y="1178"/>
                    <a:pt x="80" y="1227"/>
                    <a:pt x="111" y="1247"/>
                  </a:cubicBezTo>
                  <a:cubicBezTo>
                    <a:pt x="105" y="1243"/>
                    <a:pt x="103" y="1242"/>
                    <a:pt x="103" y="1242"/>
                  </a:cubicBezTo>
                  <a:cubicBezTo>
                    <a:pt x="103" y="1242"/>
                    <a:pt x="123" y="1255"/>
                    <a:pt x="123" y="1255"/>
                  </a:cubicBezTo>
                  <a:cubicBezTo>
                    <a:pt x="124" y="1255"/>
                    <a:pt x="120" y="1253"/>
                    <a:pt x="111" y="1247"/>
                  </a:cubicBezTo>
                  <a:cubicBezTo>
                    <a:pt x="131" y="1260"/>
                    <a:pt x="163" y="1262"/>
                    <a:pt x="194" y="1262"/>
                  </a:cubicBezTo>
                  <a:cubicBezTo>
                    <a:pt x="198" y="1262"/>
                    <a:pt x="202" y="1262"/>
                    <a:pt x="206" y="1262"/>
                  </a:cubicBezTo>
                  <a:cubicBezTo>
                    <a:pt x="260" y="1119"/>
                    <a:pt x="397" y="1017"/>
                    <a:pt x="559" y="1017"/>
                  </a:cubicBezTo>
                  <a:cubicBezTo>
                    <a:pt x="720" y="1017"/>
                    <a:pt x="857" y="1119"/>
                    <a:pt x="910" y="1261"/>
                  </a:cubicBezTo>
                  <a:cubicBezTo>
                    <a:pt x="1033" y="1261"/>
                    <a:pt x="1156" y="1260"/>
                    <a:pt x="1278" y="1260"/>
                  </a:cubicBezTo>
                  <a:cubicBezTo>
                    <a:pt x="1376" y="1260"/>
                    <a:pt x="1473" y="1261"/>
                    <a:pt x="1570" y="1261"/>
                  </a:cubicBezTo>
                  <a:cubicBezTo>
                    <a:pt x="1623" y="1119"/>
                    <a:pt x="1761" y="1017"/>
                    <a:pt x="1922" y="1017"/>
                  </a:cubicBezTo>
                  <a:cubicBezTo>
                    <a:pt x="2082" y="1017"/>
                    <a:pt x="2220" y="1119"/>
                    <a:pt x="2273" y="1261"/>
                  </a:cubicBezTo>
                  <a:cubicBezTo>
                    <a:pt x="2306" y="1261"/>
                    <a:pt x="2341" y="1259"/>
                    <a:pt x="2370" y="1246"/>
                  </a:cubicBezTo>
                  <a:cubicBezTo>
                    <a:pt x="2473" y="1200"/>
                    <a:pt x="2478" y="1068"/>
                    <a:pt x="2480" y="970"/>
                  </a:cubicBezTo>
                  <a:cubicBezTo>
                    <a:pt x="2481" y="882"/>
                    <a:pt x="2480" y="794"/>
                    <a:pt x="2480" y="706"/>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135" name="Oval 46">
              <a:extLst>
                <a:ext uri="{FF2B5EF4-FFF2-40B4-BE49-F238E27FC236}">
                  <a16:creationId xmlns:a16="http://schemas.microsoft.com/office/drawing/2014/main" id="{BB0D5523-DCD2-4A24-B1A9-815CCD9BD9F8}"/>
                </a:ext>
              </a:extLst>
            </p:cNvPr>
            <p:cNvSpPr>
              <a:spLocks noChangeArrowheads="1"/>
            </p:cNvSpPr>
            <p:nvPr/>
          </p:nvSpPr>
          <p:spPr bwMode="auto">
            <a:xfrm>
              <a:off x="800101" y="2004219"/>
              <a:ext cx="320675" cy="31908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136" name="Oval 47">
              <a:extLst>
                <a:ext uri="{FF2B5EF4-FFF2-40B4-BE49-F238E27FC236}">
                  <a16:creationId xmlns:a16="http://schemas.microsoft.com/office/drawing/2014/main" id="{841B9D27-0E53-4AF6-902A-2F4449FEF187}"/>
                </a:ext>
              </a:extLst>
            </p:cNvPr>
            <p:cNvSpPr>
              <a:spLocks noChangeArrowheads="1"/>
            </p:cNvSpPr>
            <p:nvPr/>
          </p:nvSpPr>
          <p:spPr bwMode="auto">
            <a:xfrm>
              <a:off x="1612901" y="2004219"/>
              <a:ext cx="320675" cy="31908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3666A"/>
                </a:solidFill>
                <a:effectLst/>
                <a:uLnTx/>
                <a:uFillTx/>
                <a:latin typeface="GE Inspira Sans"/>
                <a:ea typeface="+mn-ea"/>
                <a:cs typeface="+mn-cs"/>
              </a:endParaRPr>
            </a:p>
          </p:txBody>
        </p:sp>
      </p:grpSp>
      <p:sp>
        <p:nvSpPr>
          <p:cNvPr id="137" name="Arrow: Up-Down 12">
            <a:extLst>
              <a:ext uri="{FF2B5EF4-FFF2-40B4-BE49-F238E27FC236}">
                <a16:creationId xmlns:a16="http://schemas.microsoft.com/office/drawing/2014/main" id="{DC5DC449-D478-45F0-8B11-F398499CEC6D}"/>
              </a:ext>
            </a:extLst>
          </p:cNvPr>
          <p:cNvSpPr/>
          <p:nvPr/>
        </p:nvSpPr>
        <p:spPr>
          <a:xfrm>
            <a:off x="524791" y="1961922"/>
            <a:ext cx="188637" cy="451942"/>
          </a:xfrm>
          <a:prstGeom prst="up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 Inspira Sans"/>
              <a:ea typeface="+mn-ea"/>
              <a:cs typeface="+mn-cs"/>
            </a:endParaRPr>
          </a:p>
        </p:txBody>
      </p:sp>
      <p:sp>
        <p:nvSpPr>
          <p:cNvPr id="138" name="Freeform: Shape 13">
            <a:extLst>
              <a:ext uri="{FF2B5EF4-FFF2-40B4-BE49-F238E27FC236}">
                <a16:creationId xmlns:a16="http://schemas.microsoft.com/office/drawing/2014/main" id="{96CCE3D9-303F-40D7-8294-2DA2AC4E3AC3}"/>
              </a:ext>
            </a:extLst>
          </p:cNvPr>
          <p:cNvSpPr/>
          <p:nvPr/>
        </p:nvSpPr>
        <p:spPr>
          <a:xfrm rot="8085184">
            <a:off x="1478563" y="4860083"/>
            <a:ext cx="341586" cy="334416"/>
          </a:xfrm>
          <a:custGeom>
            <a:avLst/>
            <a:gdLst>
              <a:gd name="connsiteX0" fmla="*/ 0 w 1534149"/>
              <a:gd name="connsiteY0" fmla="*/ 99644 h 1254675"/>
              <a:gd name="connsiteX1" fmla="*/ 240632 w 1534149"/>
              <a:gd name="connsiteY1" fmla="*/ 3391 h 1254675"/>
              <a:gd name="connsiteX2" fmla="*/ 312821 w 1534149"/>
              <a:gd name="connsiteY2" fmla="*/ 207928 h 1254675"/>
              <a:gd name="connsiteX3" fmla="*/ 348916 w 1534149"/>
              <a:gd name="connsiteY3" fmla="*/ 328244 h 1254675"/>
              <a:gd name="connsiteX4" fmla="*/ 637674 w 1534149"/>
              <a:gd name="connsiteY4" fmla="*/ 195896 h 1254675"/>
              <a:gd name="connsiteX5" fmla="*/ 625642 w 1534149"/>
              <a:gd name="connsiteY5" fmla="*/ 472623 h 1254675"/>
              <a:gd name="connsiteX6" fmla="*/ 926432 w 1534149"/>
              <a:gd name="connsiteY6" fmla="*/ 388401 h 1254675"/>
              <a:gd name="connsiteX7" fmla="*/ 950495 w 1534149"/>
              <a:gd name="connsiteY7" fmla="*/ 689191 h 1254675"/>
              <a:gd name="connsiteX8" fmla="*/ 1215189 w 1534149"/>
              <a:gd name="connsiteY8" fmla="*/ 677159 h 1254675"/>
              <a:gd name="connsiteX9" fmla="*/ 1227221 w 1534149"/>
              <a:gd name="connsiteY9" fmla="*/ 965917 h 1254675"/>
              <a:gd name="connsiteX10" fmla="*/ 1515979 w 1534149"/>
              <a:gd name="connsiteY10" fmla="*/ 941854 h 1254675"/>
              <a:gd name="connsiteX11" fmla="*/ 1479884 w 1534149"/>
              <a:gd name="connsiteY11" fmla="*/ 1254675 h 1254675"/>
              <a:gd name="connsiteX0" fmla="*/ 0 w 1293517"/>
              <a:gd name="connsiteY0" fmla="*/ 0 h 1251284"/>
              <a:gd name="connsiteX1" fmla="*/ 72189 w 1293517"/>
              <a:gd name="connsiteY1" fmla="*/ 204537 h 1251284"/>
              <a:gd name="connsiteX2" fmla="*/ 108284 w 1293517"/>
              <a:gd name="connsiteY2" fmla="*/ 324853 h 1251284"/>
              <a:gd name="connsiteX3" fmla="*/ 397042 w 1293517"/>
              <a:gd name="connsiteY3" fmla="*/ 192505 h 1251284"/>
              <a:gd name="connsiteX4" fmla="*/ 385010 w 1293517"/>
              <a:gd name="connsiteY4" fmla="*/ 469232 h 1251284"/>
              <a:gd name="connsiteX5" fmla="*/ 685800 w 1293517"/>
              <a:gd name="connsiteY5" fmla="*/ 385010 h 1251284"/>
              <a:gd name="connsiteX6" fmla="*/ 709863 w 1293517"/>
              <a:gd name="connsiteY6" fmla="*/ 685800 h 1251284"/>
              <a:gd name="connsiteX7" fmla="*/ 974557 w 1293517"/>
              <a:gd name="connsiteY7" fmla="*/ 673768 h 1251284"/>
              <a:gd name="connsiteX8" fmla="*/ 986589 w 1293517"/>
              <a:gd name="connsiteY8" fmla="*/ 962526 h 1251284"/>
              <a:gd name="connsiteX9" fmla="*/ 1275347 w 1293517"/>
              <a:gd name="connsiteY9" fmla="*/ 938463 h 1251284"/>
              <a:gd name="connsiteX10" fmla="*/ 1239252 w 1293517"/>
              <a:gd name="connsiteY10" fmla="*/ 1251284 h 1251284"/>
              <a:gd name="connsiteX0" fmla="*/ 0 w 1221328"/>
              <a:gd name="connsiteY0" fmla="*/ 14578 h 1061325"/>
              <a:gd name="connsiteX1" fmla="*/ 36095 w 1221328"/>
              <a:gd name="connsiteY1" fmla="*/ 134894 h 1061325"/>
              <a:gd name="connsiteX2" fmla="*/ 324853 w 1221328"/>
              <a:gd name="connsiteY2" fmla="*/ 2546 h 1061325"/>
              <a:gd name="connsiteX3" fmla="*/ 312821 w 1221328"/>
              <a:gd name="connsiteY3" fmla="*/ 279273 h 1061325"/>
              <a:gd name="connsiteX4" fmla="*/ 613611 w 1221328"/>
              <a:gd name="connsiteY4" fmla="*/ 195051 h 1061325"/>
              <a:gd name="connsiteX5" fmla="*/ 637674 w 1221328"/>
              <a:gd name="connsiteY5" fmla="*/ 495841 h 1061325"/>
              <a:gd name="connsiteX6" fmla="*/ 902368 w 1221328"/>
              <a:gd name="connsiteY6" fmla="*/ 483809 h 1061325"/>
              <a:gd name="connsiteX7" fmla="*/ 914400 w 1221328"/>
              <a:gd name="connsiteY7" fmla="*/ 772567 h 1061325"/>
              <a:gd name="connsiteX8" fmla="*/ 1203158 w 1221328"/>
              <a:gd name="connsiteY8" fmla="*/ 748504 h 1061325"/>
              <a:gd name="connsiteX9" fmla="*/ 1167063 w 1221328"/>
              <a:gd name="connsiteY9" fmla="*/ 1061325 h 1061325"/>
              <a:gd name="connsiteX0" fmla="*/ 0 w 1185233"/>
              <a:gd name="connsiteY0" fmla="*/ 134894 h 1061325"/>
              <a:gd name="connsiteX1" fmla="*/ 288758 w 1185233"/>
              <a:gd name="connsiteY1" fmla="*/ 2546 h 1061325"/>
              <a:gd name="connsiteX2" fmla="*/ 276726 w 1185233"/>
              <a:gd name="connsiteY2" fmla="*/ 279273 h 1061325"/>
              <a:gd name="connsiteX3" fmla="*/ 577516 w 1185233"/>
              <a:gd name="connsiteY3" fmla="*/ 195051 h 1061325"/>
              <a:gd name="connsiteX4" fmla="*/ 601579 w 1185233"/>
              <a:gd name="connsiteY4" fmla="*/ 495841 h 1061325"/>
              <a:gd name="connsiteX5" fmla="*/ 866273 w 1185233"/>
              <a:gd name="connsiteY5" fmla="*/ 483809 h 1061325"/>
              <a:gd name="connsiteX6" fmla="*/ 878305 w 1185233"/>
              <a:gd name="connsiteY6" fmla="*/ 772567 h 1061325"/>
              <a:gd name="connsiteX7" fmla="*/ 1167063 w 1185233"/>
              <a:gd name="connsiteY7" fmla="*/ 748504 h 1061325"/>
              <a:gd name="connsiteX8" fmla="*/ 1130968 w 1185233"/>
              <a:gd name="connsiteY8" fmla="*/ 1061325 h 1061325"/>
              <a:gd name="connsiteX0" fmla="*/ 24849 w 921324"/>
              <a:gd name="connsiteY0" fmla="*/ 0 h 1058779"/>
              <a:gd name="connsiteX1" fmla="*/ 12817 w 921324"/>
              <a:gd name="connsiteY1" fmla="*/ 276727 h 1058779"/>
              <a:gd name="connsiteX2" fmla="*/ 313607 w 921324"/>
              <a:gd name="connsiteY2" fmla="*/ 192505 h 1058779"/>
              <a:gd name="connsiteX3" fmla="*/ 337670 w 921324"/>
              <a:gd name="connsiteY3" fmla="*/ 493295 h 1058779"/>
              <a:gd name="connsiteX4" fmla="*/ 602364 w 921324"/>
              <a:gd name="connsiteY4" fmla="*/ 481263 h 1058779"/>
              <a:gd name="connsiteX5" fmla="*/ 614396 w 921324"/>
              <a:gd name="connsiteY5" fmla="*/ 770021 h 1058779"/>
              <a:gd name="connsiteX6" fmla="*/ 903154 w 921324"/>
              <a:gd name="connsiteY6" fmla="*/ 745958 h 1058779"/>
              <a:gd name="connsiteX7" fmla="*/ 867059 w 921324"/>
              <a:gd name="connsiteY7" fmla="*/ 1058779 h 1058779"/>
              <a:gd name="connsiteX0" fmla="*/ 0 w 908507"/>
              <a:gd name="connsiteY0" fmla="*/ 89792 h 871844"/>
              <a:gd name="connsiteX1" fmla="*/ 300790 w 908507"/>
              <a:gd name="connsiteY1" fmla="*/ 5570 h 871844"/>
              <a:gd name="connsiteX2" fmla="*/ 324853 w 908507"/>
              <a:gd name="connsiteY2" fmla="*/ 306360 h 871844"/>
              <a:gd name="connsiteX3" fmla="*/ 589547 w 908507"/>
              <a:gd name="connsiteY3" fmla="*/ 294328 h 871844"/>
              <a:gd name="connsiteX4" fmla="*/ 601579 w 908507"/>
              <a:gd name="connsiteY4" fmla="*/ 583086 h 871844"/>
              <a:gd name="connsiteX5" fmla="*/ 890337 w 908507"/>
              <a:gd name="connsiteY5" fmla="*/ 559023 h 871844"/>
              <a:gd name="connsiteX6" fmla="*/ 854242 w 908507"/>
              <a:gd name="connsiteY6" fmla="*/ 871844 h 871844"/>
              <a:gd name="connsiteX0" fmla="*/ 0 w 607717"/>
              <a:gd name="connsiteY0" fmla="*/ 0 h 866274"/>
              <a:gd name="connsiteX1" fmla="*/ 24063 w 607717"/>
              <a:gd name="connsiteY1" fmla="*/ 300790 h 866274"/>
              <a:gd name="connsiteX2" fmla="*/ 288757 w 607717"/>
              <a:gd name="connsiteY2" fmla="*/ 288758 h 866274"/>
              <a:gd name="connsiteX3" fmla="*/ 300789 w 607717"/>
              <a:gd name="connsiteY3" fmla="*/ 577516 h 866274"/>
              <a:gd name="connsiteX4" fmla="*/ 589547 w 607717"/>
              <a:gd name="connsiteY4" fmla="*/ 553453 h 866274"/>
              <a:gd name="connsiteX5" fmla="*/ 553452 w 607717"/>
              <a:gd name="connsiteY5" fmla="*/ 866274 h 866274"/>
              <a:gd name="connsiteX0" fmla="*/ 0 w 589547"/>
              <a:gd name="connsiteY0" fmla="*/ 0 h 587710"/>
              <a:gd name="connsiteX1" fmla="*/ 24063 w 589547"/>
              <a:gd name="connsiteY1" fmla="*/ 300790 h 587710"/>
              <a:gd name="connsiteX2" fmla="*/ 288757 w 589547"/>
              <a:gd name="connsiteY2" fmla="*/ 288758 h 587710"/>
              <a:gd name="connsiteX3" fmla="*/ 300789 w 589547"/>
              <a:gd name="connsiteY3" fmla="*/ 577516 h 587710"/>
              <a:gd name="connsiteX4" fmla="*/ 589547 w 589547"/>
              <a:gd name="connsiteY4" fmla="*/ 553453 h 587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547" h="587710">
                <a:moveTo>
                  <a:pt x="0" y="0"/>
                </a:moveTo>
                <a:cubicBezTo>
                  <a:pt x="54142" y="36095"/>
                  <a:pt x="-24063" y="252664"/>
                  <a:pt x="24063" y="300790"/>
                </a:cubicBezTo>
                <a:cubicBezTo>
                  <a:pt x="72189" y="348916"/>
                  <a:pt x="242636" y="242637"/>
                  <a:pt x="288757" y="288758"/>
                </a:cubicBezTo>
                <a:cubicBezTo>
                  <a:pt x="334878" y="334879"/>
                  <a:pt x="250657" y="533400"/>
                  <a:pt x="300789" y="577516"/>
                </a:cubicBezTo>
                <a:cubicBezTo>
                  <a:pt x="350921" y="621632"/>
                  <a:pt x="547437" y="505327"/>
                  <a:pt x="589547" y="553453"/>
                </a:cubicBezTo>
              </a:path>
            </a:pathLst>
          </a:custGeom>
          <a:noFill/>
          <a:ln w="28575">
            <a:solidFill>
              <a:schemeClr val="accent3"/>
            </a:solidFill>
            <a:headEnd type="stealth" w="lg" len="lg"/>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highlight>
                <a:srgbClr val="FFCC66"/>
              </a:highlight>
              <a:uLnTx/>
              <a:uFillTx/>
              <a:latin typeface="GE Inspira Sans"/>
              <a:ea typeface="+mn-ea"/>
              <a:cs typeface="+mn-cs"/>
            </a:endParaRPr>
          </a:p>
        </p:txBody>
      </p:sp>
      <p:sp>
        <p:nvSpPr>
          <p:cNvPr id="139" name="Freeform 19">
            <a:extLst>
              <a:ext uri="{FF2B5EF4-FFF2-40B4-BE49-F238E27FC236}">
                <a16:creationId xmlns:a16="http://schemas.microsoft.com/office/drawing/2014/main" id="{DD5A17F4-1CC7-4B40-955D-F6F05F64BC7F}"/>
              </a:ext>
            </a:extLst>
          </p:cNvPr>
          <p:cNvSpPr>
            <a:spLocks/>
          </p:cNvSpPr>
          <p:nvPr/>
        </p:nvSpPr>
        <p:spPr bwMode="auto">
          <a:xfrm>
            <a:off x="1542511" y="4581854"/>
            <a:ext cx="225235" cy="257453"/>
          </a:xfrm>
          <a:custGeom>
            <a:avLst/>
            <a:gdLst>
              <a:gd name="T0" fmla="*/ 110 w 111"/>
              <a:gd name="T1" fmla="*/ 46 h 128"/>
              <a:gd name="T2" fmla="*/ 106 w 111"/>
              <a:gd name="T3" fmla="*/ 44 h 128"/>
              <a:gd name="T4" fmla="*/ 53 w 111"/>
              <a:gd name="T5" fmla="*/ 44 h 128"/>
              <a:gd name="T6" fmla="*/ 79 w 111"/>
              <a:gd name="T7" fmla="*/ 8 h 128"/>
              <a:gd name="T8" fmla="*/ 80 w 111"/>
              <a:gd name="T9" fmla="*/ 3 h 128"/>
              <a:gd name="T10" fmla="*/ 75 w 111"/>
              <a:gd name="T11" fmla="*/ 0 h 128"/>
              <a:gd name="T12" fmla="*/ 43 w 111"/>
              <a:gd name="T13" fmla="*/ 0 h 128"/>
              <a:gd name="T14" fmla="*/ 36 w 111"/>
              <a:gd name="T15" fmla="*/ 4 h 128"/>
              <a:gd name="T16" fmla="*/ 1 w 111"/>
              <a:gd name="T17" fmla="*/ 62 h 128"/>
              <a:gd name="T18" fmla="*/ 1 w 111"/>
              <a:gd name="T19" fmla="*/ 68 h 128"/>
              <a:gd name="T20" fmla="*/ 5 w 111"/>
              <a:gd name="T21" fmla="*/ 70 h 128"/>
              <a:gd name="T22" fmla="*/ 64 w 111"/>
              <a:gd name="T23" fmla="*/ 70 h 128"/>
              <a:gd name="T24" fmla="*/ 35 w 111"/>
              <a:gd name="T25" fmla="*/ 121 h 128"/>
              <a:gd name="T26" fmla="*/ 35 w 111"/>
              <a:gd name="T27" fmla="*/ 126 h 128"/>
              <a:gd name="T28" fmla="*/ 40 w 111"/>
              <a:gd name="T29" fmla="*/ 128 h 128"/>
              <a:gd name="T30" fmla="*/ 41 w 111"/>
              <a:gd name="T31" fmla="*/ 128 h 128"/>
              <a:gd name="T32" fmla="*/ 49 w 111"/>
              <a:gd name="T33" fmla="*/ 124 h 128"/>
              <a:gd name="T34" fmla="*/ 109 w 111"/>
              <a:gd name="T35" fmla="*/ 51 h 128"/>
              <a:gd name="T36" fmla="*/ 110 w 111"/>
              <a:gd name="T37" fmla="*/ 4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1" h="128">
                <a:moveTo>
                  <a:pt x="110" y="46"/>
                </a:moveTo>
                <a:cubicBezTo>
                  <a:pt x="110" y="45"/>
                  <a:pt x="108" y="44"/>
                  <a:pt x="106" y="44"/>
                </a:cubicBezTo>
                <a:cubicBezTo>
                  <a:pt x="53" y="44"/>
                  <a:pt x="53" y="44"/>
                  <a:pt x="53" y="44"/>
                </a:cubicBezTo>
                <a:cubicBezTo>
                  <a:pt x="79" y="8"/>
                  <a:pt x="79" y="8"/>
                  <a:pt x="79" y="8"/>
                </a:cubicBezTo>
                <a:cubicBezTo>
                  <a:pt x="80" y="6"/>
                  <a:pt x="80" y="4"/>
                  <a:pt x="80" y="3"/>
                </a:cubicBezTo>
                <a:cubicBezTo>
                  <a:pt x="79" y="1"/>
                  <a:pt x="77" y="0"/>
                  <a:pt x="75" y="0"/>
                </a:cubicBezTo>
                <a:cubicBezTo>
                  <a:pt x="43" y="0"/>
                  <a:pt x="43" y="0"/>
                  <a:pt x="43" y="0"/>
                </a:cubicBezTo>
                <a:cubicBezTo>
                  <a:pt x="40" y="0"/>
                  <a:pt x="37" y="2"/>
                  <a:pt x="36" y="4"/>
                </a:cubicBezTo>
                <a:cubicBezTo>
                  <a:pt x="1" y="62"/>
                  <a:pt x="1" y="62"/>
                  <a:pt x="1" y="62"/>
                </a:cubicBezTo>
                <a:cubicBezTo>
                  <a:pt x="0" y="64"/>
                  <a:pt x="0" y="66"/>
                  <a:pt x="1" y="68"/>
                </a:cubicBezTo>
                <a:cubicBezTo>
                  <a:pt x="2" y="69"/>
                  <a:pt x="3" y="70"/>
                  <a:pt x="5" y="70"/>
                </a:cubicBezTo>
                <a:cubicBezTo>
                  <a:pt x="64" y="70"/>
                  <a:pt x="64" y="70"/>
                  <a:pt x="64" y="70"/>
                </a:cubicBezTo>
                <a:cubicBezTo>
                  <a:pt x="35" y="121"/>
                  <a:pt x="35" y="121"/>
                  <a:pt x="35" y="121"/>
                </a:cubicBezTo>
                <a:cubicBezTo>
                  <a:pt x="34" y="122"/>
                  <a:pt x="34" y="124"/>
                  <a:pt x="35" y="126"/>
                </a:cubicBezTo>
                <a:cubicBezTo>
                  <a:pt x="36" y="127"/>
                  <a:pt x="38" y="128"/>
                  <a:pt x="40" y="128"/>
                </a:cubicBezTo>
                <a:cubicBezTo>
                  <a:pt x="41" y="128"/>
                  <a:pt x="41" y="128"/>
                  <a:pt x="41" y="128"/>
                </a:cubicBezTo>
                <a:cubicBezTo>
                  <a:pt x="44" y="128"/>
                  <a:pt x="47" y="126"/>
                  <a:pt x="49" y="124"/>
                </a:cubicBezTo>
                <a:cubicBezTo>
                  <a:pt x="109" y="51"/>
                  <a:pt x="109" y="51"/>
                  <a:pt x="109" y="51"/>
                </a:cubicBezTo>
                <a:cubicBezTo>
                  <a:pt x="111" y="49"/>
                  <a:pt x="110" y="47"/>
                  <a:pt x="110" y="4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B1B3B3"/>
              </a:solidFill>
              <a:effectLst/>
              <a:uLnTx/>
              <a:uFillTx/>
              <a:latin typeface="GE Inspira Sans"/>
              <a:ea typeface="+mn-ea"/>
              <a:cs typeface="+mn-cs"/>
            </a:endParaRPr>
          </a:p>
        </p:txBody>
      </p:sp>
      <p:sp>
        <p:nvSpPr>
          <p:cNvPr id="140" name="TextBox 23">
            <a:extLst>
              <a:ext uri="{FF2B5EF4-FFF2-40B4-BE49-F238E27FC236}">
                <a16:creationId xmlns:a16="http://schemas.microsoft.com/office/drawing/2014/main" id="{C107268B-E1F7-4F8C-900D-29A35EEFE952}"/>
              </a:ext>
            </a:extLst>
          </p:cNvPr>
          <p:cNvSpPr txBox="1"/>
          <p:nvPr/>
        </p:nvSpPr>
        <p:spPr>
          <a:xfrm>
            <a:off x="506054" y="5512031"/>
            <a:ext cx="1278857" cy="553998"/>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5EB8"/>
                </a:solidFill>
                <a:effectLst/>
                <a:uLnTx/>
                <a:uFillTx/>
                <a:latin typeface="GE Inspira Sans"/>
                <a:ea typeface="+mn-ea"/>
                <a:cs typeface="+mn-cs"/>
              </a:rPr>
              <a:t>ROTA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5EB8"/>
                </a:solidFill>
                <a:effectLst/>
                <a:uLnTx/>
                <a:uFillTx/>
                <a:latin typeface="GE Inspira Sans"/>
                <a:ea typeface="+mn-ea"/>
                <a:cs typeface="+mn-cs"/>
              </a:rPr>
              <a:t>MACHINES</a:t>
            </a:r>
            <a:endParaRPr kumimoji="0" lang="en-US" sz="1800" b="0" i="1" u="none" strike="noStrike" kern="1200" cap="none" spc="0" normalizeH="0" baseline="0" noProof="0" dirty="0">
              <a:ln>
                <a:noFill/>
              </a:ln>
              <a:solidFill>
                <a:srgbClr val="005EB8"/>
              </a:solidFill>
              <a:effectLst/>
              <a:uLnTx/>
              <a:uFillTx/>
              <a:latin typeface="GE Inspira Sans"/>
              <a:ea typeface="+mn-ea"/>
              <a:cs typeface="+mn-cs"/>
            </a:endParaRPr>
          </a:p>
        </p:txBody>
      </p:sp>
      <p:sp>
        <p:nvSpPr>
          <p:cNvPr id="141" name="TextBox 24">
            <a:extLst>
              <a:ext uri="{FF2B5EF4-FFF2-40B4-BE49-F238E27FC236}">
                <a16:creationId xmlns:a16="http://schemas.microsoft.com/office/drawing/2014/main" id="{45269176-FCFA-485E-B54C-FBB7EF1CC8F4}"/>
              </a:ext>
            </a:extLst>
          </p:cNvPr>
          <p:cNvSpPr txBox="1"/>
          <p:nvPr/>
        </p:nvSpPr>
        <p:spPr>
          <a:xfrm>
            <a:off x="574243" y="2698620"/>
            <a:ext cx="1477296" cy="553998"/>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5EB8"/>
                </a:solidFill>
                <a:effectLst/>
                <a:uLnTx/>
                <a:uFillTx/>
                <a:latin typeface="GE Inspira Sans"/>
                <a:ea typeface="+mn-ea"/>
                <a:cs typeface="+mn-cs"/>
              </a:rPr>
              <a:t>CONSTANT </a:t>
            </a:r>
            <a:r>
              <a:rPr kumimoji="0" lang="en-US" sz="1800" b="0" i="0" u="none" strike="noStrike" kern="1200" cap="none" spc="0" normalizeH="0" baseline="0" noProof="0" dirty="0">
                <a:ln>
                  <a:noFill/>
                </a:ln>
                <a:solidFill>
                  <a:srgbClr val="005EB8"/>
                </a:solidFill>
                <a:effectLst/>
                <a:uLnTx/>
                <a:uFillTx/>
                <a:latin typeface="GE Inspira Sans"/>
                <a:ea typeface="+mn-ea"/>
                <a:cs typeface="+mn-cs"/>
              </a:rPr>
              <a:t>FUEL</a:t>
            </a:r>
          </a:p>
        </p:txBody>
      </p:sp>
      <p:sp>
        <p:nvSpPr>
          <p:cNvPr id="142" name="Freeform 88">
            <a:extLst>
              <a:ext uri="{FF2B5EF4-FFF2-40B4-BE49-F238E27FC236}">
                <a16:creationId xmlns:a16="http://schemas.microsoft.com/office/drawing/2014/main" id="{86FE1E39-39A0-47C6-80F8-84FBD64FEF5F}"/>
              </a:ext>
            </a:extLst>
          </p:cNvPr>
          <p:cNvSpPr>
            <a:spLocks noEditPoints="1"/>
          </p:cNvSpPr>
          <p:nvPr/>
        </p:nvSpPr>
        <p:spPr bwMode="auto">
          <a:xfrm>
            <a:off x="9736435" y="1913549"/>
            <a:ext cx="495056" cy="739099"/>
          </a:xfrm>
          <a:custGeom>
            <a:avLst/>
            <a:gdLst>
              <a:gd name="T0" fmla="*/ 1656 w 1703"/>
              <a:gd name="T1" fmla="*/ 1327 h 2560"/>
              <a:gd name="T2" fmla="*/ 1656 w 1703"/>
              <a:gd name="T3" fmla="*/ 1326 h 2560"/>
              <a:gd name="T4" fmla="*/ 1098 w 1703"/>
              <a:gd name="T5" fmla="*/ 1004 h 2560"/>
              <a:gd name="T6" fmla="*/ 1097 w 1703"/>
              <a:gd name="T7" fmla="*/ 1003 h 2560"/>
              <a:gd name="T8" fmla="*/ 1100 w 1703"/>
              <a:gd name="T9" fmla="*/ 954 h 2560"/>
              <a:gd name="T10" fmla="*/ 930 w 1703"/>
              <a:gd name="T11" fmla="*/ 714 h 2560"/>
              <a:gd name="T12" fmla="*/ 930 w 1703"/>
              <a:gd name="T13" fmla="*/ 713 h 2560"/>
              <a:gd name="T14" fmla="*/ 930 w 1703"/>
              <a:gd name="T15" fmla="*/ 709 h 2560"/>
              <a:gd name="T16" fmla="*/ 918 w 1703"/>
              <a:gd name="T17" fmla="*/ 21 h 2560"/>
              <a:gd name="T18" fmla="*/ 916 w 1703"/>
              <a:gd name="T19" fmla="*/ 20 h 2560"/>
              <a:gd name="T20" fmla="*/ 768 w 1703"/>
              <a:gd name="T21" fmla="*/ 68 h 2560"/>
              <a:gd name="T22" fmla="*/ 768 w 1703"/>
              <a:gd name="T23" fmla="*/ 69 h 2560"/>
              <a:gd name="T24" fmla="*/ 768 w 1703"/>
              <a:gd name="T25" fmla="*/ 713 h 2560"/>
              <a:gd name="T26" fmla="*/ 768 w 1703"/>
              <a:gd name="T27" fmla="*/ 714 h 2560"/>
              <a:gd name="T28" fmla="*/ 768 w 1703"/>
              <a:gd name="T29" fmla="*/ 716 h 2560"/>
              <a:gd name="T30" fmla="*/ 603 w 1703"/>
              <a:gd name="T31" fmla="*/ 1002 h 2560"/>
              <a:gd name="T32" fmla="*/ 601 w 1703"/>
              <a:gd name="T33" fmla="*/ 1003 h 2560"/>
              <a:gd name="T34" fmla="*/ 600 w 1703"/>
              <a:gd name="T35" fmla="*/ 1004 h 2560"/>
              <a:gd name="T36" fmla="*/ 18 w 1703"/>
              <a:gd name="T37" fmla="*/ 1345 h 2560"/>
              <a:gd name="T38" fmla="*/ 6 w 1703"/>
              <a:gd name="T39" fmla="*/ 1363 h 2560"/>
              <a:gd name="T40" fmla="*/ 23 w 1703"/>
              <a:gd name="T41" fmla="*/ 1431 h 2560"/>
              <a:gd name="T42" fmla="*/ 122 w 1703"/>
              <a:gd name="T43" fmla="*/ 1467 h 2560"/>
              <a:gd name="T44" fmla="*/ 124 w 1703"/>
              <a:gd name="T45" fmla="*/ 1466 h 2560"/>
              <a:gd name="T46" fmla="*/ 604 w 1703"/>
              <a:gd name="T47" fmla="*/ 2513 h 2560"/>
              <a:gd name="T48" fmla="*/ 638 w 1703"/>
              <a:gd name="T49" fmla="*/ 2560 h 2560"/>
              <a:gd name="T50" fmla="*/ 1060 w 1703"/>
              <a:gd name="T51" fmla="*/ 2560 h 2560"/>
              <a:gd name="T52" fmla="*/ 1096 w 1703"/>
              <a:gd name="T53" fmla="*/ 2523 h 2560"/>
              <a:gd name="T54" fmla="*/ 1024 w 1703"/>
              <a:gd name="T55" fmla="*/ 1151 h 2560"/>
              <a:gd name="T56" fmla="*/ 1622 w 1703"/>
              <a:gd name="T57" fmla="*/ 1479 h 2560"/>
              <a:gd name="T58" fmla="*/ 1624 w 1703"/>
              <a:gd name="T59" fmla="*/ 1479 h 2560"/>
              <a:gd name="T60" fmla="*/ 1657 w 1703"/>
              <a:gd name="T61" fmla="*/ 1326 h 2560"/>
              <a:gd name="T62" fmla="*/ 771 w 1703"/>
              <a:gd name="T63" fmla="*/ 2362 h 2560"/>
              <a:gd name="T64" fmla="*/ 826 w 1703"/>
              <a:gd name="T65" fmla="*/ 1204 h 2560"/>
              <a:gd name="T66" fmla="*/ 866 w 1703"/>
              <a:gd name="T67" fmla="*/ 1204 h 2560"/>
              <a:gd name="T68" fmla="*/ 927 w 1703"/>
              <a:gd name="T69" fmla="*/ 2362 h 2560"/>
              <a:gd name="T70" fmla="*/ 849 w 1703"/>
              <a:gd name="T71" fmla="*/ 1045 h 2560"/>
              <a:gd name="T72" fmla="*/ 849 w 1703"/>
              <a:gd name="T73" fmla="*/ 863 h 2560"/>
              <a:gd name="T74" fmla="*/ 849 w 1703"/>
              <a:gd name="T75" fmla="*/ 1045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03" h="2560">
                <a:moveTo>
                  <a:pt x="1657" y="1326"/>
                </a:moveTo>
                <a:cubicBezTo>
                  <a:pt x="1656" y="1327"/>
                  <a:pt x="1656" y="1327"/>
                  <a:pt x="1656" y="1327"/>
                </a:cubicBezTo>
                <a:cubicBezTo>
                  <a:pt x="1655" y="1326"/>
                  <a:pt x="1655" y="1326"/>
                  <a:pt x="1655" y="1326"/>
                </a:cubicBezTo>
                <a:cubicBezTo>
                  <a:pt x="1656" y="1326"/>
                  <a:pt x="1656" y="1326"/>
                  <a:pt x="1656" y="1326"/>
                </a:cubicBezTo>
                <a:cubicBezTo>
                  <a:pt x="1098" y="1004"/>
                  <a:pt x="1098" y="1004"/>
                  <a:pt x="1098" y="1004"/>
                </a:cubicBezTo>
                <a:cubicBezTo>
                  <a:pt x="1098" y="1004"/>
                  <a:pt x="1098" y="1004"/>
                  <a:pt x="1098" y="1004"/>
                </a:cubicBezTo>
                <a:cubicBezTo>
                  <a:pt x="1097" y="1003"/>
                  <a:pt x="1097" y="1003"/>
                  <a:pt x="1097" y="1003"/>
                </a:cubicBezTo>
                <a:cubicBezTo>
                  <a:pt x="1097" y="1003"/>
                  <a:pt x="1097" y="1003"/>
                  <a:pt x="1097" y="1003"/>
                </a:cubicBezTo>
                <a:cubicBezTo>
                  <a:pt x="1096" y="1003"/>
                  <a:pt x="1096" y="1003"/>
                  <a:pt x="1095" y="1002"/>
                </a:cubicBezTo>
                <a:cubicBezTo>
                  <a:pt x="1098" y="987"/>
                  <a:pt x="1100" y="970"/>
                  <a:pt x="1100" y="954"/>
                </a:cubicBezTo>
                <a:cubicBezTo>
                  <a:pt x="1100" y="844"/>
                  <a:pt x="1029" y="750"/>
                  <a:pt x="930" y="716"/>
                </a:cubicBezTo>
                <a:cubicBezTo>
                  <a:pt x="930" y="716"/>
                  <a:pt x="930" y="715"/>
                  <a:pt x="930" y="714"/>
                </a:cubicBezTo>
                <a:cubicBezTo>
                  <a:pt x="930" y="714"/>
                  <a:pt x="930" y="714"/>
                  <a:pt x="930" y="714"/>
                </a:cubicBezTo>
                <a:cubicBezTo>
                  <a:pt x="930" y="713"/>
                  <a:pt x="930" y="713"/>
                  <a:pt x="930" y="713"/>
                </a:cubicBezTo>
                <a:cubicBezTo>
                  <a:pt x="930" y="713"/>
                  <a:pt x="930" y="713"/>
                  <a:pt x="930" y="713"/>
                </a:cubicBezTo>
                <a:cubicBezTo>
                  <a:pt x="930" y="709"/>
                  <a:pt x="930" y="709"/>
                  <a:pt x="930" y="709"/>
                </a:cubicBezTo>
                <a:cubicBezTo>
                  <a:pt x="1032" y="481"/>
                  <a:pt x="967" y="133"/>
                  <a:pt x="926" y="38"/>
                </a:cubicBezTo>
                <a:cubicBezTo>
                  <a:pt x="924" y="32"/>
                  <a:pt x="921" y="26"/>
                  <a:pt x="918" y="21"/>
                </a:cubicBezTo>
                <a:cubicBezTo>
                  <a:pt x="917" y="21"/>
                  <a:pt x="917" y="20"/>
                  <a:pt x="916" y="19"/>
                </a:cubicBezTo>
                <a:cubicBezTo>
                  <a:pt x="916" y="20"/>
                  <a:pt x="916" y="20"/>
                  <a:pt x="916" y="20"/>
                </a:cubicBezTo>
                <a:cubicBezTo>
                  <a:pt x="903" y="5"/>
                  <a:pt x="881" y="0"/>
                  <a:pt x="849" y="0"/>
                </a:cubicBezTo>
                <a:cubicBezTo>
                  <a:pt x="794" y="0"/>
                  <a:pt x="768" y="14"/>
                  <a:pt x="768" y="68"/>
                </a:cubicBezTo>
                <a:cubicBezTo>
                  <a:pt x="768" y="68"/>
                  <a:pt x="768" y="68"/>
                  <a:pt x="768" y="68"/>
                </a:cubicBezTo>
                <a:cubicBezTo>
                  <a:pt x="768" y="69"/>
                  <a:pt x="768" y="69"/>
                  <a:pt x="768" y="69"/>
                </a:cubicBezTo>
                <a:cubicBezTo>
                  <a:pt x="768" y="69"/>
                  <a:pt x="768" y="69"/>
                  <a:pt x="768" y="69"/>
                </a:cubicBezTo>
                <a:cubicBezTo>
                  <a:pt x="768" y="713"/>
                  <a:pt x="768" y="713"/>
                  <a:pt x="768" y="713"/>
                </a:cubicBezTo>
                <a:cubicBezTo>
                  <a:pt x="768" y="713"/>
                  <a:pt x="768" y="713"/>
                  <a:pt x="768" y="713"/>
                </a:cubicBezTo>
                <a:cubicBezTo>
                  <a:pt x="768" y="714"/>
                  <a:pt x="768" y="714"/>
                  <a:pt x="768" y="714"/>
                </a:cubicBezTo>
                <a:cubicBezTo>
                  <a:pt x="768" y="714"/>
                  <a:pt x="768" y="714"/>
                  <a:pt x="768" y="714"/>
                </a:cubicBezTo>
                <a:cubicBezTo>
                  <a:pt x="768" y="715"/>
                  <a:pt x="768" y="716"/>
                  <a:pt x="768" y="716"/>
                </a:cubicBezTo>
                <a:cubicBezTo>
                  <a:pt x="669" y="750"/>
                  <a:pt x="598" y="844"/>
                  <a:pt x="598" y="954"/>
                </a:cubicBezTo>
                <a:cubicBezTo>
                  <a:pt x="598" y="970"/>
                  <a:pt x="600" y="987"/>
                  <a:pt x="603" y="1002"/>
                </a:cubicBezTo>
                <a:cubicBezTo>
                  <a:pt x="602" y="1003"/>
                  <a:pt x="602" y="1003"/>
                  <a:pt x="601" y="1003"/>
                </a:cubicBezTo>
                <a:cubicBezTo>
                  <a:pt x="601" y="1003"/>
                  <a:pt x="601" y="1003"/>
                  <a:pt x="601" y="1003"/>
                </a:cubicBezTo>
                <a:cubicBezTo>
                  <a:pt x="600" y="1004"/>
                  <a:pt x="600" y="1004"/>
                  <a:pt x="600" y="1004"/>
                </a:cubicBezTo>
                <a:cubicBezTo>
                  <a:pt x="600" y="1004"/>
                  <a:pt x="600" y="1004"/>
                  <a:pt x="600" y="1004"/>
                </a:cubicBezTo>
                <a:cubicBezTo>
                  <a:pt x="597" y="1006"/>
                  <a:pt x="597" y="1006"/>
                  <a:pt x="597" y="1006"/>
                </a:cubicBezTo>
                <a:cubicBezTo>
                  <a:pt x="348" y="1032"/>
                  <a:pt x="80" y="1262"/>
                  <a:pt x="18" y="1345"/>
                </a:cubicBezTo>
                <a:cubicBezTo>
                  <a:pt x="13" y="1350"/>
                  <a:pt x="10" y="1355"/>
                  <a:pt x="7" y="1361"/>
                </a:cubicBezTo>
                <a:cubicBezTo>
                  <a:pt x="7" y="1361"/>
                  <a:pt x="7" y="1362"/>
                  <a:pt x="6" y="1363"/>
                </a:cubicBezTo>
                <a:cubicBezTo>
                  <a:pt x="7" y="1362"/>
                  <a:pt x="7" y="1362"/>
                  <a:pt x="7" y="1362"/>
                </a:cubicBezTo>
                <a:cubicBezTo>
                  <a:pt x="0" y="1381"/>
                  <a:pt x="7" y="1403"/>
                  <a:pt x="23" y="1431"/>
                </a:cubicBezTo>
                <a:cubicBezTo>
                  <a:pt x="50" y="1478"/>
                  <a:pt x="76" y="1494"/>
                  <a:pt x="122" y="1467"/>
                </a:cubicBezTo>
                <a:cubicBezTo>
                  <a:pt x="122" y="1467"/>
                  <a:pt x="122" y="1467"/>
                  <a:pt x="122" y="1467"/>
                </a:cubicBezTo>
                <a:cubicBezTo>
                  <a:pt x="123" y="1466"/>
                  <a:pt x="123" y="1466"/>
                  <a:pt x="123" y="1466"/>
                </a:cubicBezTo>
                <a:cubicBezTo>
                  <a:pt x="124" y="1466"/>
                  <a:pt x="124" y="1466"/>
                  <a:pt x="124" y="1466"/>
                </a:cubicBezTo>
                <a:cubicBezTo>
                  <a:pt x="668" y="1152"/>
                  <a:pt x="668" y="1152"/>
                  <a:pt x="668" y="1152"/>
                </a:cubicBezTo>
                <a:cubicBezTo>
                  <a:pt x="604" y="2513"/>
                  <a:pt x="604" y="2513"/>
                  <a:pt x="604" y="2513"/>
                </a:cubicBezTo>
                <a:cubicBezTo>
                  <a:pt x="603" y="2516"/>
                  <a:pt x="602" y="2520"/>
                  <a:pt x="602" y="2523"/>
                </a:cubicBezTo>
                <a:cubicBezTo>
                  <a:pt x="602" y="2543"/>
                  <a:pt x="618" y="2560"/>
                  <a:pt x="638" y="2560"/>
                </a:cubicBezTo>
                <a:cubicBezTo>
                  <a:pt x="638" y="2560"/>
                  <a:pt x="638" y="2560"/>
                  <a:pt x="638" y="2560"/>
                </a:cubicBezTo>
                <a:cubicBezTo>
                  <a:pt x="1060" y="2560"/>
                  <a:pt x="1060" y="2560"/>
                  <a:pt x="1060" y="2560"/>
                </a:cubicBezTo>
                <a:cubicBezTo>
                  <a:pt x="1060" y="2560"/>
                  <a:pt x="1060" y="2560"/>
                  <a:pt x="1060" y="2560"/>
                </a:cubicBezTo>
                <a:cubicBezTo>
                  <a:pt x="1080" y="2560"/>
                  <a:pt x="1096" y="2543"/>
                  <a:pt x="1096" y="2523"/>
                </a:cubicBezTo>
                <a:cubicBezTo>
                  <a:pt x="1096" y="2520"/>
                  <a:pt x="1096" y="2517"/>
                  <a:pt x="1095" y="2513"/>
                </a:cubicBezTo>
                <a:cubicBezTo>
                  <a:pt x="1024" y="1151"/>
                  <a:pt x="1024" y="1151"/>
                  <a:pt x="1024" y="1151"/>
                </a:cubicBezTo>
                <a:cubicBezTo>
                  <a:pt x="1173" y="1350"/>
                  <a:pt x="1502" y="1466"/>
                  <a:pt x="1603" y="1478"/>
                </a:cubicBezTo>
                <a:cubicBezTo>
                  <a:pt x="1610" y="1480"/>
                  <a:pt x="1616" y="1480"/>
                  <a:pt x="1622" y="1479"/>
                </a:cubicBezTo>
                <a:cubicBezTo>
                  <a:pt x="1623" y="1479"/>
                  <a:pt x="1624" y="1479"/>
                  <a:pt x="1624" y="1479"/>
                </a:cubicBezTo>
                <a:cubicBezTo>
                  <a:pt x="1624" y="1479"/>
                  <a:pt x="1624" y="1479"/>
                  <a:pt x="1624" y="1479"/>
                </a:cubicBezTo>
                <a:cubicBezTo>
                  <a:pt x="1644" y="1475"/>
                  <a:pt x="1659" y="1458"/>
                  <a:pt x="1675" y="1431"/>
                </a:cubicBezTo>
                <a:cubicBezTo>
                  <a:pt x="1703" y="1383"/>
                  <a:pt x="1703" y="1353"/>
                  <a:pt x="1657" y="1326"/>
                </a:cubicBezTo>
                <a:moveTo>
                  <a:pt x="849" y="2427"/>
                </a:moveTo>
                <a:cubicBezTo>
                  <a:pt x="797" y="2427"/>
                  <a:pt x="771" y="2413"/>
                  <a:pt x="771" y="2362"/>
                </a:cubicBezTo>
                <a:cubicBezTo>
                  <a:pt x="771" y="2362"/>
                  <a:pt x="771" y="2362"/>
                  <a:pt x="771" y="2362"/>
                </a:cubicBezTo>
                <a:cubicBezTo>
                  <a:pt x="826" y="1204"/>
                  <a:pt x="826" y="1204"/>
                  <a:pt x="826" y="1204"/>
                </a:cubicBezTo>
                <a:cubicBezTo>
                  <a:pt x="834" y="1204"/>
                  <a:pt x="841" y="1205"/>
                  <a:pt x="849" y="1205"/>
                </a:cubicBezTo>
                <a:cubicBezTo>
                  <a:pt x="855" y="1205"/>
                  <a:pt x="861" y="1204"/>
                  <a:pt x="866" y="1204"/>
                </a:cubicBezTo>
                <a:cubicBezTo>
                  <a:pt x="927" y="2362"/>
                  <a:pt x="927" y="2362"/>
                  <a:pt x="927" y="2362"/>
                </a:cubicBezTo>
                <a:cubicBezTo>
                  <a:pt x="927" y="2362"/>
                  <a:pt x="927" y="2362"/>
                  <a:pt x="927" y="2362"/>
                </a:cubicBezTo>
                <a:cubicBezTo>
                  <a:pt x="927" y="2413"/>
                  <a:pt x="902" y="2427"/>
                  <a:pt x="849" y="2427"/>
                </a:cubicBezTo>
                <a:moveTo>
                  <a:pt x="849" y="1045"/>
                </a:moveTo>
                <a:cubicBezTo>
                  <a:pt x="799" y="1045"/>
                  <a:pt x="758" y="1004"/>
                  <a:pt x="758" y="954"/>
                </a:cubicBezTo>
                <a:cubicBezTo>
                  <a:pt x="758" y="903"/>
                  <a:pt x="799" y="863"/>
                  <a:pt x="849" y="863"/>
                </a:cubicBezTo>
                <a:cubicBezTo>
                  <a:pt x="899" y="863"/>
                  <a:pt x="940" y="903"/>
                  <a:pt x="940" y="954"/>
                </a:cubicBezTo>
                <a:cubicBezTo>
                  <a:pt x="940" y="1004"/>
                  <a:pt x="899" y="1045"/>
                  <a:pt x="849" y="1045"/>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3666A"/>
              </a:solidFill>
              <a:effectLst/>
              <a:uLnTx/>
              <a:uFillTx/>
              <a:latin typeface="GE Inspira Sans"/>
              <a:ea typeface="+mn-ea"/>
              <a:cs typeface="+mn-cs"/>
            </a:endParaRPr>
          </a:p>
        </p:txBody>
      </p:sp>
      <p:grpSp>
        <p:nvGrpSpPr>
          <p:cNvPr id="143" name="Group 27">
            <a:extLst>
              <a:ext uri="{FF2B5EF4-FFF2-40B4-BE49-F238E27FC236}">
                <a16:creationId xmlns:a16="http://schemas.microsoft.com/office/drawing/2014/main" id="{65293C13-4E8E-4FC9-A214-DDD12BC79177}"/>
              </a:ext>
            </a:extLst>
          </p:cNvPr>
          <p:cNvGrpSpPr>
            <a:grpSpLocks noChangeAspect="1"/>
          </p:cNvGrpSpPr>
          <p:nvPr/>
        </p:nvGrpSpPr>
        <p:grpSpPr>
          <a:xfrm>
            <a:off x="10078998" y="1737939"/>
            <a:ext cx="456604" cy="454085"/>
            <a:chOff x="13468350" y="812801"/>
            <a:chExt cx="1439863" cy="1431925"/>
          </a:xfrm>
          <a:solidFill>
            <a:schemeClr val="accent4"/>
          </a:solidFill>
        </p:grpSpPr>
        <p:sp>
          <p:nvSpPr>
            <p:cNvPr id="144" name="Freeform 116">
              <a:extLst>
                <a:ext uri="{FF2B5EF4-FFF2-40B4-BE49-F238E27FC236}">
                  <a16:creationId xmlns:a16="http://schemas.microsoft.com/office/drawing/2014/main" id="{25DE551C-3D93-4EAA-8FF0-093AE0CC525A}"/>
                </a:ext>
              </a:extLst>
            </p:cNvPr>
            <p:cNvSpPr>
              <a:spLocks/>
            </p:cNvSpPr>
            <p:nvPr/>
          </p:nvSpPr>
          <p:spPr bwMode="auto">
            <a:xfrm>
              <a:off x="13843000" y="1187451"/>
              <a:ext cx="687388" cy="682625"/>
            </a:xfrm>
            <a:custGeom>
              <a:avLst/>
              <a:gdLst>
                <a:gd name="T0" fmla="*/ 92 w 183"/>
                <a:gd name="T1" fmla="*/ 0 h 182"/>
                <a:gd name="T2" fmla="*/ 91 w 183"/>
                <a:gd name="T3" fmla="*/ 0 h 182"/>
                <a:gd name="T4" fmla="*/ 0 w 183"/>
                <a:gd name="T5" fmla="*/ 91 h 182"/>
                <a:gd name="T6" fmla="*/ 26 w 183"/>
                <a:gd name="T7" fmla="*/ 155 h 182"/>
                <a:gd name="T8" fmla="*/ 91 w 183"/>
                <a:gd name="T9" fmla="*/ 182 h 182"/>
                <a:gd name="T10" fmla="*/ 91 w 183"/>
                <a:gd name="T11" fmla="*/ 182 h 182"/>
                <a:gd name="T12" fmla="*/ 182 w 183"/>
                <a:gd name="T13" fmla="*/ 92 h 182"/>
                <a:gd name="T14" fmla="*/ 92 w 183"/>
                <a:gd name="T15" fmla="*/ 0 h 1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 h="182">
                  <a:moveTo>
                    <a:pt x="92" y="0"/>
                  </a:moveTo>
                  <a:cubicBezTo>
                    <a:pt x="91" y="0"/>
                    <a:pt x="91" y="0"/>
                    <a:pt x="91" y="0"/>
                  </a:cubicBezTo>
                  <a:cubicBezTo>
                    <a:pt x="41" y="0"/>
                    <a:pt x="0" y="41"/>
                    <a:pt x="0" y="91"/>
                  </a:cubicBezTo>
                  <a:cubicBezTo>
                    <a:pt x="0" y="115"/>
                    <a:pt x="9" y="138"/>
                    <a:pt x="26" y="155"/>
                  </a:cubicBezTo>
                  <a:cubicBezTo>
                    <a:pt x="44" y="173"/>
                    <a:pt x="66" y="182"/>
                    <a:pt x="91" y="182"/>
                  </a:cubicBezTo>
                  <a:cubicBezTo>
                    <a:pt x="91" y="182"/>
                    <a:pt x="91" y="182"/>
                    <a:pt x="91" y="182"/>
                  </a:cubicBezTo>
                  <a:cubicBezTo>
                    <a:pt x="141" y="182"/>
                    <a:pt x="182" y="142"/>
                    <a:pt x="182" y="92"/>
                  </a:cubicBezTo>
                  <a:cubicBezTo>
                    <a:pt x="183" y="41"/>
                    <a:pt x="142" y="0"/>
                    <a:pt x="9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145" name="Freeform 117">
              <a:extLst>
                <a:ext uri="{FF2B5EF4-FFF2-40B4-BE49-F238E27FC236}">
                  <a16:creationId xmlns:a16="http://schemas.microsoft.com/office/drawing/2014/main" id="{57AE4091-85CA-435A-ACCA-0E277544409B}"/>
                </a:ext>
              </a:extLst>
            </p:cNvPr>
            <p:cNvSpPr>
              <a:spLocks/>
            </p:cNvSpPr>
            <p:nvPr/>
          </p:nvSpPr>
          <p:spPr bwMode="auto">
            <a:xfrm>
              <a:off x="13685838" y="1014413"/>
              <a:ext cx="285750" cy="285750"/>
            </a:xfrm>
            <a:custGeom>
              <a:avLst/>
              <a:gdLst>
                <a:gd name="T0" fmla="*/ 1 w 76"/>
                <a:gd name="T1" fmla="*/ 9 h 76"/>
                <a:gd name="T2" fmla="*/ 36 w 76"/>
                <a:gd name="T3" fmla="*/ 76 h 76"/>
                <a:gd name="T4" fmla="*/ 76 w 76"/>
                <a:gd name="T5" fmla="*/ 37 h 76"/>
                <a:gd name="T6" fmla="*/ 9 w 76"/>
                <a:gd name="T7" fmla="*/ 1 h 76"/>
                <a:gd name="T8" fmla="*/ 2 w 76"/>
                <a:gd name="T9" fmla="*/ 2 h 76"/>
                <a:gd name="T10" fmla="*/ 2 w 76"/>
                <a:gd name="T11" fmla="*/ 2 h 76"/>
                <a:gd name="T12" fmla="*/ 2 w 76"/>
                <a:gd name="T13" fmla="*/ 2 h 76"/>
                <a:gd name="T14" fmla="*/ 2 w 76"/>
                <a:gd name="T15" fmla="*/ 2 h 76"/>
                <a:gd name="T16" fmla="*/ 2 w 76"/>
                <a:gd name="T17" fmla="*/ 2 h 76"/>
                <a:gd name="T18" fmla="*/ 1 w 76"/>
                <a:gd name="T19"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1" y="9"/>
                  </a:moveTo>
                  <a:cubicBezTo>
                    <a:pt x="36" y="76"/>
                    <a:pt x="36" y="76"/>
                    <a:pt x="36" y="76"/>
                  </a:cubicBezTo>
                  <a:cubicBezTo>
                    <a:pt x="46" y="60"/>
                    <a:pt x="60" y="47"/>
                    <a:pt x="76" y="37"/>
                  </a:cubicBezTo>
                  <a:cubicBezTo>
                    <a:pt x="9" y="1"/>
                    <a:pt x="9" y="1"/>
                    <a:pt x="9" y="1"/>
                  </a:cubicBezTo>
                  <a:cubicBezTo>
                    <a:pt x="6" y="0"/>
                    <a:pt x="3" y="1"/>
                    <a:pt x="2" y="2"/>
                  </a:cubicBezTo>
                  <a:cubicBezTo>
                    <a:pt x="2" y="2"/>
                    <a:pt x="2" y="2"/>
                    <a:pt x="2" y="2"/>
                  </a:cubicBezTo>
                  <a:cubicBezTo>
                    <a:pt x="2" y="2"/>
                    <a:pt x="2" y="2"/>
                    <a:pt x="2" y="2"/>
                  </a:cubicBezTo>
                  <a:cubicBezTo>
                    <a:pt x="2" y="2"/>
                    <a:pt x="2" y="2"/>
                    <a:pt x="2" y="2"/>
                  </a:cubicBezTo>
                  <a:cubicBezTo>
                    <a:pt x="2" y="2"/>
                    <a:pt x="2" y="2"/>
                    <a:pt x="2" y="2"/>
                  </a:cubicBezTo>
                  <a:cubicBezTo>
                    <a:pt x="0" y="4"/>
                    <a:pt x="0" y="6"/>
                    <a:pt x="1"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146" name="Freeform 118">
              <a:extLst>
                <a:ext uri="{FF2B5EF4-FFF2-40B4-BE49-F238E27FC236}">
                  <a16:creationId xmlns:a16="http://schemas.microsoft.com/office/drawing/2014/main" id="{C687D1FB-7458-4572-8E33-65513ED1B37D}"/>
                </a:ext>
              </a:extLst>
            </p:cNvPr>
            <p:cNvSpPr>
              <a:spLocks/>
            </p:cNvSpPr>
            <p:nvPr/>
          </p:nvSpPr>
          <p:spPr bwMode="auto">
            <a:xfrm>
              <a:off x="14087475" y="812801"/>
              <a:ext cx="217488" cy="300038"/>
            </a:xfrm>
            <a:custGeom>
              <a:avLst/>
              <a:gdLst>
                <a:gd name="T0" fmla="*/ 27 w 58"/>
                <a:gd name="T1" fmla="*/ 76 h 80"/>
                <a:gd name="T2" fmla="*/ 58 w 58"/>
                <a:gd name="T3" fmla="*/ 80 h 80"/>
                <a:gd name="T4" fmla="*/ 35 w 58"/>
                <a:gd name="T5" fmla="*/ 4 h 80"/>
                <a:gd name="T6" fmla="*/ 29 w 58"/>
                <a:gd name="T7" fmla="*/ 0 h 80"/>
                <a:gd name="T8" fmla="*/ 29 w 58"/>
                <a:gd name="T9" fmla="*/ 0 h 80"/>
                <a:gd name="T10" fmla="*/ 29 w 58"/>
                <a:gd name="T11" fmla="*/ 0 h 80"/>
                <a:gd name="T12" fmla="*/ 29 w 58"/>
                <a:gd name="T13" fmla="*/ 0 h 80"/>
                <a:gd name="T14" fmla="*/ 29 w 58"/>
                <a:gd name="T15" fmla="*/ 0 h 80"/>
                <a:gd name="T16" fmla="*/ 24 w 58"/>
                <a:gd name="T17" fmla="*/ 4 h 80"/>
                <a:gd name="T18" fmla="*/ 0 w 58"/>
                <a:gd name="T19" fmla="*/ 79 h 80"/>
                <a:gd name="T20" fmla="*/ 26 w 58"/>
                <a:gd name="T21" fmla="*/ 76 h 80"/>
                <a:gd name="T22" fmla="*/ 27 w 58"/>
                <a:gd name="T23"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80">
                  <a:moveTo>
                    <a:pt x="27" y="76"/>
                  </a:moveTo>
                  <a:cubicBezTo>
                    <a:pt x="37" y="76"/>
                    <a:pt x="48" y="78"/>
                    <a:pt x="58" y="80"/>
                  </a:cubicBezTo>
                  <a:cubicBezTo>
                    <a:pt x="35" y="4"/>
                    <a:pt x="35" y="4"/>
                    <a:pt x="35" y="4"/>
                  </a:cubicBezTo>
                  <a:cubicBezTo>
                    <a:pt x="33" y="1"/>
                    <a:pt x="31" y="0"/>
                    <a:pt x="29" y="0"/>
                  </a:cubicBezTo>
                  <a:cubicBezTo>
                    <a:pt x="29" y="0"/>
                    <a:pt x="29" y="0"/>
                    <a:pt x="29" y="0"/>
                  </a:cubicBezTo>
                  <a:cubicBezTo>
                    <a:pt x="29" y="0"/>
                    <a:pt x="29" y="0"/>
                    <a:pt x="29" y="0"/>
                  </a:cubicBezTo>
                  <a:cubicBezTo>
                    <a:pt x="29" y="0"/>
                    <a:pt x="29" y="0"/>
                    <a:pt x="29" y="0"/>
                  </a:cubicBezTo>
                  <a:cubicBezTo>
                    <a:pt x="29" y="0"/>
                    <a:pt x="29" y="0"/>
                    <a:pt x="29" y="0"/>
                  </a:cubicBezTo>
                  <a:cubicBezTo>
                    <a:pt x="27" y="0"/>
                    <a:pt x="25" y="1"/>
                    <a:pt x="24" y="4"/>
                  </a:cubicBezTo>
                  <a:cubicBezTo>
                    <a:pt x="0" y="79"/>
                    <a:pt x="0" y="79"/>
                    <a:pt x="0" y="79"/>
                  </a:cubicBezTo>
                  <a:cubicBezTo>
                    <a:pt x="9" y="77"/>
                    <a:pt x="17" y="76"/>
                    <a:pt x="26" y="76"/>
                  </a:cubicBezTo>
                  <a:lnTo>
                    <a:pt x="27" y="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147" name="Freeform 119">
              <a:extLst>
                <a:ext uri="{FF2B5EF4-FFF2-40B4-BE49-F238E27FC236}">
                  <a16:creationId xmlns:a16="http://schemas.microsoft.com/office/drawing/2014/main" id="{DA644DBA-0C78-462C-BC16-4B73B23039B7}"/>
                </a:ext>
              </a:extLst>
            </p:cNvPr>
            <p:cNvSpPr>
              <a:spLocks/>
            </p:cNvSpPr>
            <p:nvPr/>
          </p:nvSpPr>
          <p:spPr bwMode="auto">
            <a:xfrm>
              <a:off x="14409738" y="1019176"/>
              <a:ext cx="296863" cy="295275"/>
            </a:xfrm>
            <a:custGeom>
              <a:avLst/>
              <a:gdLst>
                <a:gd name="T0" fmla="*/ 40 w 79"/>
                <a:gd name="T1" fmla="*/ 79 h 79"/>
                <a:gd name="T2" fmla="*/ 78 w 79"/>
                <a:gd name="T3" fmla="*/ 9 h 79"/>
                <a:gd name="T4" fmla="*/ 77 w 79"/>
                <a:gd name="T5" fmla="*/ 2 h 79"/>
                <a:gd name="T6" fmla="*/ 77 w 79"/>
                <a:gd name="T7" fmla="*/ 2 h 79"/>
                <a:gd name="T8" fmla="*/ 77 w 79"/>
                <a:gd name="T9" fmla="*/ 2 h 79"/>
                <a:gd name="T10" fmla="*/ 77 w 79"/>
                <a:gd name="T11" fmla="*/ 2 h 79"/>
                <a:gd name="T12" fmla="*/ 77 w 79"/>
                <a:gd name="T13" fmla="*/ 2 h 79"/>
                <a:gd name="T14" fmla="*/ 70 w 79"/>
                <a:gd name="T15" fmla="*/ 1 h 79"/>
                <a:gd name="T16" fmla="*/ 0 w 79"/>
                <a:gd name="T17" fmla="*/ 38 h 79"/>
                <a:gd name="T18" fmla="*/ 40 w 79"/>
                <a:gd name="T1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79">
                  <a:moveTo>
                    <a:pt x="40" y="79"/>
                  </a:moveTo>
                  <a:cubicBezTo>
                    <a:pt x="78" y="9"/>
                    <a:pt x="78" y="9"/>
                    <a:pt x="78" y="9"/>
                  </a:cubicBezTo>
                  <a:cubicBezTo>
                    <a:pt x="79" y="6"/>
                    <a:pt x="78" y="4"/>
                    <a:pt x="77" y="2"/>
                  </a:cubicBezTo>
                  <a:cubicBezTo>
                    <a:pt x="77" y="2"/>
                    <a:pt x="77" y="2"/>
                    <a:pt x="77" y="2"/>
                  </a:cubicBezTo>
                  <a:cubicBezTo>
                    <a:pt x="77" y="2"/>
                    <a:pt x="77" y="2"/>
                    <a:pt x="77" y="2"/>
                  </a:cubicBezTo>
                  <a:cubicBezTo>
                    <a:pt x="77" y="2"/>
                    <a:pt x="77" y="2"/>
                    <a:pt x="77" y="2"/>
                  </a:cubicBezTo>
                  <a:cubicBezTo>
                    <a:pt x="77" y="2"/>
                    <a:pt x="77" y="2"/>
                    <a:pt x="77" y="2"/>
                  </a:cubicBezTo>
                  <a:cubicBezTo>
                    <a:pt x="75" y="1"/>
                    <a:pt x="73" y="0"/>
                    <a:pt x="70" y="1"/>
                  </a:cubicBezTo>
                  <a:cubicBezTo>
                    <a:pt x="0" y="38"/>
                    <a:pt x="0" y="38"/>
                    <a:pt x="0" y="38"/>
                  </a:cubicBezTo>
                  <a:cubicBezTo>
                    <a:pt x="17" y="48"/>
                    <a:pt x="30" y="62"/>
                    <a:pt x="40" y="7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148" name="Freeform 120">
              <a:extLst>
                <a:ext uri="{FF2B5EF4-FFF2-40B4-BE49-F238E27FC236}">
                  <a16:creationId xmlns:a16="http://schemas.microsoft.com/office/drawing/2014/main" id="{2F19A15E-E660-495D-915D-251FC5EF57CF}"/>
                </a:ext>
              </a:extLst>
            </p:cNvPr>
            <p:cNvSpPr>
              <a:spLocks/>
            </p:cNvSpPr>
            <p:nvPr/>
          </p:nvSpPr>
          <p:spPr bwMode="auto">
            <a:xfrm>
              <a:off x="14605000" y="1419226"/>
              <a:ext cx="303213" cy="217488"/>
            </a:xfrm>
            <a:custGeom>
              <a:avLst/>
              <a:gdLst>
                <a:gd name="T0" fmla="*/ 81 w 81"/>
                <a:gd name="T1" fmla="*/ 30 h 58"/>
                <a:gd name="T2" fmla="*/ 81 w 81"/>
                <a:gd name="T3" fmla="*/ 30 h 58"/>
                <a:gd name="T4" fmla="*/ 77 w 81"/>
                <a:gd name="T5" fmla="*/ 24 h 58"/>
                <a:gd name="T6" fmla="*/ 0 w 81"/>
                <a:gd name="T7" fmla="*/ 0 h 58"/>
                <a:gd name="T8" fmla="*/ 3 w 81"/>
                <a:gd name="T9" fmla="*/ 30 h 58"/>
                <a:gd name="T10" fmla="*/ 0 w 81"/>
                <a:gd name="T11" fmla="*/ 58 h 58"/>
                <a:gd name="T12" fmla="*/ 77 w 81"/>
                <a:gd name="T13" fmla="*/ 35 h 58"/>
                <a:gd name="T14" fmla="*/ 81 w 81"/>
                <a:gd name="T15" fmla="*/ 30 h 58"/>
                <a:gd name="T16" fmla="*/ 81 w 81"/>
                <a:gd name="T17" fmla="*/ 30 h 58"/>
                <a:gd name="T18" fmla="*/ 81 w 81"/>
                <a:gd name="T19" fmla="*/ 30 h 58"/>
                <a:gd name="T20" fmla="*/ 81 w 81"/>
                <a:gd name="T21"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58">
                  <a:moveTo>
                    <a:pt x="81" y="30"/>
                  </a:moveTo>
                  <a:cubicBezTo>
                    <a:pt x="81" y="30"/>
                    <a:pt x="81" y="30"/>
                    <a:pt x="81" y="30"/>
                  </a:cubicBezTo>
                  <a:cubicBezTo>
                    <a:pt x="81" y="28"/>
                    <a:pt x="80" y="26"/>
                    <a:pt x="77" y="24"/>
                  </a:cubicBezTo>
                  <a:cubicBezTo>
                    <a:pt x="0" y="0"/>
                    <a:pt x="0" y="0"/>
                    <a:pt x="0" y="0"/>
                  </a:cubicBezTo>
                  <a:cubicBezTo>
                    <a:pt x="2" y="10"/>
                    <a:pt x="3" y="19"/>
                    <a:pt x="3" y="30"/>
                  </a:cubicBezTo>
                  <a:cubicBezTo>
                    <a:pt x="3" y="40"/>
                    <a:pt x="2" y="49"/>
                    <a:pt x="0" y="58"/>
                  </a:cubicBezTo>
                  <a:cubicBezTo>
                    <a:pt x="77" y="35"/>
                    <a:pt x="77" y="35"/>
                    <a:pt x="77" y="35"/>
                  </a:cubicBezTo>
                  <a:cubicBezTo>
                    <a:pt x="80" y="34"/>
                    <a:pt x="81" y="32"/>
                    <a:pt x="81" y="30"/>
                  </a:cubicBezTo>
                  <a:cubicBezTo>
                    <a:pt x="81" y="30"/>
                    <a:pt x="81" y="30"/>
                    <a:pt x="81" y="30"/>
                  </a:cubicBezTo>
                  <a:cubicBezTo>
                    <a:pt x="81" y="30"/>
                    <a:pt x="81" y="30"/>
                    <a:pt x="81" y="30"/>
                  </a:cubicBezTo>
                  <a:cubicBezTo>
                    <a:pt x="81" y="30"/>
                    <a:pt x="81" y="30"/>
                    <a:pt x="81" y="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149" name="Freeform 121">
              <a:extLst>
                <a:ext uri="{FF2B5EF4-FFF2-40B4-BE49-F238E27FC236}">
                  <a16:creationId xmlns:a16="http://schemas.microsoft.com/office/drawing/2014/main" id="{44425B13-47F3-4DA9-8B4B-F488553CDF63}"/>
                </a:ext>
              </a:extLst>
            </p:cNvPr>
            <p:cNvSpPr>
              <a:spLocks/>
            </p:cNvSpPr>
            <p:nvPr/>
          </p:nvSpPr>
          <p:spPr bwMode="auto">
            <a:xfrm>
              <a:off x="14409738" y="1749426"/>
              <a:ext cx="285750" cy="288925"/>
            </a:xfrm>
            <a:custGeom>
              <a:avLst/>
              <a:gdLst>
                <a:gd name="T0" fmla="*/ 75 w 76"/>
                <a:gd name="T1" fmla="*/ 68 h 77"/>
                <a:gd name="T2" fmla="*/ 39 w 76"/>
                <a:gd name="T3" fmla="*/ 0 h 77"/>
                <a:gd name="T4" fmla="*/ 0 w 76"/>
                <a:gd name="T5" fmla="*/ 40 h 77"/>
                <a:gd name="T6" fmla="*/ 67 w 76"/>
                <a:gd name="T7" fmla="*/ 76 h 77"/>
                <a:gd name="T8" fmla="*/ 74 w 76"/>
                <a:gd name="T9" fmla="*/ 75 h 77"/>
                <a:gd name="T10" fmla="*/ 74 w 76"/>
                <a:gd name="T11" fmla="*/ 75 h 77"/>
                <a:gd name="T12" fmla="*/ 74 w 76"/>
                <a:gd name="T13" fmla="*/ 75 h 77"/>
                <a:gd name="T14" fmla="*/ 74 w 76"/>
                <a:gd name="T15" fmla="*/ 75 h 77"/>
                <a:gd name="T16" fmla="*/ 74 w 76"/>
                <a:gd name="T17" fmla="*/ 75 h 77"/>
                <a:gd name="T18" fmla="*/ 75 w 76"/>
                <a:gd name="T19" fmla="*/ 6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7">
                  <a:moveTo>
                    <a:pt x="75" y="68"/>
                  </a:moveTo>
                  <a:cubicBezTo>
                    <a:pt x="39" y="0"/>
                    <a:pt x="39" y="0"/>
                    <a:pt x="39" y="0"/>
                  </a:cubicBezTo>
                  <a:cubicBezTo>
                    <a:pt x="29" y="16"/>
                    <a:pt x="16" y="30"/>
                    <a:pt x="0" y="40"/>
                  </a:cubicBezTo>
                  <a:cubicBezTo>
                    <a:pt x="67" y="76"/>
                    <a:pt x="67" y="76"/>
                    <a:pt x="67" y="76"/>
                  </a:cubicBezTo>
                  <a:cubicBezTo>
                    <a:pt x="70" y="77"/>
                    <a:pt x="72" y="76"/>
                    <a:pt x="74" y="75"/>
                  </a:cubicBezTo>
                  <a:cubicBezTo>
                    <a:pt x="74" y="75"/>
                    <a:pt x="74" y="75"/>
                    <a:pt x="74" y="75"/>
                  </a:cubicBezTo>
                  <a:cubicBezTo>
                    <a:pt x="74" y="75"/>
                    <a:pt x="74" y="75"/>
                    <a:pt x="74" y="75"/>
                  </a:cubicBezTo>
                  <a:cubicBezTo>
                    <a:pt x="74" y="75"/>
                    <a:pt x="74" y="75"/>
                    <a:pt x="74" y="75"/>
                  </a:cubicBezTo>
                  <a:cubicBezTo>
                    <a:pt x="74" y="75"/>
                    <a:pt x="74" y="75"/>
                    <a:pt x="74" y="75"/>
                  </a:cubicBezTo>
                  <a:cubicBezTo>
                    <a:pt x="75" y="74"/>
                    <a:pt x="76" y="71"/>
                    <a:pt x="75" y="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150" name="Freeform 122">
              <a:extLst>
                <a:ext uri="{FF2B5EF4-FFF2-40B4-BE49-F238E27FC236}">
                  <a16:creationId xmlns:a16="http://schemas.microsoft.com/office/drawing/2014/main" id="{D05FB9F0-4CAF-442C-9ADF-BD2B85CD3CE6}"/>
                </a:ext>
              </a:extLst>
            </p:cNvPr>
            <p:cNvSpPr>
              <a:spLocks/>
            </p:cNvSpPr>
            <p:nvPr/>
          </p:nvSpPr>
          <p:spPr bwMode="auto">
            <a:xfrm>
              <a:off x="14079538" y="1947863"/>
              <a:ext cx="209550" cy="296863"/>
            </a:xfrm>
            <a:custGeom>
              <a:avLst/>
              <a:gdLst>
                <a:gd name="T0" fmla="*/ 28 w 56"/>
                <a:gd name="T1" fmla="*/ 3 h 79"/>
                <a:gd name="T2" fmla="*/ 0 w 56"/>
                <a:gd name="T3" fmla="*/ 0 h 79"/>
                <a:gd name="T4" fmla="*/ 22 w 56"/>
                <a:gd name="T5" fmla="*/ 74 h 79"/>
                <a:gd name="T6" fmla="*/ 27 w 56"/>
                <a:gd name="T7" fmla="*/ 79 h 79"/>
                <a:gd name="T8" fmla="*/ 27 w 56"/>
                <a:gd name="T9" fmla="*/ 79 h 79"/>
                <a:gd name="T10" fmla="*/ 27 w 56"/>
                <a:gd name="T11" fmla="*/ 79 h 79"/>
                <a:gd name="T12" fmla="*/ 27 w 56"/>
                <a:gd name="T13" fmla="*/ 79 h 79"/>
                <a:gd name="T14" fmla="*/ 27 w 56"/>
                <a:gd name="T15" fmla="*/ 79 h 79"/>
                <a:gd name="T16" fmla="*/ 33 w 56"/>
                <a:gd name="T17" fmla="*/ 74 h 79"/>
                <a:gd name="T18" fmla="*/ 56 w 56"/>
                <a:gd name="T19" fmla="*/ 0 h 79"/>
                <a:gd name="T20" fmla="*/ 28 w 56"/>
                <a:gd name="T21" fmla="*/ 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79">
                  <a:moveTo>
                    <a:pt x="28" y="3"/>
                  </a:moveTo>
                  <a:cubicBezTo>
                    <a:pt x="18" y="3"/>
                    <a:pt x="9" y="2"/>
                    <a:pt x="0" y="0"/>
                  </a:cubicBezTo>
                  <a:cubicBezTo>
                    <a:pt x="22" y="74"/>
                    <a:pt x="22" y="74"/>
                    <a:pt x="22" y="74"/>
                  </a:cubicBezTo>
                  <a:cubicBezTo>
                    <a:pt x="23" y="77"/>
                    <a:pt x="25" y="78"/>
                    <a:pt x="27" y="79"/>
                  </a:cubicBezTo>
                  <a:cubicBezTo>
                    <a:pt x="27" y="79"/>
                    <a:pt x="27" y="79"/>
                    <a:pt x="27" y="79"/>
                  </a:cubicBezTo>
                  <a:cubicBezTo>
                    <a:pt x="27" y="79"/>
                    <a:pt x="27" y="79"/>
                    <a:pt x="27" y="79"/>
                  </a:cubicBezTo>
                  <a:cubicBezTo>
                    <a:pt x="27" y="79"/>
                    <a:pt x="27" y="79"/>
                    <a:pt x="27" y="79"/>
                  </a:cubicBezTo>
                  <a:cubicBezTo>
                    <a:pt x="27" y="79"/>
                    <a:pt x="27" y="79"/>
                    <a:pt x="27" y="79"/>
                  </a:cubicBezTo>
                  <a:cubicBezTo>
                    <a:pt x="29" y="79"/>
                    <a:pt x="31" y="77"/>
                    <a:pt x="33" y="74"/>
                  </a:cubicBezTo>
                  <a:cubicBezTo>
                    <a:pt x="56" y="0"/>
                    <a:pt x="56" y="0"/>
                    <a:pt x="56" y="0"/>
                  </a:cubicBezTo>
                  <a:cubicBezTo>
                    <a:pt x="47" y="2"/>
                    <a:pt x="38" y="3"/>
                    <a:pt x="28"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151" name="Freeform 123">
              <a:extLst>
                <a:ext uri="{FF2B5EF4-FFF2-40B4-BE49-F238E27FC236}">
                  <a16:creationId xmlns:a16="http://schemas.microsoft.com/office/drawing/2014/main" id="{7584197F-FFD4-40C8-A84C-87C89E6D24E5}"/>
                </a:ext>
              </a:extLst>
            </p:cNvPr>
            <p:cNvSpPr>
              <a:spLocks/>
            </p:cNvSpPr>
            <p:nvPr/>
          </p:nvSpPr>
          <p:spPr bwMode="auto">
            <a:xfrm>
              <a:off x="13674725" y="1749426"/>
              <a:ext cx="285750" cy="285750"/>
            </a:xfrm>
            <a:custGeom>
              <a:avLst/>
              <a:gdLst>
                <a:gd name="T0" fmla="*/ 37 w 76"/>
                <a:gd name="T1" fmla="*/ 0 h 76"/>
                <a:gd name="T2" fmla="*/ 1 w 76"/>
                <a:gd name="T3" fmla="*/ 67 h 76"/>
                <a:gd name="T4" fmla="*/ 2 w 76"/>
                <a:gd name="T5" fmla="*/ 74 h 76"/>
                <a:gd name="T6" fmla="*/ 2 w 76"/>
                <a:gd name="T7" fmla="*/ 74 h 76"/>
                <a:gd name="T8" fmla="*/ 2 w 76"/>
                <a:gd name="T9" fmla="*/ 74 h 76"/>
                <a:gd name="T10" fmla="*/ 2 w 76"/>
                <a:gd name="T11" fmla="*/ 74 h 76"/>
                <a:gd name="T12" fmla="*/ 2 w 76"/>
                <a:gd name="T13" fmla="*/ 74 h 76"/>
                <a:gd name="T14" fmla="*/ 9 w 76"/>
                <a:gd name="T15" fmla="*/ 75 h 76"/>
                <a:gd name="T16" fmla="*/ 76 w 76"/>
                <a:gd name="T17" fmla="*/ 39 h 76"/>
                <a:gd name="T18" fmla="*/ 54 w 76"/>
                <a:gd name="T19" fmla="*/ 22 h 76"/>
                <a:gd name="T20" fmla="*/ 37 w 76"/>
                <a:gd name="T2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76">
                  <a:moveTo>
                    <a:pt x="37" y="0"/>
                  </a:moveTo>
                  <a:cubicBezTo>
                    <a:pt x="1" y="67"/>
                    <a:pt x="1" y="67"/>
                    <a:pt x="1" y="67"/>
                  </a:cubicBezTo>
                  <a:cubicBezTo>
                    <a:pt x="0" y="70"/>
                    <a:pt x="0" y="72"/>
                    <a:pt x="2" y="74"/>
                  </a:cubicBezTo>
                  <a:cubicBezTo>
                    <a:pt x="2" y="74"/>
                    <a:pt x="2" y="74"/>
                    <a:pt x="2" y="74"/>
                  </a:cubicBezTo>
                  <a:cubicBezTo>
                    <a:pt x="2" y="74"/>
                    <a:pt x="2" y="74"/>
                    <a:pt x="2" y="74"/>
                  </a:cubicBezTo>
                  <a:cubicBezTo>
                    <a:pt x="2" y="74"/>
                    <a:pt x="2" y="74"/>
                    <a:pt x="2" y="74"/>
                  </a:cubicBezTo>
                  <a:cubicBezTo>
                    <a:pt x="2" y="74"/>
                    <a:pt x="2" y="74"/>
                    <a:pt x="2" y="74"/>
                  </a:cubicBezTo>
                  <a:cubicBezTo>
                    <a:pt x="3" y="75"/>
                    <a:pt x="6" y="76"/>
                    <a:pt x="9" y="75"/>
                  </a:cubicBezTo>
                  <a:cubicBezTo>
                    <a:pt x="76" y="39"/>
                    <a:pt x="76" y="39"/>
                    <a:pt x="76" y="39"/>
                  </a:cubicBezTo>
                  <a:cubicBezTo>
                    <a:pt x="68" y="35"/>
                    <a:pt x="61" y="29"/>
                    <a:pt x="54" y="22"/>
                  </a:cubicBezTo>
                  <a:cubicBezTo>
                    <a:pt x="48" y="15"/>
                    <a:pt x="42" y="8"/>
                    <a:pt x="3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152" name="Freeform 124">
              <a:extLst>
                <a:ext uri="{FF2B5EF4-FFF2-40B4-BE49-F238E27FC236}">
                  <a16:creationId xmlns:a16="http://schemas.microsoft.com/office/drawing/2014/main" id="{1F2B57F4-7374-43E6-A706-949ECC99E8C9}"/>
                </a:ext>
              </a:extLst>
            </p:cNvPr>
            <p:cNvSpPr>
              <a:spLocks/>
            </p:cNvSpPr>
            <p:nvPr/>
          </p:nvSpPr>
          <p:spPr bwMode="auto">
            <a:xfrm>
              <a:off x="13468350" y="1416051"/>
              <a:ext cx="300038" cy="214313"/>
            </a:xfrm>
            <a:custGeom>
              <a:avLst/>
              <a:gdLst>
                <a:gd name="T0" fmla="*/ 76 w 80"/>
                <a:gd name="T1" fmla="*/ 30 h 57"/>
                <a:gd name="T2" fmla="*/ 80 w 80"/>
                <a:gd name="T3" fmla="*/ 0 h 57"/>
                <a:gd name="T4" fmla="*/ 5 w 80"/>
                <a:gd name="T5" fmla="*/ 23 h 57"/>
                <a:gd name="T6" fmla="*/ 0 w 80"/>
                <a:gd name="T7" fmla="*/ 28 h 57"/>
                <a:gd name="T8" fmla="*/ 0 w 80"/>
                <a:gd name="T9" fmla="*/ 28 h 57"/>
                <a:gd name="T10" fmla="*/ 0 w 80"/>
                <a:gd name="T11" fmla="*/ 29 h 57"/>
                <a:gd name="T12" fmla="*/ 0 w 80"/>
                <a:gd name="T13" fmla="*/ 29 h 57"/>
                <a:gd name="T14" fmla="*/ 0 w 80"/>
                <a:gd name="T15" fmla="*/ 29 h 57"/>
                <a:gd name="T16" fmla="*/ 4 w 80"/>
                <a:gd name="T17" fmla="*/ 34 h 57"/>
                <a:gd name="T18" fmla="*/ 79 w 80"/>
                <a:gd name="T19" fmla="*/ 57 h 57"/>
                <a:gd name="T20" fmla="*/ 76 w 80"/>
                <a:gd name="T21" fmla="*/ 3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57">
                  <a:moveTo>
                    <a:pt x="76" y="30"/>
                  </a:moveTo>
                  <a:cubicBezTo>
                    <a:pt x="76" y="20"/>
                    <a:pt x="77" y="10"/>
                    <a:pt x="80" y="0"/>
                  </a:cubicBezTo>
                  <a:cubicBezTo>
                    <a:pt x="5" y="23"/>
                    <a:pt x="5" y="23"/>
                    <a:pt x="5" y="23"/>
                  </a:cubicBezTo>
                  <a:cubicBezTo>
                    <a:pt x="2" y="24"/>
                    <a:pt x="0" y="26"/>
                    <a:pt x="0" y="28"/>
                  </a:cubicBezTo>
                  <a:cubicBezTo>
                    <a:pt x="0" y="28"/>
                    <a:pt x="0" y="28"/>
                    <a:pt x="0" y="28"/>
                  </a:cubicBezTo>
                  <a:cubicBezTo>
                    <a:pt x="0" y="28"/>
                    <a:pt x="0" y="29"/>
                    <a:pt x="0" y="29"/>
                  </a:cubicBezTo>
                  <a:cubicBezTo>
                    <a:pt x="0" y="29"/>
                    <a:pt x="0" y="29"/>
                    <a:pt x="0" y="29"/>
                  </a:cubicBezTo>
                  <a:cubicBezTo>
                    <a:pt x="0" y="29"/>
                    <a:pt x="0" y="29"/>
                    <a:pt x="0" y="29"/>
                  </a:cubicBezTo>
                  <a:cubicBezTo>
                    <a:pt x="0" y="31"/>
                    <a:pt x="2" y="33"/>
                    <a:pt x="4" y="34"/>
                  </a:cubicBezTo>
                  <a:cubicBezTo>
                    <a:pt x="79" y="57"/>
                    <a:pt x="79" y="57"/>
                    <a:pt x="79" y="57"/>
                  </a:cubicBezTo>
                  <a:cubicBezTo>
                    <a:pt x="77" y="48"/>
                    <a:pt x="76" y="39"/>
                    <a:pt x="76" y="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grpSp>
      <p:sp>
        <p:nvSpPr>
          <p:cNvPr id="153" name="Freeform: Shape 40">
            <a:extLst>
              <a:ext uri="{FF2B5EF4-FFF2-40B4-BE49-F238E27FC236}">
                <a16:creationId xmlns:a16="http://schemas.microsoft.com/office/drawing/2014/main" id="{DFF02FB7-8906-49E3-BF08-601C9FE01477}"/>
              </a:ext>
            </a:extLst>
          </p:cNvPr>
          <p:cNvSpPr/>
          <p:nvPr/>
        </p:nvSpPr>
        <p:spPr>
          <a:xfrm rot="13514816" flipH="1">
            <a:off x="9457273" y="5189607"/>
            <a:ext cx="403343" cy="394877"/>
          </a:xfrm>
          <a:custGeom>
            <a:avLst/>
            <a:gdLst>
              <a:gd name="connsiteX0" fmla="*/ 0 w 1534149"/>
              <a:gd name="connsiteY0" fmla="*/ 99644 h 1254675"/>
              <a:gd name="connsiteX1" fmla="*/ 240632 w 1534149"/>
              <a:gd name="connsiteY1" fmla="*/ 3391 h 1254675"/>
              <a:gd name="connsiteX2" fmla="*/ 312821 w 1534149"/>
              <a:gd name="connsiteY2" fmla="*/ 207928 h 1254675"/>
              <a:gd name="connsiteX3" fmla="*/ 348916 w 1534149"/>
              <a:gd name="connsiteY3" fmla="*/ 328244 h 1254675"/>
              <a:gd name="connsiteX4" fmla="*/ 637674 w 1534149"/>
              <a:gd name="connsiteY4" fmla="*/ 195896 h 1254675"/>
              <a:gd name="connsiteX5" fmla="*/ 625642 w 1534149"/>
              <a:gd name="connsiteY5" fmla="*/ 472623 h 1254675"/>
              <a:gd name="connsiteX6" fmla="*/ 926432 w 1534149"/>
              <a:gd name="connsiteY6" fmla="*/ 388401 h 1254675"/>
              <a:gd name="connsiteX7" fmla="*/ 950495 w 1534149"/>
              <a:gd name="connsiteY7" fmla="*/ 689191 h 1254675"/>
              <a:gd name="connsiteX8" fmla="*/ 1215189 w 1534149"/>
              <a:gd name="connsiteY8" fmla="*/ 677159 h 1254675"/>
              <a:gd name="connsiteX9" fmla="*/ 1227221 w 1534149"/>
              <a:gd name="connsiteY9" fmla="*/ 965917 h 1254675"/>
              <a:gd name="connsiteX10" fmla="*/ 1515979 w 1534149"/>
              <a:gd name="connsiteY10" fmla="*/ 941854 h 1254675"/>
              <a:gd name="connsiteX11" fmla="*/ 1479884 w 1534149"/>
              <a:gd name="connsiteY11" fmla="*/ 1254675 h 1254675"/>
              <a:gd name="connsiteX0" fmla="*/ 0 w 1293517"/>
              <a:gd name="connsiteY0" fmla="*/ 0 h 1251284"/>
              <a:gd name="connsiteX1" fmla="*/ 72189 w 1293517"/>
              <a:gd name="connsiteY1" fmla="*/ 204537 h 1251284"/>
              <a:gd name="connsiteX2" fmla="*/ 108284 w 1293517"/>
              <a:gd name="connsiteY2" fmla="*/ 324853 h 1251284"/>
              <a:gd name="connsiteX3" fmla="*/ 397042 w 1293517"/>
              <a:gd name="connsiteY3" fmla="*/ 192505 h 1251284"/>
              <a:gd name="connsiteX4" fmla="*/ 385010 w 1293517"/>
              <a:gd name="connsiteY4" fmla="*/ 469232 h 1251284"/>
              <a:gd name="connsiteX5" fmla="*/ 685800 w 1293517"/>
              <a:gd name="connsiteY5" fmla="*/ 385010 h 1251284"/>
              <a:gd name="connsiteX6" fmla="*/ 709863 w 1293517"/>
              <a:gd name="connsiteY6" fmla="*/ 685800 h 1251284"/>
              <a:gd name="connsiteX7" fmla="*/ 974557 w 1293517"/>
              <a:gd name="connsiteY7" fmla="*/ 673768 h 1251284"/>
              <a:gd name="connsiteX8" fmla="*/ 986589 w 1293517"/>
              <a:gd name="connsiteY8" fmla="*/ 962526 h 1251284"/>
              <a:gd name="connsiteX9" fmla="*/ 1275347 w 1293517"/>
              <a:gd name="connsiteY9" fmla="*/ 938463 h 1251284"/>
              <a:gd name="connsiteX10" fmla="*/ 1239252 w 1293517"/>
              <a:gd name="connsiteY10" fmla="*/ 1251284 h 1251284"/>
              <a:gd name="connsiteX0" fmla="*/ 0 w 1221328"/>
              <a:gd name="connsiteY0" fmla="*/ 14578 h 1061325"/>
              <a:gd name="connsiteX1" fmla="*/ 36095 w 1221328"/>
              <a:gd name="connsiteY1" fmla="*/ 134894 h 1061325"/>
              <a:gd name="connsiteX2" fmla="*/ 324853 w 1221328"/>
              <a:gd name="connsiteY2" fmla="*/ 2546 h 1061325"/>
              <a:gd name="connsiteX3" fmla="*/ 312821 w 1221328"/>
              <a:gd name="connsiteY3" fmla="*/ 279273 h 1061325"/>
              <a:gd name="connsiteX4" fmla="*/ 613611 w 1221328"/>
              <a:gd name="connsiteY4" fmla="*/ 195051 h 1061325"/>
              <a:gd name="connsiteX5" fmla="*/ 637674 w 1221328"/>
              <a:gd name="connsiteY5" fmla="*/ 495841 h 1061325"/>
              <a:gd name="connsiteX6" fmla="*/ 902368 w 1221328"/>
              <a:gd name="connsiteY6" fmla="*/ 483809 h 1061325"/>
              <a:gd name="connsiteX7" fmla="*/ 914400 w 1221328"/>
              <a:gd name="connsiteY7" fmla="*/ 772567 h 1061325"/>
              <a:gd name="connsiteX8" fmla="*/ 1203158 w 1221328"/>
              <a:gd name="connsiteY8" fmla="*/ 748504 h 1061325"/>
              <a:gd name="connsiteX9" fmla="*/ 1167063 w 1221328"/>
              <a:gd name="connsiteY9" fmla="*/ 1061325 h 1061325"/>
              <a:gd name="connsiteX0" fmla="*/ 0 w 1185233"/>
              <a:gd name="connsiteY0" fmla="*/ 134894 h 1061325"/>
              <a:gd name="connsiteX1" fmla="*/ 288758 w 1185233"/>
              <a:gd name="connsiteY1" fmla="*/ 2546 h 1061325"/>
              <a:gd name="connsiteX2" fmla="*/ 276726 w 1185233"/>
              <a:gd name="connsiteY2" fmla="*/ 279273 h 1061325"/>
              <a:gd name="connsiteX3" fmla="*/ 577516 w 1185233"/>
              <a:gd name="connsiteY3" fmla="*/ 195051 h 1061325"/>
              <a:gd name="connsiteX4" fmla="*/ 601579 w 1185233"/>
              <a:gd name="connsiteY4" fmla="*/ 495841 h 1061325"/>
              <a:gd name="connsiteX5" fmla="*/ 866273 w 1185233"/>
              <a:gd name="connsiteY5" fmla="*/ 483809 h 1061325"/>
              <a:gd name="connsiteX6" fmla="*/ 878305 w 1185233"/>
              <a:gd name="connsiteY6" fmla="*/ 772567 h 1061325"/>
              <a:gd name="connsiteX7" fmla="*/ 1167063 w 1185233"/>
              <a:gd name="connsiteY7" fmla="*/ 748504 h 1061325"/>
              <a:gd name="connsiteX8" fmla="*/ 1130968 w 1185233"/>
              <a:gd name="connsiteY8" fmla="*/ 1061325 h 1061325"/>
              <a:gd name="connsiteX0" fmla="*/ 24849 w 921324"/>
              <a:gd name="connsiteY0" fmla="*/ 0 h 1058779"/>
              <a:gd name="connsiteX1" fmla="*/ 12817 w 921324"/>
              <a:gd name="connsiteY1" fmla="*/ 276727 h 1058779"/>
              <a:gd name="connsiteX2" fmla="*/ 313607 w 921324"/>
              <a:gd name="connsiteY2" fmla="*/ 192505 h 1058779"/>
              <a:gd name="connsiteX3" fmla="*/ 337670 w 921324"/>
              <a:gd name="connsiteY3" fmla="*/ 493295 h 1058779"/>
              <a:gd name="connsiteX4" fmla="*/ 602364 w 921324"/>
              <a:gd name="connsiteY4" fmla="*/ 481263 h 1058779"/>
              <a:gd name="connsiteX5" fmla="*/ 614396 w 921324"/>
              <a:gd name="connsiteY5" fmla="*/ 770021 h 1058779"/>
              <a:gd name="connsiteX6" fmla="*/ 903154 w 921324"/>
              <a:gd name="connsiteY6" fmla="*/ 745958 h 1058779"/>
              <a:gd name="connsiteX7" fmla="*/ 867059 w 921324"/>
              <a:gd name="connsiteY7" fmla="*/ 1058779 h 1058779"/>
              <a:gd name="connsiteX0" fmla="*/ 0 w 908507"/>
              <a:gd name="connsiteY0" fmla="*/ 89792 h 871844"/>
              <a:gd name="connsiteX1" fmla="*/ 300790 w 908507"/>
              <a:gd name="connsiteY1" fmla="*/ 5570 h 871844"/>
              <a:gd name="connsiteX2" fmla="*/ 324853 w 908507"/>
              <a:gd name="connsiteY2" fmla="*/ 306360 h 871844"/>
              <a:gd name="connsiteX3" fmla="*/ 589547 w 908507"/>
              <a:gd name="connsiteY3" fmla="*/ 294328 h 871844"/>
              <a:gd name="connsiteX4" fmla="*/ 601579 w 908507"/>
              <a:gd name="connsiteY4" fmla="*/ 583086 h 871844"/>
              <a:gd name="connsiteX5" fmla="*/ 890337 w 908507"/>
              <a:gd name="connsiteY5" fmla="*/ 559023 h 871844"/>
              <a:gd name="connsiteX6" fmla="*/ 854242 w 908507"/>
              <a:gd name="connsiteY6" fmla="*/ 871844 h 871844"/>
              <a:gd name="connsiteX0" fmla="*/ 0 w 607717"/>
              <a:gd name="connsiteY0" fmla="*/ 0 h 866274"/>
              <a:gd name="connsiteX1" fmla="*/ 24063 w 607717"/>
              <a:gd name="connsiteY1" fmla="*/ 300790 h 866274"/>
              <a:gd name="connsiteX2" fmla="*/ 288757 w 607717"/>
              <a:gd name="connsiteY2" fmla="*/ 288758 h 866274"/>
              <a:gd name="connsiteX3" fmla="*/ 300789 w 607717"/>
              <a:gd name="connsiteY3" fmla="*/ 577516 h 866274"/>
              <a:gd name="connsiteX4" fmla="*/ 589547 w 607717"/>
              <a:gd name="connsiteY4" fmla="*/ 553453 h 866274"/>
              <a:gd name="connsiteX5" fmla="*/ 553452 w 607717"/>
              <a:gd name="connsiteY5" fmla="*/ 866274 h 866274"/>
              <a:gd name="connsiteX0" fmla="*/ 0 w 589547"/>
              <a:gd name="connsiteY0" fmla="*/ 0 h 587710"/>
              <a:gd name="connsiteX1" fmla="*/ 24063 w 589547"/>
              <a:gd name="connsiteY1" fmla="*/ 300790 h 587710"/>
              <a:gd name="connsiteX2" fmla="*/ 288757 w 589547"/>
              <a:gd name="connsiteY2" fmla="*/ 288758 h 587710"/>
              <a:gd name="connsiteX3" fmla="*/ 300789 w 589547"/>
              <a:gd name="connsiteY3" fmla="*/ 577516 h 587710"/>
              <a:gd name="connsiteX4" fmla="*/ 589547 w 589547"/>
              <a:gd name="connsiteY4" fmla="*/ 553453 h 587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547" h="587710">
                <a:moveTo>
                  <a:pt x="0" y="0"/>
                </a:moveTo>
                <a:cubicBezTo>
                  <a:pt x="54142" y="36095"/>
                  <a:pt x="-24063" y="252664"/>
                  <a:pt x="24063" y="300790"/>
                </a:cubicBezTo>
                <a:cubicBezTo>
                  <a:pt x="72189" y="348916"/>
                  <a:pt x="242636" y="242637"/>
                  <a:pt x="288757" y="288758"/>
                </a:cubicBezTo>
                <a:cubicBezTo>
                  <a:pt x="334878" y="334879"/>
                  <a:pt x="250657" y="533400"/>
                  <a:pt x="300789" y="577516"/>
                </a:cubicBezTo>
                <a:cubicBezTo>
                  <a:pt x="350921" y="621632"/>
                  <a:pt x="547437" y="505327"/>
                  <a:pt x="589547" y="553453"/>
                </a:cubicBezTo>
              </a:path>
            </a:pathLst>
          </a:custGeom>
          <a:noFill/>
          <a:ln w="28575">
            <a:solidFill>
              <a:schemeClr val="accent3"/>
            </a:solidFill>
            <a:headEnd type="stealth" w="lg" len="lg"/>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highlight>
                <a:srgbClr val="FFCC66"/>
              </a:highlight>
              <a:uLnTx/>
              <a:uFillTx/>
              <a:latin typeface="GE Inspira Sans"/>
              <a:ea typeface="+mn-ea"/>
              <a:cs typeface="+mn-cs"/>
            </a:endParaRPr>
          </a:p>
        </p:txBody>
      </p:sp>
      <p:grpSp>
        <p:nvGrpSpPr>
          <p:cNvPr id="154" name="Group 42">
            <a:extLst>
              <a:ext uri="{FF2B5EF4-FFF2-40B4-BE49-F238E27FC236}">
                <a16:creationId xmlns:a16="http://schemas.microsoft.com/office/drawing/2014/main" id="{4217B703-8C3E-465C-9E33-9E528E9DE3C3}"/>
              </a:ext>
            </a:extLst>
          </p:cNvPr>
          <p:cNvGrpSpPr/>
          <p:nvPr/>
        </p:nvGrpSpPr>
        <p:grpSpPr>
          <a:xfrm>
            <a:off x="9902943" y="5132073"/>
            <a:ext cx="615439" cy="606590"/>
            <a:chOff x="7128707" y="4632237"/>
            <a:chExt cx="635822" cy="626679"/>
          </a:xfrm>
          <a:solidFill>
            <a:schemeClr val="accent4"/>
          </a:solidFill>
        </p:grpSpPr>
        <p:sp>
          <p:nvSpPr>
            <p:cNvPr id="155" name="Freeform 62">
              <a:extLst>
                <a:ext uri="{FF2B5EF4-FFF2-40B4-BE49-F238E27FC236}">
                  <a16:creationId xmlns:a16="http://schemas.microsoft.com/office/drawing/2014/main" id="{DAC07910-7DC6-47BA-89C8-7A05C23B9578}"/>
                </a:ext>
              </a:extLst>
            </p:cNvPr>
            <p:cNvSpPr>
              <a:spLocks/>
            </p:cNvSpPr>
            <p:nvPr/>
          </p:nvSpPr>
          <p:spPr bwMode="auto">
            <a:xfrm>
              <a:off x="7258122" y="5149194"/>
              <a:ext cx="375585" cy="109722"/>
            </a:xfrm>
            <a:custGeom>
              <a:avLst/>
              <a:gdLst>
                <a:gd name="T0" fmla="*/ 218 w 226"/>
                <a:gd name="T1" fmla="*/ 36 h 66"/>
                <a:gd name="T2" fmla="*/ 159 w 226"/>
                <a:gd name="T3" fmla="*/ 30 h 66"/>
                <a:gd name="T4" fmla="*/ 151 w 226"/>
                <a:gd name="T5" fmla="*/ 21 h 66"/>
                <a:gd name="T6" fmla="*/ 151 w 226"/>
                <a:gd name="T7" fmla="*/ 0 h 66"/>
                <a:gd name="T8" fmla="*/ 76 w 226"/>
                <a:gd name="T9" fmla="*/ 0 h 66"/>
                <a:gd name="T10" fmla="*/ 76 w 226"/>
                <a:gd name="T11" fmla="*/ 21 h 66"/>
                <a:gd name="T12" fmla="*/ 68 w 226"/>
                <a:gd name="T13" fmla="*/ 30 h 66"/>
                <a:gd name="T14" fmla="*/ 8 w 226"/>
                <a:gd name="T15" fmla="*/ 36 h 66"/>
                <a:gd name="T16" fmla="*/ 0 w 226"/>
                <a:gd name="T17" fmla="*/ 45 h 66"/>
                <a:gd name="T18" fmla="*/ 0 w 226"/>
                <a:gd name="T19" fmla="*/ 59 h 66"/>
                <a:gd name="T20" fmla="*/ 8 w 226"/>
                <a:gd name="T21" fmla="*/ 65 h 66"/>
                <a:gd name="T22" fmla="*/ 113 w 226"/>
                <a:gd name="T23" fmla="*/ 56 h 66"/>
                <a:gd name="T24" fmla="*/ 219 w 226"/>
                <a:gd name="T25" fmla="*/ 65 h 66"/>
                <a:gd name="T26" fmla="*/ 226 w 226"/>
                <a:gd name="T27" fmla="*/ 59 h 66"/>
                <a:gd name="T28" fmla="*/ 226 w 226"/>
                <a:gd name="T29" fmla="*/ 45 h 66"/>
                <a:gd name="T30" fmla="*/ 218 w 226"/>
                <a:gd name="T31" fmla="*/ 3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6" h="66">
                  <a:moveTo>
                    <a:pt x="218" y="36"/>
                  </a:moveTo>
                  <a:cubicBezTo>
                    <a:pt x="159" y="30"/>
                    <a:pt x="159" y="30"/>
                    <a:pt x="159" y="30"/>
                  </a:cubicBezTo>
                  <a:cubicBezTo>
                    <a:pt x="154" y="29"/>
                    <a:pt x="151" y="25"/>
                    <a:pt x="151" y="21"/>
                  </a:cubicBezTo>
                  <a:cubicBezTo>
                    <a:pt x="151" y="0"/>
                    <a:pt x="151" y="0"/>
                    <a:pt x="151" y="0"/>
                  </a:cubicBezTo>
                  <a:cubicBezTo>
                    <a:pt x="76" y="0"/>
                    <a:pt x="76" y="0"/>
                    <a:pt x="76" y="0"/>
                  </a:cubicBezTo>
                  <a:cubicBezTo>
                    <a:pt x="76" y="21"/>
                    <a:pt x="76" y="21"/>
                    <a:pt x="76" y="21"/>
                  </a:cubicBezTo>
                  <a:cubicBezTo>
                    <a:pt x="76" y="25"/>
                    <a:pt x="72" y="29"/>
                    <a:pt x="68" y="30"/>
                  </a:cubicBezTo>
                  <a:cubicBezTo>
                    <a:pt x="8" y="36"/>
                    <a:pt x="8" y="36"/>
                    <a:pt x="8" y="36"/>
                  </a:cubicBezTo>
                  <a:cubicBezTo>
                    <a:pt x="4" y="37"/>
                    <a:pt x="0" y="41"/>
                    <a:pt x="0" y="45"/>
                  </a:cubicBezTo>
                  <a:cubicBezTo>
                    <a:pt x="0" y="59"/>
                    <a:pt x="0" y="59"/>
                    <a:pt x="0" y="59"/>
                  </a:cubicBezTo>
                  <a:cubicBezTo>
                    <a:pt x="0" y="63"/>
                    <a:pt x="4" y="66"/>
                    <a:pt x="8" y="65"/>
                  </a:cubicBezTo>
                  <a:cubicBezTo>
                    <a:pt x="8" y="65"/>
                    <a:pt x="50" y="56"/>
                    <a:pt x="113" y="56"/>
                  </a:cubicBezTo>
                  <a:cubicBezTo>
                    <a:pt x="176" y="56"/>
                    <a:pt x="219" y="65"/>
                    <a:pt x="219" y="65"/>
                  </a:cubicBezTo>
                  <a:cubicBezTo>
                    <a:pt x="223" y="66"/>
                    <a:pt x="226" y="63"/>
                    <a:pt x="226" y="59"/>
                  </a:cubicBezTo>
                  <a:cubicBezTo>
                    <a:pt x="226" y="45"/>
                    <a:pt x="226" y="45"/>
                    <a:pt x="226" y="45"/>
                  </a:cubicBezTo>
                  <a:cubicBezTo>
                    <a:pt x="226" y="41"/>
                    <a:pt x="223" y="37"/>
                    <a:pt x="218" y="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156" name="Freeform 63">
              <a:extLst>
                <a:ext uri="{FF2B5EF4-FFF2-40B4-BE49-F238E27FC236}">
                  <a16:creationId xmlns:a16="http://schemas.microsoft.com/office/drawing/2014/main" id="{08A3D55D-924A-4512-AB3C-916F4FEA20B5}"/>
                </a:ext>
              </a:extLst>
            </p:cNvPr>
            <p:cNvSpPr>
              <a:spLocks noEditPoints="1"/>
            </p:cNvSpPr>
            <p:nvPr/>
          </p:nvSpPr>
          <p:spPr bwMode="auto">
            <a:xfrm>
              <a:off x="7128707" y="4632237"/>
              <a:ext cx="635822" cy="476867"/>
            </a:xfrm>
            <a:custGeom>
              <a:avLst/>
              <a:gdLst>
                <a:gd name="T0" fmla="*/ 365 w 383"/>
                <a:gd name="T1" fmla="*/ 13 h 287"/>
                <a:gd name="T2" fmla="*/ 348 w 383"/>
                <a:gd name="T3" fmla="*/ 0 h 287"/>
                <a:gd name="T4" fmla="*/ 294 w 383"/>
                <a:gd name="T5" fmla="*/ 0 h 287"/>
                <a:gd name="T6" fmla="*/ 50 w 383"/>
                <a:gd name="T7" fmla="*/ 0 h 287"/>
                <a:gd name="T8" fmla="*/ 35 w 383"/>
                <a:gd name="T9" fmla="*/ 0 h 287"/>
                <a:gd name="T10" fmla="*/ 18 w 383"/>
                <a:gd name="T11" fmla="*/ 13 h 287"/>
                <a:gd name="T12" fmla="*/ 0 w 383"/>
                <a:gd name="T13" fmla="*/ 144 h 287"/>
                <a:gd name="T14" fmla="*/ 18 w 383"/>
                <a:gd name="T15" fmla="*/ 275 h 287"/>
                <a:gd name="T16" fmla="*/ 35 w 383"/>
                <a:gd name="T17" fmla="*/ 287 h 287"/>
                <a:gd name="T18" fmla="*/ 50 w 383"/>
                <a:gd name="T19" fmla="*/ 287 h 287"/>
                <a:gd name="T20" fmla="*/ 294 w 383"/>
                <a:gd name="T21" fmla="*/ 287 h 287"/>
                <a:gd name="T22" fmla="*/ 348 w 383"/>
                <a:gd name="T23" fmla="*/ 287 h 287"/>
                <a:gd name="T24" fmla="*/ 365 w 383"/>
                <a:gd name="T25" fmla="*/ 275 h 287"/>
                <a:gd name="T26" fmla="*/ 383 w 383"/>
                <a:gd name="T27" fmla="*/ 144 h 287"/>
                <a:gd name="T28" fmla="*/ 365 w 383"/>
                <a:gd name="T29" fmla="*/ 13 h 287"/>
                <a:gd name="T30" fmla="*/ 338 w 383"/>
                <a:gd name="T31" fmla="*/ 255 h 287"/>
                <a:gd name="T32" fmla="*/ 294 w 383"/>
                <a:gd name="T33" fmla="*/ 255 h 287"/>
                <a:gd name="T34" fmla="*/ 50 w 383"/>
                <a:gd name="T35" fmla="*/ 255 h 287"/>
                <a:gd name="T36" fmla="*/ 45 w 383"/>
                <a:gd name="T37" fmla="*/ 255 h 287"/>
                <a:gd name="T38" fmla="*/ 32 w 383"/>
                <a:gd name="T39" fmla="*/ 144 h 287"/>
                <a:gd name="T40" fmla="*/ 45 w 383"/>
                <a:gd name="T41" fmla="*/ 32 h 287"/>
                <a:gd name="T42" fmla="*/ 50 w 383"/>
                <a:gd name="T43" fmla="*/ 32 h 287"/>
                <a:gd name="T44" fmla="*/ 294 w 383"/>
                <a:gd name="T45" fmla="*/ 32 h 287"/>
                <a:gd name="T46" fmla="*/ 338 w 383"/>
                <a:gd name="T47" fmla="*/ 32 h 287"/>
                <a:gd name="T48" fmla="*/ 351 w 383"/>
                <a:gd name="T49" fmla="*/ 144 h 287"/>
                <a:gd name="T50" fmla="*/ 338 w 383"/>
                <a:gd name="T51" fmla="*/ 255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3" h="287">
                  <a:moveTo>
                    <a:pt x="365" y="13"/>
                  </a:moveTo>
                  <a:cubicBezTo>
                    <a:pt x="363" y="9"/>
                    <a:pt x="358" y="0"/>
                    <a:pt x="348" y="0"/>
                  </a:cubicBezTo>
                  <a:cubicBezTo>
                    <a:pt x="294" y="0"/>
                    <a:pt x="294" y="0"/>
                    <a:pt x="294" y="0"/>
                  </a:cubicBezTo>
                  <a:cubicBezTo>
                    <a:pt x="50" y="0"/>
                    <a:pt x="50" y="0"/>
                    <a:pt x="50" y="0"/>
                  </a:cubicBezTo>
                  <a:cubicBezTo>
                    <a:pt x="35" y="0"/>
                    <a:pt x="35" y="0"/>
                    <a:pt x="35" y="0"/>
                  </a:cubicBezTo>
                  <a:cubicBezTo>
                    <a:pt x="25" y="0"/>
                    <a:pt x="20" y="9"/>
                    <a:pt x="18" y="13"/>
                  </a:cubicBezTo>
                  <a:cubicBezTo>
                    <a:pt x="16" y="17"/>
                    <a:pt x="0" y="51"/>
                    <a:pt x="0" y="144"/>
                  </a:cubicBezTo>
                  <a:cubicBezTo>
                    <a:pt x="0" y="236"/>
                    <a:pt x="16" y="270"/>
                    <a:pt x="18" y="275"/>
                  </a:cubicBezTo>
                  <a:cubicBezTo>
                    <a:pt x="20" y="278"/>
                    <a:pt x="25" y="287"/>
                    <a:pt x="35" y="287"/>
                  </a:cubicBezTo>
                  <a:cubicBezTo>
                    <a:pt x="50" y="287"/>
                    <a:pt x="50" y="287"/>
                    <a:pt x="50" y="287"/>
                  </a:cubicBezTo>
                  <a:cubicBezTo>
                    <a:pt x="294" y="287"/>
                    <a:pt x="294" y="287"/>
                    <a:pt x="294" y="287"/>
                  </a:cubicBezTo>
                  <a:cubicBezTo>
                    <a:pt x="348" y="287"/>
                    <a:pt x="348" y="287"/>
                    <a:pt x="348" y="287"/>
                  </a:cubicBezTo>
                  <a:cubicBezTo>
                    <a:pt x="358" y="287"/>
                    <a:pt x="363" y="278"/>
                    <a:pt x="365" y="275"/>
                  </a:cubicBezTo>
                  <a:cubicBezTo>
                    <a:pt x="367" y="270"/>
                    <a:pt x="383" y="236"/>
                    <a:pt x="383" y="144"/>
                  </a:cubicBezTo>
                  <a:cubicBezTo>
                    <a:pt x="383" y="51"/>
                    <a:pt x="367" y="17"/>
                    <a:pt x="365" y="13"/>
                  </a:cubicBezTo>
                  <a:close/>
                  <a:moveTo>
                    <a:pt x="338" y="255"/>
                  </a:moveTo>
                  <a:cubicBezTo>
                    <a:pt x="294" y="255"/>
                    <a:pt x="294" y="255"/>
                    <a:pt x="294" y="255"/>
                  </a:cubicBezTo>
                  <a:cubicBezTo>
                    <a:pt x="50" y="255"/>
                    <a:pt x="50" y="255"/>
                    <a:pt x="50" y="255"/>
                  </a:cubicBezTo>
                  <a:cubicBezTo>
                    <a:pt x="45" y="255"/>
                    <a:pt x="45" y="255"/>
                    <a:pt x="45" y="255"/>
                  </a:cubicBezTo>
                  <a:cubicBezTo>
                    <a:pt x="41" y="245"/>
                    <a:pt x="32" y="212"/>
                    <a:pt x="32" y="144"/>
                  </a:cubicBezTo>
                  <a:cubicBezTo>
                    <a:pt x="32" y="75"/>
                    <a:pt x="41" y="42"/>
                    <a:pt x="45" y="32"/>
                  </a:cubicBezTo>
                  <a:cubicBezTo>
                    <a:pt x="50" y="32"/>
                    <a:pt x="50" y="32"/>
                    <a:pt x="50" y="32"/>
                  </a:cubicBezTo>
                  <a:cubicBezTo>
                    <a:pt x="294" y="32"/>
                    <a:pt x="294" y="32"/>
                    <a:pt x="294" y="32"/>
                  </a:cubicBezTo>
                  <a:cubicBezTo>
                    <a:pt x="338" y="32"/>
                    <a:pt x="338" y="32"/>
                    <a:pt x="338" y="32"/>
                  </a:cubicBezTo>
                  <a:cubicBezTo>
                    <a:pt x="342" y="42"/>
                    <a:pt x="351" y="75"/>
                    <a:pt x="351" y="144"/>
                  </a:cubicBezTo>
                  <a:cubicBezTo>
                    <a:pt x="351" y="212"/>
                    <a:pt x="342" y="245"/>
                    <a:pt x="338" y="25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cxnSp>
          <p:nvCxnSpPr>
            <p:cNvPr id="157" name="Straight Connector 45">
              <a:extLst>
                <a:ext uri="{FF2B5EF4-FFF2-40B4-BE49-F238E27FC236}">
                  <a16:creationId xmlns:a16="http://schemas.microsoft.com/office/drawing/2014/main" id="{D8B86B4E-4331-4417-B420-37565A6B98DE}"/>
                </a:ext>
              </a:extLst>
            </p:cNvPr>
            <p:cNvCxnSpPr/>
            <p:nvPr/>
          </p:nvCxnSpPr>
          <p:spPr>
            <a:xfrm>
              <a:off x="7246286" y="4774562"/>
              <a:ext cx="386835" cy="0"/>
            </a:xfrm>
            <a:prstGeom prst="line">
              <a:avLst/>
            </a:prstGeom>
            <a:grpFill/>
            <a:ln w="44450" cap="rnd">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8" name="Straight Connector 46">
              <a:extLst>
                <a:ext uri="{FF2B5EF4-FFF2-40B4-BE49-F238E27FC236}">
                  <a16:creationId xmlns:a16="http://schemas.microsoft.com/office/drawing/2014/main" id="{AAA142BD-90F8-4A49-86BA-909E257BEFF1}"/>
                </a:ext>
              </a:extLst>
            </p:cNvPr>
            <p:cNvCxnSpPr/>
            <p:nvPr/>
          </p:nvCxnSpPr>
          <p:spPr>
            <a:xfrm>
              <a:off x="7244617" y="4880071"/>
              <a:ext cx="386835" cy="0"/>
            </a:xfrm>
            <a:prstGeom prst="line">
              <a:avLst/>
            </a:prstGeom>
            <a:grpFill/>
            <a:ln w="44450" cap="rnd">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9" name="Straight Connector 47">
              <a:extLst>
                <a:ext uri="{FF2B5EF4-FFF2-40B4-BE49-F238E27FC236}">
                  <a16:creationId xmlns:a16="http://schemas.microsoft.com/office/drawing/2014/main" id="{C0099BEA-F840-4C0F-BAF6-E01969444720}"/>
                </a:ext>
              </a:extLst>
            </p:cNvPr>
            <p:cNvCxnSpPr/>
            <p:nvPr/>
          </p:nvCxnSpPr>
          <p:spPr>
            <a:xfrm>
              <a:off x="7244618" y="4983900"/>
              <a:ext cx="386835" cy="0"/>
            </a:xfrm>
            <a:prstGeom prst="line">
              <a:avLst/>
            </a:prstGeom>
            <a:grpFill/>
            <a:ln w="44450" cap="rnd">
              <a:solidFill>
                <a:schemeClr val="accent4"/>
              </a:solidFill>
            </a:ln>
          </p:spPr>
          <p:style>
            <a:lnRef idx="1">
              <a:schemeClr val="accent1"/>
            </a:lnRef>
            <a:fillRef idx="0">
              <a:schemeClr val="accent1"/>
            </a:fillRef>
            <a:effectRef idx="0">
              <a:schemeClr val="accent1"/>
            </a:effectRef>
            <a:fontRef idx="minor">
              <a:schemeClr val="tx1"/>
            </a:fontRef>
          </p:style>
        </p:cxnSp>
        <p:sp>
          <p:nvSpPr>
            <p:cNvPr id="160" name="Oval 48">
              <a:extLst>
                <a:ext uri="{FF2B5EF4-FFF2-40B4-BE49-F238E27FC236}">
                  <a16:creationId xmlns:a16="http://schemas.microsoft.com/office/drawing/2014/main" id="{210E5E15-BE2F-4839-9509-90F3D4F36437}"/>
                </a:ext>
              </a:extLst>
            </p:cNvPr>
            <p:cNvSpPr/>
            <p:nvPr/>
          </p:nvSpPr>
          <p:spPr>
            <a:xfrm>
              <a:off x="7313094" y="4727135"/>
              <a:ext cx="87085" cy="87085"/>
            </a:xfrm>
            <a:prstGeom prst="ellips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 Inspira Sans"/>
                <a:ea typeface="+mn-ea"/>
                <a:cs typeface="+mn-cs"/>
              </a:endParaRPr>
            </a:p>
          </p:txBody>
        </p:sp>
        <p:sp>
          <p:nvSpPr>
            <p:cNvPr id="161" name="Oval 49">
              <a:extLst>
                <a:ext uri="{FF2B5EF4-FFF2-40B4-BE49-F238E27FC236}">
                  <a16:creationId xmlns:a16="http://schemas.microsoft.com/office/drawing/2014/main" id="{DCA9A089-A64A-4103-AD66-0C41C5954E14}"/>
                </a:ext>
              </a:extLst>
            </p:cNvPr>
            <p:cNvSpPr/>
            <p:nvPr/>
          </p:nvSpPr>
          <p:spPr>
            <a:xfrm>
              <a:off x="7567641" y="4829003"/>
              <a:ext cx="87085" cy="87085"/>
            </a:xfrm>
            <a:prstGeom prst="ellips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 Inspira Sans"/>
                <a:ea typeface="+mn-ea"/>
                <a:cs typeface="+mn-cs"/>
              </a:endParaRPr>
            </a:p>
          </p:txBody>
        </p:sp>
        <p:sp>
          <p:nvSpPr>
            <p:cNvPr id="162" name="Oval 50">
              <a:extLst>
                <a:ext uri="{FF2B5EF4-FFF2-40B4-BE49-F238E27FC236}">
                  <a16:creationId xmlns:a16="http://schemas.microsoft.com/office/drawing/2014/main" id="{B5A12DBD-2C8F-466D-A58C-58AFFE4E64A4}"/>
                </a:ext>
              </a:extLst>
            </p:cNvPr>
            <p:cNvSpPr/>
            <p:nvPr/>
          </p:nvSpPr>
          <p:spPr>
            <a:xfrm>
              <a:off x="7400179" y="4936178"/>
              <a:ext cx="87085" cy="87085"/>
            </a:xfrm>
            <a:prstGeom prst="ellips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 Inspira Sans"/>
                <a:ea typeface="+mn-ea"/>
                <a:cs typeface="+mn-cs"/>
              </a:endParaRPr>
            </a:p>
          </p:txBody>
        </p:sp>
      </p:grpSp>
      <p:sp>
        <p:nvSpPr>
          <p:cNvPr id="163" name="Freeform 19">
            <a:extLst>
              <a:ext uri="{FF2B5EF4-FFF2-40B4-BE49-F238E27FC236}">
                <a16:creationId xmlns:a16="http://schemas.microsoft.com/office/drawing/2014/main" id="{451F7526-84CA-446D-8059-D0C4F90E0348}"/>
              </a:ext>
            </a:extLst>
          </p:cNvPr>
          <p:cNvSpPr>
            <a:spLocks/>
          </p:cNvSpPr>
          <p:nvPr/>
        </p:nvSpPr>
        <p:spPr bwMode="auto">
          <a:xfrm>
            <a:off x="9461370" y="5464431"/>
            <a:ext cx="197874" cy="226178"/>
          </a:xfrm>
          <a:custGeom>
            <a:avLst/>
            <a:gdLst>
              <a:gd name="T0" fmla="*/ 110 w 111"/>
              <a:gd name="T1" fmla="*/ 46 h 128"/>
              <a:gd name="T2" fmla="*/ 106 w 111"/>
              <a:gd name="T3" fmla="*/ 44 h 128"/>
              <a:gd name="T4" fmla="*/ 53 w 111"/>
              <a:gd name="T5" fmla="*/ 44 h 128"/>
              <a:gd name="T6" fmla="*/ 79 w 111"/>
              <a:gd name="T7" fmla="*/ 8 h 128"/>
              <a:gd name="T8" fmla="*/ 80 w 111"/>
              <a:gd name="T9" fmla="*/ 3 h 128"/>
              <a:gd name="T10" fmla="*/ 75 w 111"/>
              <a:gd name="T11" fmla="*/ 0 h 128"/>
              <a:gd name="T12" fmla="*/ 43 w 111"/>
              <a:gd name="T13" fmla="*/ 0 h 128"/>
              <a:gd name="T14" fmla="*/ 36 w 111"/>
              <a:gd name="T15" fmla="*/ 4 h 128"/>
              <a:gd name="T16" fmla="*/ 1 w 111"/>
              <a:gd name="T17" fmla="*/ 62 h 128"/>
              <a:gd name="T18" fmla="*/ 1 w 111"/>
              <a:gd name="T19" fmla="*/ 68 h 128"/>
              <a:gd name="T20" fmla="*/ 5 w 111"/>
              <a:gd name="T21" fmla="*/ 70 h 128"/>
              <a:gd name="T22" fmla="*/ 64 w 111"/>
              <a:gd name="T23" fmla="*/ 70 h 128"/>
              <a:gd name="T24" fmla="*/ 35 w 111"/>
              <a:gd name="T25" fmla="*/ 121 h 128"/>
              <a:gd name="T26" fmla="*/ 35 w 111"/>
              <a:gd name="T27" fmla="*/ 126 h 128"/>
              <a:gd name="T28" fmla="*/ 40 w 111"/>
              <a:gd name="T29" fmla="*/ 128 h 128"/>
              <a:gd name="T30" fmla="*/ 41 w 111"/>
              <a:gd name="T31" fmla="*/ 128 h 128"/>
              <a:gd name="T32" fmla="*/ 49 w 111"/>
              <a:gd name="T33" fmla="*/ 124 h 128"/>
              <a:gd name="T34" fmla="*/ 109 w 111"/>
              <a:gd name="T35" fmla="*/ 51 h 128"/>
              <a:gd name="T36" fmla="*/ 110 w 111"/>
              <a:gd name="T37" fmla="*/ 4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1" h="128">
                <a:moveTo>
                  <a:pt x="110" y="46"/>
                </a:moveTo>
                <a:cubicBezTo>
                  <a:pt x="110" y="45"/>
                  <a:pt x="108" y="44"/>
                  <a:pt x="106" y="44"/>
                </a:cubicBezTo>
                <a:cubicBezTo>
                  <a:pt x="53" y="44"/>
                  <a:pt x="53" y="44"/>
                  <a:pt x="53" y="44"/>
                </a:cubicBezTo>
                <a:cubicBezTo>
                  <a:pt x="79" y="8"/>
                  <a:pt x="79" y="8"/>
                  <a:pt x="79" y="8"/>
                </a:cubicBezTo>
                <a:cubicBezTo>
                  <a:pt x="80" y="6"/>
                  <a:pt x="80" y="4"/>
                  <a:pt x="80" y="3"/>
                </a:cubicBezTo>
                <a:cubicBezTo>
                  <a:pt x="79" y="1"/>
                  <a:pt x="77" y="0"/>
                  <a:pt x="75" y="0"/>
                </a:cubicBezTo>
                <a:cubicBezTo>
                  <a:pt x="43" y="0"/>
                  <a:pt x="43" y="0"/>
                  <a:pt x="43" y="0"/>
                </a:cubicBezTo>
                <a:cubicBezTo>
                  <a:pt x="40" y="0"/>
                  <a:pt x="37" y="2"/>
                  <a:pt x="36" y="4"/>
                </a:cubicBezTo>
                <a:cubicBezTo>
                  <a:pt x="1" y="62"/>
                  <a:pt x="1" y="62"/>
                  <a:pt x="1" y="62"/>
                </a:cubicBezTo>
                <a:cubicBezTo>
                  <a:pt x="0" y="64"/>
                  <a:pt x="0" y="66"/>
                  <a:pt x="1" y="68"/>
                </a:cubicBezTo>
                <a:cubicBezTo>
                  <a:pt x="2" y="69"/>
                  <a:pt x="3" y="70"/>
                  <a:pt x="5" y="70"/>
                </a:cubicBezTo>
                <a:cubicBezTo>
                  <a:pt x="64" y="70"/>
                  <a:pt x="64" y="70"/>
                  <a:pt x="64" y="70"/>
                </a:cubicBezTo>
                <a:cubicBezTo>
                  <a:pt x="35" y="121"/>
                  <a:pt x="35" y="121"/>
                  <a:pt x="35" y="121"/>
                </a:cubicBezTo>
                <a:cubicBezTo>
                  <a:pt x="34" y="122"/>
                  <a:pt x="34" y="124"/>
                  <a:pt x="35" y="126"/>
                </a:cubicBezTo>
                <a:cubicBezTo>
                  <a:pt x="36" y="127"/>
                  <a:pt x="38" y="128"/>
                  <a:pt x="40" y="128"/>
                </a:cubicBezTo>
                <a:cubicBezTo>
                  <a:pt x="41" y="128"/>
                  <a:pt x="41" y="128"/>
                  <a:pt x="41" y="128"/>
                </a:cubicBezTo>
                <a:cubicBezTo>
                  <a:pt x="44" y="128"/>
                  <a:pt x="47" y="126"/>
                  <a:pt x="49" y="124"/>
                </a:cubicBezTo>
                <a:cubicBezTo>
                  <a:pt x="109" y="51"/>
                  <a:pt x="109" y="51"/>
                  <a:pt x="109" y="51"/>
                </a:cubicBezTo>
                <a:cubicBezTo>
                  <a:pt x="111" y="49"/>
                  <a:pt x="110" y="47"/>
                  <a:pt x="110" y="4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B1B3B3">
                  <a:lumMod val="60000"/>
                  <a:lumOff val="40000"/>
                </a:srgbClr>
              </a:solidFill>
              <a:effectLst/>
              <a:uLnTx/>
              <a:uFillTx/>
              <a:latin typeface="GE Inspira Sans"/>
              <a:ea typeface="+mn-ea"/>
              <a:cs typeface="+mn-cs"/>
            </a:endParaRPr>
          </a:p>
        </p:txBody>
      </p:sp>
      <p:sp>
        <p:nvSpPr>
          <p:cNvPr id="164" name="TextBox 62">
            <a:extLst>
              <a:ext uri="{FF2B5EF4-FFF2-40B4-BE49-F238E27FC236}">
                <a16:creationId xmlns:a16="http://schemas.microsoft.com/office/drawing/2014/main" id="{7EDE3A6A-7313-4D28-A653-1487CB7EDA10}"/>
              </a:ext>
            </a:extLst>
          </p:cNvPr>
          <p:cNvSpPr txBox="1"/>
          <p:nvPr/>
        </p:nvSpPr>
        <p:spPr>
          <a:xfrm>
            <a:off x="9625014" y="5909159"/>
            <a:ext cx="1416736" cy="487313"/>
          </a:xfrm>
          <a:prstGeom prst="rect">
            <a:avLst/>
          </a:prstGeom>
          <a:noFill/>
        </p:spPr>
        <p:txBody>
          <a:bodyPr wrap="square" lIns="0" tIns="0" rIns="0" bIns="0" rtlCol="0">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5EB8"/>
                </a:solidFill>
                <a:effectLst/>
                <a:uLnTx/>
                <a:uFillTx/>
                <a:latin typeface="GE Inspira Sans"/>
                <a:ea typeface="+mn-ea"/>
                <a:cs typeface="+mn-cs"/>
              </a:rPr>
              <a:t>ELECTRONIC</a:t>
            </a:r>
          </a:p>
          <a:p>
            <a:pPr marL="0" marR="0" lvl="0" indent="0" algn="l" defTabSz="914400" rtl="0" eaLnBrk="1" fontAlgn="auto" latinLnBrk="0" hangingPunct="1">
              <a:lnSpc>
                <a:spcPts val="19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5EB8"/>
                </a:solidFill>
                <a:effectLst/>
                <a:uLnTx/>
                <a:uFillTx/>
                <a:latin typeface="GE Inspira Sans"/>
                <a:ea typeface="+mn-ea"/>
                <a:cs typeface="+mn-cs"/>
              </a:rPr>
              <a:t>MACHINES</a:t>
            </a:r>
            <a:endParaRPr kumimoji="0" lang="en-US" sz="1800" b="0" i="1" u="none" strike="noStrike" kern="1200" cap="none" spc="0" normalizeH="0" baseline="0" noProof="0" dirty="0">
              <a:ln>
                <a:noFill/>
              </a:ln>
              <a:solidFill>
                <a:srgbClr val="005EB8"/>
              </a:solidFill>
              <a:effectLst/>
              <a:uLnTx/>
              <a:uFillTx/>
              <a:latin typeface="GE Inspira Sans"/>
              <a:ea typeface="+mn-ea"/>
              <a:cs typeface="+mn-cs"/>
            </a:endParaRPr>
          </a:p>
        </p:txBody>
      </p:sp>
      <p:sp>
        <p:nvSpPr>
          <p:cNvPr id="165" name="TextBox 63">
            <a:extLst>
              <a:ext uri="{FF2B5EF4-FFF2-40B4-BE49-F238E27FC236}">
                <a16:creationId xmlns:a16="http://schemas.microsoft.com/office/drawing/2014/main" id="{94B58D85-F450-4C77-BB04-3087DBBBC60B}"/>
              </a:ext>
            </a:extLst>
          </p:cNvPr>
          <p:cNvSpPr txBox="1"/>
          <p:nvPr/>
        </p:nvSpPr>
        <p:spPr>
          <a:xfrm>
            <a:off x="9623168" y="2759168"/>
            <a:ext cx="1779568" cy="276999"/>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5EB8"/>
                </a:solidFill>
                <a:effectLst/>
                <a:uLnTx/>
                <a:uFillTx/>
                <a:latin typeface="GE Inspira Sans"/>
                <a:ea typeface="+mn-ea"/>
                <a:cs typeface="+mn-cs"/>
              </a:rPr>
              <a:t>VARIABLE </a:t>
            </a:r>
            <a:r>
              <a:rPr kumimoji="0" lang="en-US" sz="1800" b="0" i="0" u="none" strike="noStrike" kern="1200" cap="none" spc="0" normalizeH="0" baseline="0" noProof="0" dirty="0">
                <a:ln>
                  <a:noFill/>
                </a:ln>
                <a:solidFill>
                  <a:srgbClr val="005EB8"/>
                </a:solidFill>
                <a:effectLst/>
                <a:uLnTx/>
                <a:uFillTx/>
                <a:latin typeface="GE Inspira Sans"/>
                <a:ea typeface="+mn-ea"/>
                <a:cs typeface="+mn-cs"/>
              </a:rPr>
              <a:t>FUEL</a:t>
            </a:r>
          </a:p>
        </p:txBody>
      </p:sp>
      <p:sp>
        <p:nvSpPr>
          <p:cNvPr id="166" name="Arrow: Up-Down 65">
            <a:extLst>
              <a:ext uri="{FF2B5EF4-FFF2-40B4-BE49-F238E27FC236}">
                <a16:creationId xmlns:a16="http://schemas.microsoft.com/office/drawing/2014/main" id="{4C522FAE-CA25-4445-8480-7F8A984F8BF5}"/>
              </a:ext>
            </a:extLst>
          </p:cNvPr>
          <p:cNvSpPr/>
          <p:nvPr/>
        </p:nvSpPr>
        <p:spPr>
          <a:xfrm>
            <a:off x="9436377" y="2200499"/>
            <a:ext cx="188637" cy="451942"/>
          </a:xfrm>
          <a:prstGeom prst="up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 Inspira Sans"/>
              <a:ea typeface="+mn-ea"/>
              <a:cs typeface="+mn-cs"/>
            </a:endParaRPr>
          </a:p>
        </p:txBody>
      </p:sp>
      <p:sp>
        <p:nvSpPr>
          <p:cNvPr id="167" name="Arrow: Up-Down 66">
            <a:extLst>
              <a:ext uri="{FF2B5EF4-FFF2-40B4-BE49-F238E27FC236}">
                <a16:creationId xmlns:a16="http://schemas.microsoft.com/office/drawing/2014/main" id="{3AAE61BB-C491-4FF6-84C7-5606A470A4AB}"/>
              </a:ext>
            </a:extLst>
          </p:cNvPr>
          <p:cNvSpPr/>
          <p:nvPr/>
        </p:nvSpPr>
        <p:spPr>
          <a:xfrm>
            <a:off x="11016152" y="2200499"/>
            <a:ext cx="188637" cy="451942"/>
          </a:xfrm>
          <a:prstGeom prst="up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 Inspira Sans"/>
              <a:ea typeface="+mn-ea"/>
              <a:cs typeface="+mn-cs"/>
            </a:endParaRPr>
          </a:p>
        </p:txBody>
      </p:sp>
      <p:grpSp>
        <p:nvGrpSpPr>
          <p:cNvPr id="168" name="Group 67">
            <a:extLst>
              <a:ext uri="{FF2B5EF4-FFF2-40B4-BE49-F238E27FC236}">
                <a16:creationId xmlns:a16="http://schemas.microsoft.com/office/drawing/2014/main" id="{654FDB44-3C12-4A7B-B21D-A5173121F9BC}"/>
              </a:ext>
            </a:extLst>
          </p:cNvPr>
          <p:cNvGrpSpPr>
            <a:grpSpLocks noChangeAspect="1"/>
          </p:cNvGrpSpPr>
          <p:nvPr/>
        </p:nvGrpSpPr>
        <p:grpSpPr>
          <a:xfrm>
            <a:off x="10401064" y="2282613"/>
            <a:ext cx="419337" cy="350912"/>
            <a:chOff x="13460413" y="906463"/>
            <a:chExt cx="1439863" cy="1204913"/>
          </a:xfrm>
          <a:solidFill>
            <a:schemeClr val="accent4"/>
          </a:solidFill>
        </p:grpSpPr>
        <p:sp>
          <p:nvSpPr>
            <p:cNvPr id="169" name="Freeform 89">
              <a:extLst>
                <a:ext uri="{FF2B5EF4-FFF2-40B4-BE49-F238E27FC236}">
                  <a16:creationId xmlns:a16="http://schemas.microsoft.com/office/drawing/2014/main" id="{67389E03-F9E7-4D9F-A2BC-58AF257925FE}"/>
                </a:ext>
              </a:extLst>
            </p:cNvPr>
            <p:cNvSpPr>
              <a:spLocks noEditPoints="1"/>
            </p:cNvSpPr>
            <p:nvPr/>
          </p:nvSpPr>
          <p:spPr bwMode="auto">
            <a:xfrm>
              <a:off x="13460413" y="1060450"/>
              <a:ext cx="461963" cy="746125"/>
            </a:xfrm>
            <a:custGeom>
              <a:avLst/>
              <a:gdLst>
                <a:gd name="T0" fmla="*/ 97 w 123"/>
                <a:gd name="T1" fmla="*/ 1 h 199"/>
                <a:gd name="T2" fmla="*/ 61 w 123"/>
                <a:gd name="T3" fmla="*/ 1 h 199"/>
                <a:gd name="T4" fmla="*/ 37 w 123"/>
                <a:gd name="T5" fmla="*/ 26 h 199"/>
                <a:gd name="T6" fmla="*/ 17 w 123"/>
                <a:gd name="T7" fmla="*/ 81 h 199"/>
                <a:gd name="T8" fmla="*/ 0 w 123"/>
                <a:gd name="T9" fmla="*/ 127 h 199"/>
                <a:gd name="T10" fmla="*/ 0 w 123"/>
                <a:gd name="T11" fmla="*/ 188 h 199"/>
                <a:gd name="T12" fmla="*/ 11 w 123"/>
                <a:gd name="T13" fmla="*/ 197 h 199"/>
                <a:gd name="T14" fmla="*/ 24 w 123"/>
                <a:gd name="T15" fmla="*/ 187 h 199"/>
                <a:gd name="T16" fmla="*/ 61 w 123"/>
                <a:gd name="T17" fmla="*/ 166 h 199"/>
                <a:gd name="T18" fmla="*/ 98 w 123"/>
                <a:gd name="T19" fmla="*/ 166 h 199"/>
                <a:gd name="T20" fmla="*/ 122 w 123"/>
                <a:gd name="T21" fmla="*/ 141 h 199"/>
                <a:gd name="T22" fmla="*/ 123 w 123"/>
                <a:gd name="T23" fmla="*/ 32 h 199"/>
                <a:gd name="T24" fmla="*/ 123 w 123"/>
                <a:gd name="T25" fmla="*/ 24 h 199"/>
                <a:gd name="T26" fmla="*/ 97 w 123"/>
                <a:gd name="T27" fmla="*/ 1 h 199"/>
                <a:gd name="T28" fmla="*/ 97 w 123"/>
                <a:gd name="T29" fmla="*/ 81 h 199"/>
                <a:gd name="T30" fmla="*/ 53 w 123"/>
                <a:gd name="T31" fmla="*/ 81 h 199"/>
                <a:gd name="T32" fmla="*/ 50 w 123"/>
                <a:gd name="T33" fmla="*/ 78 h 199"/>
                <a:gd name="T34" fmla="*/ 64 w 123"/>
                <a:gd name="T35" fmla="*/ 32 h 199"/>
                <a:gd name="T36" fmla="*/ 70 w 123"/>
                <a:gd name="T37" fmla="*/ 28 h 199"/>
                <a:gd name="T38" fmla="*/ 97 w 123"/>
                <a:gd name="T39" fmla="*/ 28 h 199"/>
                <a:gd name="T40" fmla="*/ 101 w 123"/>
                <a:gd name="T41" fmla="*/ 32 h 199"/>
                <a:gd name="T42" fmla="*/ 101 w 123"/>
                <a:gd name="T43" fmla="*/ 77 h 199"/>
                <a:gd name="T44" fmla="*/ 97 w 123"/>
                <a:gd name="T45" fmla="*/ 8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3" h="199">
                  <a:moveTo>
                    <a:pt x="97" y="1"/>
                  </a:moveTo>
                  <a:cubicBezTo>
                    <a:pt x="97" y="1"/>
                    <a:pt x="68" y="2"/>
                    <a:pt x="61" y="1"/>
                  </a:cubicBezTo>
                  <a:cubicBezTo>
                    <a:pt x="43" y="1"/>
                    <a:pt x="37" y="26"/>
                    <a:pt x="37" y="26"/>
                  </a:cubicBezTo>
                  <a:cubicBezTo>
                    <a:pt x="17" y="81"/>
                    <a:pt x="17" y="81"/>
                    <a:pt x="17" y="81"/>
                  </a:cubicBezTo>
                  <a:cubicBezTo>
                    <a:pt x="9" y="100"/>
                    <a:pt x="0" y="127"/>
                    <a:pt x="0" y="127"/>
                  </a:cubicBezTo>
                  <a:cubicBezTo>
                    <a:pt x="0" y="188"/>
                    <a:pt x="0" y="188"/>
                    <a:pt x="0" y="188"/>
                  </a:cubicBezTo>
                  <a:cubicBezTo>
                    <a:pt x="0" y="199"/>
                    <a:pt x="11" y="197"/>
                    <a:pt x="11" y="197"/>
                  </a:cubicBezTo>
                  <a:cubicBezTo>
                    <a:pt x="24" y="197"/>
                    <a:pt x="24" y="187"/>
                    <a:pt x="24" y="187"/>
                  </a:cubicBezTo>
                  <a:cubicBezTo>
                    <a:pt x="24" y="163"/>
                    <a:pt x="61" y="166"/>
                    <a:pt x="61" y="166"/>
                  </a:cubicBezTo>
                  <a:cubicBezTo>
                    <a:pt x="98" y="166"/>
                    <a:pt x="98" y="166"/>
                    <a:pt x="98" y="166"/>
                  </a:cubicBezTo>
                  <a:cubicBezTo>
                    <a:pt x="121" y="166"/>
                    <a:pt x="122" y="141"/>
                    <a:pt x="122" y="141"/>
                  </a:cubicBezTo>
                  <a:cubicBezTo>
                    <a:pt x="123" y="32"/>
                    <a:pt x="123" y="32"/>
                    <a:pt x="123" y="32"/>
                  </a:cubicBezTo>
                  <a:cubicBezTo>
                    <a:pt x="123" y="24"/>
                    <a:pt x="123" y="24"/>
                    <a:pt x="123" y="24"/>
                  </a:cubicBezTo>
                  <a:cubicBezTo>
                    <a:pt x="122" y="0"/>
                    <a:pt x="97" y="1"/>
                    <a:pt x="97" y="1"/>
                  </a:cubicBezTo>
                  <a:close/>
                  <a:moveTo>
                    <a:pt x="97" y="81"/>
                  </a:moveTo>
                  <a:cubicBezTo>
                    <a:pt x="53" y="81"/>
                    <a:pt x="53" y="81"/>
                    <a:pt x="53" y="81"/>
                  </a:cubicBezTo>
                  <a:cubicBezTo>
                    <a:pt x="50" y="81"/>
                    <a:pt x="49" y="80"/>
                    <a:pt x="50" y="78"/>
                  </a:cubicBezTo>
                  <a:cubicBezTo>
                    <a:pt x="64" y="32"/>
                    <a:pt x="64" y="32"/>
                    <a:pt x="64" y="32"/>
                  </a:cubicBezTo>
                  <a:cubicBezTo>
                    <a:pt x="65" y="29"/>
                    <a:pt x="67" y="28"/>
                    <a:pt x="70" y="28"/>
                  </a:cubicBezTo>
                  <a:cubicBezTo>
                    <a:pt x="97" y="28"/>
                    <a:pt x="97" y="28"/>
                    <a:pt x="97" y="28"/>
                  </a:cubicBezTo>
                  <a:cubicBezTo>
                    <a:pt x="99" y="28"/>
                    <a:pt x="101" y="29"/>
                    <a:pt x="101" y="32"/>
                  </a:cubicBezTo>
                  <a:cubicBezTo>
                    <a:pt x="101" y="77"/>
                    <a:pt x="101" y="77"/>
                    <a:pt x="101" y="77"/>
                  </a:cubicBezTo>
                  <a:cubicBezTo>
                    <a:pt x="101" y="80"/>
                    <a:pt x="99" y="81"/>
                    <a:pt x="97" y="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170" name="Freeform 90">
              <a:extLst>
                <a:ext uri="{FF2B5EF4-FFF2-40B4-BE49-F238E27FC236}">
                  <a16:creationId xmlns:a16="http://schemas.microsoft.com/office/drawing/2014/main" id="{06DBFA81-684D-47D5-9CE9-378ECB8E0ADD}"/>
                </a:ext>
              </a:extLst>
            </p:cNvPr>
            <p:cNvSpPr>
              <a:spLocks/>
            </p:cNvSpPr>
            <p:nvPr/>
          </p:nvSpPr>
          <p:spPr bwMode="auto">
            <a:xfrm>
              <a:off x="14012863" y="906463"/>
              <a:ext cx="884238" cy="915988"/>
            </a:xfrm>
            <a:custGeom>
              <a:avLst/>
              <a:gdLst>
                <a:gd name="T0" fmla="*/ 152 w 236"/>
                <a:gd name="T1" fmla="*/ 214 h 244"/>
                <a:gd name="T2" fmla="*/ 178 w 236"/>
                <a:gd name="T3" fmla="*/ 203 h 244"/>
                <a:gd name="T4" fmla="*/ 226 w 236"/>
                <a:gd name="T5" fmla="*/ 202 h 244"/>
                <a:gd name="T6" fmla="*/ 236 w 236"/>
                <a:gd name="T7" fmla="*/ 186 h 244"/>
                <a:gd name="T8" fmla="*/ 236 w 236"/>
                <a:gd name="T9" fmla="*/ 140 h 244"/>
                <a:gd name="T10" fmla="*/ 236 w 236"/>
                <a:gd name="T11" fmla="*/ 97 h 244"/>
                <a:gd name="T12" fmla="*/ 236 w 236"/>
                <a:gd name="T13" fmla="*/ 19 h 244"/>
                <a:gd name="T14" fmla="*/ 225 w 236"/>
                <a:gd name="T15" fmla="*/ 3 h 244"/>
                <a:gd name="T16" fmla="*/ 113 w 236"/>
                <a:gd name="T17" fmla="*/ 2 h 244"/>
                <a:gd name="T18" fmla="*/ 11 w 236"/>
                <a:gd name="T19" fmla="*/ 3 h 244"/>
                <a:gd name="T20" fmla="*/ 0 w 236"/>
                <a:gd name="T21" fmla="*/ 19 h 244"/>
                <a:gd name="T22" fmla="*/ 0 w 236"/>
                <a:gd name="T23" fmla="*/ 99 h 244"/>
                <a:gd name="T24" fmla="*/ 0 w 236"/>
                <a:gd name="T25" fmla="*/ 142 h 244"/>
                <a:gd name="T26" fmla="*/ 0 w 236"/>
                <a:gd name="T27" fmla="*/ 163 h 244"/>
                <a:gd name="T28" fmla="*/ 0 w 236"/>
                <a:gd name="T29" fmla="*/ 186 h 244"/>
                <a:gd name="T30" fmla="*/ 0 w 236"/>
                <a:gd name="T31" fmla="*/ 219 h 244"/>
                <a:gd name="T32" fmla="*/ 12 w 236"/>
                <a:gd name="T33" fmla="*/ 244 h 244"/>
                <a:gd name="T34" fmla="*/ 126 w 236"/>
                <a:gd name="T35" fmla="*/ 244 h 244"/>
                <a:gd name="T36" fmla="*/ 136 w 236"/>
                <a:gd name="T37" fmla="*/ 233 h 244"/>
                <a:gd name="T38" fmla="*/ 152 w 236"/>
                <a:gd name="T39" fmla="*/ 21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44">
                  <a:moveTo>
                    <a:pt x="152" y="214"/>
                  </a:moveTo>
                  <a:cubicBezTo>
                    <a:pt x="161" y="207"/>
                    <a:pt x="170" y="205"/>
                    <a:pt x="178" y="203"/>
                  </a:cubicBezTo>
                  <a:cubicBezTo>
                    <a:pt x="202" y="203"/>
                    <a:pt x="224" y="203"/>
                    <a:pt x="226" y="202"/>
                  </a:cubicBezTo>
                  <a:cubicBezTo>
                    <a:pt x="229" y="200"/>
                    <a:pt x="236" y="196"/>
                    <a:pt x="236" y="186"/>
                  </a:cubicBezTo>
                  <a:cubicBezTo>
                    <a:pt x="236" y="140"/>
                    <a:pt x="236" y="140"/>
                    <a:pt x="236" y="140"/>
                  </a:cubicBezTo>
                  <a:cubicBezTo>
                    <a:pt x="236" y="97"/>
                    <a:pt x="236" y="97"/>
                    <a:pt x="236" y="97"/>
                  </a:cubicBezTo>
                  <a:cubicBezTo>
                    <a:pt x="236" y="19"/>
                    <a:pt x="236" y="19"/>
                    <a:pt x="236" y="19"/>
                  </a:cubicBezTo>
                  <a:cubicBezTo>
                    <a:pt x="236" y="10"/>
                    <a:pt x="228" y="5"/>
                    <a:pt x="225" y="3"/>
                  </a:cubicBezTo>
                  <a:cubicBezTo>
                    <a:pt x="221" y="0"/>
                    <a:pt x="192" y="2"/>
                    <a:pt x="113" y="2"/>
                  </a:cubicBezTo>
                  <a:cubicBezTo>
                    <a:pt x="33" y="2"/>
                    <a:pt x="15" y="0"/>
                    <a:pt x="11" y="3"/>
                  </a:cubicBezTo>
                  <a:cubicBezTo>
                    <a:pt x="8" y="5"/>
                    <a:pt x="0" y="10"/>
                    <a:pt x="0" y="19"/>
                  </a:cubicBezTo>
                  <a:cubicBezTo>
                    <a:pt x="0" y="99"/>
                    <a:pt x="0" y="99"/>
                    <a:pt x="0" y="99"/>
                  </a:cubicBezTo>
                  <a:cubicBezTo>
                    <a:pt x="0" y="142"/>
                    <a:pt x="0" y="142"/>
                    <a:pt x="0" y="142"/>
                  </a:cubicBezTo>
                  <a:cubicBezTo>
                    <a:pt x="0" y="163"/>
                    <a:pt x="0" y="163"/>
                    <a:pt x="0" y="163"/>
                  </a:cubicBezTo>
                  <a:cubicBezTo>
                    <a:pt x="0" y="186"/>
                    <a:pt x="0" y="186"/>
                    <a:pt x="0" y="186"/>
                  </a:cubicBezTo>
                  <a:cubicBezTo>
                    <a:pt x="0" y="219"/>
                    <a:pt x="0" y="219"/>
                    <a:pt x="0" y="219"/>
                  </a:cubicBezTo>
                  <a:cubicBezTo>
                    <a:pt x="0" y="236"/>
                    <a:pt x="12" y="244"/>
                    <a:pt x="12" y="244"/>
                  </a:cubicBezTo>
                  <a:cubicBezTo>
                    <a:pt x="126" y="244"/>
                    <a:pt x="126" y="244"/>
                    <a:pt x="126" y="244"/>
                  </a:cubicBezTo>
                  <a:cubicBezTo>
                    <a:pt x="130" y="242"/>
                    <a:pt x="133" y="237"/>
                    <a:pt x="136" y="233"/>
                  </a:cubicBezTo>
                  <a:cubicBezTo>
                    <a:pt x="137" y="229"/>
                    <a:pt x="143" y="220"/>
                    <a:pt x="152" y="2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171" name="Freeform 91">
              <a:extLst>
                <a:ext uri="{FF2B5EF4-FFF2-40B4-BE49-F238E27FC236}">
                  <a16:creationId xmlns:a16="http://schemas.microsoft.com/office/drawing/2014/main" id="{BC60D5D4-1E7F-4C2E-AC79-DD8E7865627D}"/>
                </a:ext>
              </a:extLst>
            </p:cNvPr>
            <p:cNvSpPr>
              <a:spLocks noEditPoints="1"/>
            </p:cNvSpPr>
            <p:nvPr/>
          </p:nvSpPr>
          <p:spPr bwMode="auto">
            <a:xfrm>
              <a:off x="14558963" y="1773238"/>
              <a:ext cx="341313" cy="338138"/>
            </a:xfrm>
            <a:custGeom>
              <a:avLst/>
              <a:gdLst>
                <a:gd name="T0" fmla="*/ 45 w 91"/>
                <a:gd name="T1" fmla="*/ 0 h 90"/>
                <a:gd name="T2" fmla="*/ 0 w 91"/>
                <a:gd name="T3" fmla="*/ 44 h 90"/>
                <a:gd name="T4" fmla="*/ 45 w 91"/>
                <a:gd name="T5" fmla="*/ 90 h 90"/>
                <a:gd name="T6" fmla="*/ 91 w 91"/>
                <a:gd name="T7" fmla="*/ 44 h 90"/>
                <a:gd name="T8" fmla="*/ 45 w 91"/>
                <a:gd name="T9" fmla="*/ 0 h 90"/>
                <a:gd name="T10" fmla="*/ 74 w 91"/>
                <a:gd name="T11" fmla="*/ 56 h 90"/>
                <a:gd name="T12" fmla="*/ 59 w 91"/>
                <a:gd name="T13" fmla="*/ 74 h 90"/>
                <a:gd name="T14" fmla="*/ 45 w 91"/>
                <a:gd name="T15" fmla="*/ 77 h 90"/>
                <a:gd name="T16" fmla="*/ 18 w 91"/>
                <a:gd name="T17" fmla="*/ 60 h 90"/>
                <a:gd name="T18" fmla="*/ 32 w 91"/>
                <a:gd name="T19" fmla="*/ 19 h 90"/>
                <a:gd name="T20" fmla="*/ 45 w 91"/>
                <a:gd name="T21" fmla="*/ 15 h 90"/>
                <a:gd name="T22" fmla="*/ 73 w 91"/>
                <a:gd name="T23" fmla="*/ 33 h 90"/>
                <a:gd name="T24" fmla="*/ 74 w 91"/>
                <a:gd name="T25" fmla="*/ 5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90">
                  <a:moveTo>
                    <a:pt x="45" y="0"/>
                  </a:moveTo>
                  <a:cubicBezTo>
                    <a:pt x="19" y="0"/>
                    <a:pt x="0" y="19"/>
                    <a:pt x="0" y="44"/>
                  </a:cubicBezTo>
                  <a:cubicBezTo>
                    <a:pt x="0" y="70"/>
                    <a:pt x="19" y="90"/>
                    <a:pt x="45" y="90"/>
                  </a:cubicBezTo>
                  <a:cubicBezTo>
                    <a:pt x="70" y="90"/>
                    <a:pt x="91" y="70"/>
                    <a:pt x="91" y="44"/>
                  </a:cubicBezTo>
                  <a:cubicBezTo>
                    <a:pt x="91" y="19"/>
                    <a:pt x="70" y="0"/>
                    <a:pt x="45" y="0"/>
                  </a:cubicBezTo>
                  <a:close/>
                  <a:moveTo>
                    <a:pt x="74" y="56"/>
                  </a:moveTo>
                  <a:cubicBezTo>
                    <a:pt x="72" y="64"/>
                    <a:pt x="66" y="70"/>
                    <a:pt x="59" y="74"/>
                  </a:cubicBezTo>
                  <a:cubicBezTo>
                    <a:pt x="55" y="76"/>
                    <a:pt x="50" y="77"/>
                    <a:pt x="45" y="77"/>
                  </a:cubicBezTo>
                  <a:cubicBezTo>
                    <a:pt x="33" y="77"/>
                    <a:pt x="23" y="70"/>
                    <a:pt x="18" y="60"/>
                  </a:cubicBezTo>
                  <a:cubicBezTo>
                    <a:pt x="10" y="44"/>
                    <a:pt x="17" y="26"/>
                    <a:pt x="32" y="19"/>
                  </a:cubicBezTo>
                  <a:cubicBezTo>
                    <a:pt x="36" y="16"/>
                    <a:pt x="41" y="15"/>
                    <a:pt x="45" y="15"/>
                  </a:cubicBezTo>
                  <a:cubicBezTo>
                    <a:pt x="57" y="15"/>
                    <a:pt x="68" y="22"/>
                    <a:pt x="73" y="33"/>
                  </a:cubicBezTo>
                  <a:cubicBezTo>
                    <a:pt x="77" y="40"/>
                    <a:pt x="77" y="49"/>
                    <a:pt x="74" y="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172" name="Freeform 92">
              <a:extLst>
                <a:ext uri="{FF2B5EF4-FFF2-40B4-BE49-F238E27FC236}">
                  <a16:creationId xmlns:a16="http://schemas.microsoft.com/office/drawing/2014/main" id="{23F9C2BB-D120-402C-B071-452DBE29BE32}"/>
                </a:ext>
              </a:extLst>
            </p:cNvPr>
            <p:cNvSpPr>
              <a:spLocks/>
            </p:cNvSpPr>
            <p:nvPr/>
          </p:nvSpPr>
          <p:spPr bwMode="auto">
            <a:xfrm>
              <a:off x="14660563" y="1866900"/>
              <a:ext cx="150813" cy="161925"/>
            </a:xfrm>
            <a:custGeom>
              <a:avLst/>
              <a:gdLst>
                <a:gd name="T0" fmla="*/ 12 w 40"/>
                <a:gd name="T1" fmla="*/ 4 h 43"/>
                <a:gd name="T2" fmla="*/ 11 w 40"/>
                <a:gd name="T3" fmla="*/ 6 h 43"/>
                <a:gd name="T4" fmla="*/ 11 w 40"/>
                <a:gd name="T5" fmla="*/ 6 h 43"/>
                <a:gd name="T6" fmla="*/ 12 w 40"/>
                <a:gd name="T7" fmla="*/ 7 h 43"/>
                <a:gd name="T8" fmla="*/ 14 w 40"/>
                <a:gd name="T9" fmla="*/ 8 h 43"/>
                <a:gd name="T10" fmla="*/ 16 w 40"/>
                <a:gd name="T11" fmla="*/ 11 h 43"/>
                <a:gd name="T12" fmla="*/ 11 w 40"/>
                <a:gd name="T13" fmla="*/ 22 h 43"/>
                <a:gd name="T14" fmla="*/ 3 w 40"/>
                <a:gd name="T15" fmla="*/ 21 h 43"/>
                <a:gd name="T16" fmla="*/ 1 w 40"/>
                <a:gd name="T17" fmla="*/ 20 h 43"/>
                <a:gd name="T18" fmla="*/ 0 w 40"/>
                <a:gd name="T19" fmla="*/ 21 h 43"/>
                <a:gd name="T20" fmla="*/ 0 w 40"/>
                <a:gd name="T21" fmla="*/ 21 h 43"/>
                <a:gd name="T22" fmla="*/ 0 w 40"/>
                <a:gd name="T23" fmla="*/ 21 h 43"/>
                <a:gd name="T24" fmla="*/ 0 w 40"/>
                <a:gd name="T25" fmla="*/ 21 h 43"/>
                <a:gd name="T26" fmla="*/ 0 w 40"/>
                <a:gd name="T27" fmla="*/ 21 h 43"/>
                <a:gd name="T28" fmla="*/ 0 w 40"/>
                <a:gd name="T29" fmla="*/ 21 h 43"/>
                <a:gd name="T30" fmla="*/ 0 w 40"/>
                <a:gd name="T31" fmla="*/ 22 h 43"/>
                <a:gd name="T32" fmla="*/ 0 w 40"/>
                <a:gd name="T33" fmla="*/ 22 h 43"/>
                <a:gd name="T34" fmla="*/ 1 w 40"/>
                <a:gd name="T35" fmla="*/ 28 h 43"/>
                <a:gd name="T36" fmla="*/ 26 w 40"/>
                <a:gd name="T37" fmla="*/ 39 h 43"/>
                <a:gd name="T38" fmla="*/ 36 w 40"/>
                <a:gd name="T39" fmla="*/ 14 h 43"/>
                <a:gd name="T40" fmla="*/ 12 w 40"/>
                <a:gd name="T41" fmla="*/ 4 h 43"/>
                <a:gd name="T42" fmla="*/ 12 w 40"/>
                <a:gd name="T43" fmla="*/ 4 h 43"/>
                <a:gd name="T44" fmla="*/ 12 w 40"/>
                <a:gd name="T45"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43">
                  <a:moveTo>
                    <a:pt x="12" y="4"/>
                  </a:moveTo>
                  <a:cubicBezTo>
                    <a:pt x="11" y="4"/>
                    <a:pt x="11" y="5"/>
                    <a:pt x="11" y="6"/>
                  </a:cubicBezTo>
                  <a:cubicBezTo>
                    <a:pt x="11" y="6"/>
                    <a:pt x="11" y="6"/>
                    <a:pt x="11" y="6"/>
                  </a:cubicBezTo>
                  <a:cubicBezTo>
                    <a:pt x="11" y="7"/>
                    <a:pt x="12" y="7"/>
                    <a:pt x="12" y="7"/>
                  </a:cubicBezTo>
                  <a:cubicBezTo>
                    <a:pt x="12" y="7"/>
                    <a:pt x="13" y="7"/>
                    <a:pt x="14" y="8"/>
                  </a:cubicBezTo>
                  <a:cubicBezTo>
                    <a:pt x="15" y="9"/>
                    <a:pt x="15" y="10"/>
                    <a:pt x="16" y="11"/>
                  </a:cubicBezTo>
                  <a:cubicBezTo>
                    <a:pt x="18" y="15"/>
                    <a:pt x="16" y="20"/>
                    <a:pt x="11" y="22"/>
                  </a:cubicBezTo>
                  <a:cubicBezTo>
                    <a:pt x="8" y="23"/>
                    <a:pt x="5" y="23"/>
                    <a:pt x="3" y="21"/>
                  </a:cubicBezTo>
                  <a:cubicBezTo>
                    <a:pt x="2" y="20"/>
                    <a:pt x="2" y="20"/>
                    <a:pt x="1" y="20"/>
                  </a:cubicBezTo>
                  <a:cubicBezTo>
                    <a:pt x="1" y="20"/>
                    <a:pt x="1" y="20"/>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0" y="24"/>
                    <a:pt x="0" y="26"/>
                    <a:pt x="1" y="28"/>
                  </a:cubicBezTo>
                  <a:cubicBezTo>
                    <a:pt x="5" y="38"/>
                    <a:pt x="16" y="43"/>
                    <a:pt x="26" y="39"/>
                  </a:cubicBezTo>
                  <a:cubicBezTo>
                    <a:pt x="35" y="35"/>
                    <a:pt x="40" y="24"/>
                    <a:pt x="36" y="14"/>
                  </a:cubicBezTo>
                  <a:cubicBezTo>
                    <a:pt x="32" y="5"/>
                    <a:pt x="21" y="0"/>
                    <a:pt x="12" y="4"/>
                  </a:cubicBezTo>
                  <a:cubicBezTo>
                    <a:pt x="12" y="4"/>
                    <a:pt x="12" y="4"/>
                    <a:pt x="12" y="4"/>
                  </a:cubicBezTo>
                  <a:cubicBezTo>
                    <a:pt x="12" y="4"/>
                    <a:pt x="12" y="4"/>
                    <a:pt x="1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173" name="Freeform 93">
              <a:extLst>
                <a:ext uri="{FF2B5EF4-FFF2-40B4-BE49-F238E27FC236}">
                  <a16:creationId xmlns:a16="http://schemas.microsoft.com/office/drawing/2014/main" id="{D719B899-BF8D-4AE2-80FC-DB800AE8CD6B}"/>
                </a:ext>
              </a:extLst>
            </p:cNvPr>
            <p:cNvSpPr>
              <a:spLocks noEditPoints="1"/>
            </p:cNvSpPr>
            <p:nvPr/>
          </p:nvSpPr>
          <p:spPr bwMode="auto">
            <a:xfrm>
              <a:off x="13611225" y="1773238"/>
              <a:ext cx="341313" cy="338138"/>
            </a:xfrm>
            <a:custGeom>
              <a:avLst/>
              <a:gdLst>
                <a:gd name="T0" fmla="*/ 45 w 91"/>
                <a:gd name="T1" fmla="*/ 0 h 90"/>
                <a:gd name="T2" fmla="*/ 0 w 91"/>
                <a:gd name="T3" fmla="*/ 44 h 90"/>
                <a:gd name="T4" fmla="*/ 45 w 91"/>
                <a:gd name="T5" fmla="*/ 90 h 90"/>
                <a:gd name="T6" fmla="*/ 91 w 91"/>
                <a:gd name="T7" fmla="*/ 44 h 90"/>
                <a:gd name="T8" fmla="*/ 45 w 91"/>
                <a:gd name="T9" fmla="*/ 0 h 90"/>
                <a:gd name="T10" fmla="*/ 75 w 91"/>
                <a:gd name="T11" fmla="*/ 56 h 90"/>
                <a:gd name="T12" fmla="*/ 59 w 91"/>
                <a:gd name="T13" fmla="*/ 74 h 90"/>
                <a:gd name="T14" fmla="*/ 46 w 91"/>
                <a:gd name="T15" fmla="*/ 77 h 90"/>
                <a:gd name="T16" fmla="*/ 18 w 91"/>
                <a:gd name="T17" fmla="*/ 60 h 90"/>
                <a:gd name="T18" fmla="*/ 32 w 91"/>
                <a:gd name="T19" fmla="*/ 19 h 90"/>
                <a:gd name="T20" fmla="*/ 46 w 91"/>
                <a:gd name="T21" fmla="*/ 15 h 90"/>
                <a:gd name="T22" fmla="*/ 73 w 91"/>
                <a:gd name="T23" fmla="*/ 33 h 90"/>
                <a:gd name="T24" fmla="*/ 75 w 91"/>
                <a:gd name="T25" fmla="*/ 5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90">
                  <a:moveTo>
                    <a:pt x="45" y="0"/>
                  </a:moveTo>
                  <a:cubicBezTo>
                    <a:pt x="20" y="0"/>
                    <a:pt x="0" y="19"/>
                    <a:pt x="0" y="44"/>
                  </a:cubicBezTo>
                  <a:cubicBezTo>
                    <a:pt x="0" y="70"/>
                    <a:pt x="20" y="90"/>
                    <a:pt x="45" y="90"/>
                  </a:cubicBezTo>
                  <a:cubicBezTo>
                    <a:pt x="71" y="90"/>
                    <a:pt x="91" y="70"/>
                    <a:pt x="91" y="44"/>
                  </a:cubicBezTo>
                  <a:cubicBezTo>
                    <a:pt x="91" y="19"/>
                    <a:pt x="71" y="0"/>
                    <a:pt x="45" y="0"/>
                  </a:cubicBezTo>
                  <a:close/>
                  <a:moveTo>
                    <a:pt x="75" y="56"/>
                  </a:moveTo>
                  <a:cubicBezTo>
                    <a:pt x="72" y="64"/>
                    <a:pt x="67" y="70"/>
                    <a:pt x="59" y="74"/>
                  </a:cubicBezTo>
                  <a:cubicBezTo>
                    <a:pt x="55" y="76"/>
                    <a:pt x="50" y="77"/>
                    <a:pt x="46" y="77"/>
                  </a:cubicBezTo>
                  <a:cubicBezTo>
                    <a:pt x="34" y="77"/>
                    <a:pt x="23" y="70"/>
                    <a:pt x="18" y="60"/>
                  </a:cubicBezTo>
                  <a:cubicBezTo>
                    <a:pt x="11" y="44"/>
                    <a:pt x="17" y="26"/>
                    <a:pt x="32" y="19"/>
                  </a:cubicBezTo>
                  <a:cubicBezTo>
                    <a:pt x="36" y="16"/>
                    <a:pt x="41" y="15"/>
                    <a:pt x="46" y="15"/>
                  </a:cubicBezTo>
                  <a:cubicBezTo>
                    <a:pt x="57" y="15"/>
                    <a:pt x="68" y="22"/>
                    <a:pt x="73" y="33"/>
                  </a:cubicBezTo>
                  <a:cubicBezTo>
                    <a:pt x="77" y="40"/>
                    <a:pt x="78" y="49"/>
                    <a:pt x="75" y="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174" name="Freeform 94">
              <a:extLst>
                <a:ext uri="{FF2B5EF4-FFF2-40B4-BE49-F238E27FC236}">
                  <a16:creationId xmlns:a16="http://schemas.microsoft.com/office/drawing/2014/main" id="{BDDFD056-A673-4713-BEB3-14D8DA7567C4}"/>
                </a:ext>
              </a:extLst>
            </p:cNvPr>
            <p:cNvSpPr>
              <a:spLocks/>
            </p:cNvSpPr>
            <p:nvPr/>
          </p:nvSpPr>
          <p:spPr bwMode="auto">
            <a:xfrm>
              <a:off x="13712825" y="1866900"/>
              <a:ext cx="149225" cy="161925"/>
            </a:xfrm>
            <a:custGeom>
              <a:avLst/>
              <a:gdLst>
                <a:gd name="T0" fmla="*/ 12 w 40"/>
                <a:gd name="T1" fmla="*/ 4 h 43"/>
                <a:gd name="T2" fmla="*/ 11 w 40"/>
                <a:gd name="T3" fmla="*/ 6 h 43"/>
                <a:gd name="T4" fmla="*/ 12 w 40"/>
                <a:gd name="T5" fmla="*/ 6 h 43"/>
                <a:gd name="T6" fmla="*/ 12 w 40"/>
                <a:gd name="T7" fmla="*/ 7 h 43"/>
                <a:gd name="T8" fmla="*/ 14 w 40"/>
                <a:gd name="T9" fmla="*/ 8 h 43"/>
                <a:gd name="T10" fmla="*/ 16 w 40"/>
                <a:gd name="T11" fmla="*/ 11 h 43"/>
                <a:gd name="T12" fmla="*/ 12 w 40"/>
                <a:gd name="T13" fmla="*/ 22 h 43"/>
                <a:gd name="T14" fmla="*/ 3 w 40"/>
                <a:gd name="T15" fmla="*/ 21 h 43"/>
                <a:gd name="T16" fmla="*/ 1 w 40"/>
                <a:gd name="T17" fmla="*/ 20 h 43"/>
                <a:gd name="T18" fmla="*/ 1 w 40"/>
                <a:gd name="T19" fmla="*/ 21 h 43"/>
                <a:gd name="T20" fmla="*/ 1 w 40"/>
                <a:gd name="T21" fmla="*/ 21 h 43"/>
                <a:gd name="T22" fmla="*/ 1 w 40"/>
                <a:gd name="T23" fmla="*/ 21 h 43"/>
                <a:gd name="T24" fmla="*/ 1 w 40"/>
                <a:gd name="T25" fmla="*/ 21 h 43"/>
                <a:gd name="T26" fmla="*/ 0 w 40"/>
                <a:gd name="T27" fmla="*/ 21 h 43"/>
                <a:gd name="T28" fmla="*/ 0 w 40"/>
                <a:gd name="T29" fmla="*/ 21 h 43"/>
                <a:gd name="T30" fmla="*/ 0 w 40"/>
                <a:gd name="T31" fmla="*/ 22 h 43"/>
                <a:gd name="T32" fmla="*/ 0 w 40"/>
                <a:gd name="T33" fmla="*/ 22 h 43"/>
                <a:gd name="T34" fmla="*/ 2 w 40"/>
                <a:gd name="T35" fmla="*/ 28 h 43"/>
                <a:gd name="T36" fmla="*/ 26 w 40"/>
                <a:gd name="T37" fmla="*/ 39 h 43"/>
                <a:gd name="T38" fmla="*/ 36 w 40"/>
                <a:gd name="T39" fmla="*/ 14 h 43"/>
                <a:gd name="T40" fmla="*/ 12 w 40"/>
                <a:gd name="T41" fmla="*/ 4 h 43"/>
                <a:gd name="T42" fmla="*/ 12 w 40"/>
                <a:gd name="T43" fmla="*/ 4 h 43"/>
                <a:gd name="T44" fmla="*/ 12 w 40"/>
                <a:gd name="T45"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43">
                  <a:moveTo>
                    <a:pt x="12" y="4"/>
                  </a:moveTo>
                  <a:cubicBezTo>
                    <a:pt x="11" y="4"/>
                    <a:pt x="11" y="5"/>
                    <a:pt x="11" y="6"/>
                  </a:cubicBezTo>
                  <a:cubicBezTo>
                    <a:pt x="11" y="6"/>
                    <a:pt x="12" y="6"/>
                    <a:pt x="12" y="6"/>
                  </a:cubicBezTo>
                  <a:cubicBezTo>
                    <a:pt x="12" y="7"/>
                    <a:pt x="12" y="7"/>
                    <a:pt x="12" y="7"/>
                  </a:cubicBezTo>
                  <a:cubicBezTo>
                    <a:pt x="13" y="7"/>
                    <a:pt x="13" y="7"/>
                    <a:pt x="14" y="8"/>
                  </a:cubicBezTo>
                  <a:cubicBezTo>
                    <a:pt x="15" y="9"/>
                    <a:pt x="16" y="10"/>
                    <a:pt x="16" y="11"/>
                  </a:cubicBezTo>
                  <a:cubicBezTo>
                    <a:pt x="18" y="15"/>
                    <a:pt x="16" y="20"/>
                    <a:pt x="12" y="22"/>
                  </a:cubicBezTo>
                  <a:cubicBezTo>
                    <a:pt x="9" y="23"/>
                    <a:pt x="5" y="23"/>
                    <a:pt x="3" y="21"/>
                  </a:cubicBezTo>
                  <a:cubicBezTo>
                    <a:pt x="3" y="20"/>
                    <a:pt x="2" y="20"/>
                    <a:pt x="1" y="20"/>
                  </a:cubicBezTo>
                  <a:cubicBezTo>
                    <a:pt x="1" y="20"/>
                    <a:pt x="1" y="20"/>
                    <a:pt x="1" y="21"/>
                  </a:cubicBezTo>
                  <a:cubicBezTo>
                    <a:pt x="1" y="21"/>
                    <a:pt x="1" y="21"/>
                    <a:pt x="1" y="21"/>
                  </a:cubicBezTo>
                  <a:cubicBezTo>
                    <a:pt x="1" y="21"/>
                    <a:pt x="1" y="21"/>
                    <a:pt x="1" y="21"/>
                  </a:cubicBezTo>
                  <a:cubicBezTo>
                    <a:pt x="1" y="21"/>
                    <a:pt x="1" y="21"/>
                    <a:pt x="1" y="21"/>
                  </a:cubicBezTo>
                  <a:cubicBezTo>
                    <a:pt x="0" y="21"/>
                    <a:pt x="0" y="21"/>
                    <a:pt x="0" y="21"/>
                  </a:cubicBezTo>
                  <a:cubicBezTo>
                    <a:pt x="0" y="21"/>
                    <a:pt x="0" y="21"/>
                    <a:pt x="0" y="21"/>
                  </a:cubicBezTo>
                  <a:cubicBezTo>
                    <a:pt x="0" y="22"/>
                    <a:pt x="0" y="22"/>
                    <a:pt x="0" y="22"/>
                  </a:cubicBezTo>
                  <a:cubicBezTo>
                    <a:pt x="0" y="22"/>
                    <a:pt x="0" y="22"/>
                    <a:pt x="0" y="22"/>
                  </a:cubicBezTo>
                  <a:cubicBezTo>
                    <a:pt x="0" y="24"/>
                    <a:pt x="1" y="26"/>
                    <a:pt x="2" y="28"/>
                  </a:cubicBezTo>
                  <a:cubicBezTo>
                    <a:pt x="6" y="38"/>
                    <a:pt x="16" y="43"/>
                    <a:pt x="26" y="39"/>
                  </a:cubicBezTo>
                  <a:cubicBezTo>
                    <a:pt x="36" y="35"/>
                    <a:pt x="40" y="24"/>
                    <a:pt x="36" y="14"/>
                  </a:cubicBezTo>
                  <a:cubicBezTo>
                    <a:pt x="33" y="5"/>
                    <a:pt x="22" y="0"/>
                    <a:pt x="12" y="4"/>
                  </a:cubicBezTo>
                  <a:cubicBezTo>
                    <a:pt x="12" y="4"/>
                    <a:pt x="12" y="4"/>
                    <a:pt x="12" y="4"/>
                  </a:cubicBezTo>
                  <a:cubicBezTo>
                    <a:pt x="12" y="4"/>
                    <a:pt x="12" y="4"/>
                    <a:pt x="1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grpSp>
      <p:sp>
        <p:nvSpPr>
          <p:cNvPr id="175" name="Freeform 19">
            <a:extLst>
              <a:ext uri="{FF2B5EF4-FFF2-40B4-BE49-F238E27FC236}">
                <a16:creationId xmlns:a16="http://schemas.microsoft.com/office/drawing/2014/main" id="{D179024C-5FA9-4B5B-81B4-91A8977FC034}"/>
              </a:ext>
            </a:extLst>
          </p:cNvPr>
          <p:cNvSpPr>
            <a:spLocks/>
          </p:cNvSpPr>
          <p:nvPr/>
        </p:nvSpPr>
        <p:spPr bwMode="auto">
          <a:xfrm>
            <a:off x="10643493" y="2358530"/>
            <a:ext cx="94445" cy="107954"/>
          </a:xfrm>
          <a:custGeom>
            <a:avLst/>
            <a:gdLst>
              <a:gd name="T0" fmla="*/ 110 w 111"/>
              <a:gd name="T1" fmla="*/ 46 h 128"/>
              <a:gd name="T2" fmla="*/ 106 w 111"/>
              <a:gd name="T3" fmla="*/ 44 h 128"/>
              <a:gd name="T4" fmla="*/ 53 w 111"/>
              <a:gd name="T5" fmla="*/ 44 h 128"/>
              <a:gd name="T6" fmla="*/ 79 w 111"/>
              <a:gd name="T7" fmla="*/ 8 h 128"/>
              <a:gd name="T8" fmla="*/ 80 w 111"/>
              <a:gd name="T9" fmla="*/ 3 h 128"/>
              <a:gd name="T10" fmla="*/ 75 w 111"/>
              <a:gd name="T11" fmla="*/ 0 h 128"/>
              <a:gd name="T12" fmla="*/ 43 w 111"/>
              <a:gd name="T13" fmla="*/ 0 h 128"/>
              <a:gd name="T14" fmla="*/ 36 w 111"/>
              <a:gd name="T15" fmla="*/ 4 h 128"/>
              <a:gd name="T16" fmla="*/ 1 w 111"/>
              <a:gd name="T17" fmla="*/ 62 h 128"/>
              <a:gd name="T18" fmla="*/ 1 w 111"/>
              <a:gd name="T19" fmla="*/ 68 h 128"/>
              <a:gd name="T20" fmla="*/ 5 w 111"/>
              <a:gd name="T21" fmla="*/ 70 h 128"/>
              <a:gd name="T22" fmla="*/ 64 w 111"/>
              <a:gd name="T23" fmla="*/ 70 h 128"/>
              <a:gd name="T24" fmla="*/ 35 w 111"/>
              <a:gd name="T25" fmla="*/ 121 h 128"/>
              <a:gd name="T26" fmla="*/ 35 w 111"/>
              <a:gd name="T27" fmla="*/ 126 h 128"/>
              <a:gd name="T28" fmla="*/ 40 w 111"/>
              <a:gd name="T29" fmla="*/ 128 h 128"/>
              <a:gd name="T30" fmla="*/ 41 w 111"/>
              <a:gd name="T31" fmla="*/ 128 h 128"/>
              <a:gd name="T32" fmla="*/ 49 w 111"/>
              <a:gd name="T33" fmla="*/ 124 h 128"/>
              <a:gd name="T34" fmla="*/ 109 w 111"/>
              <a:gd name="T35" fmla="*/ 51 h 128"/>
              <a:gd name="T36" fmla="*/ 110 w 111"/>
              <a:gd name="T37" fmla="*/ 4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1" h="128">
                <a:moveTo>
                  <a:pt x="110" y="46"/>
                </a:moveTo>
                <a:cubicBezTo>
                  <a:pt x="110" y="45"/>
                  <a:pt x="108" y="44"/>
                  <a:pt x="106" y="44"/>
                </a:cubicBezTo>
                <a:cubicBezTo>
                  <a:pt x="53" y="44"/>
                  <a:pt x="53" y="44"/>
                  <a:pt x="53" y="44"/>
                </a:cubicBezTo>
                <a:cubicBezTo>
                  <a:pt x="79" y="8"/>
                  <a:pt x="79" y="8"/>
                  <a:pt x="79" y="8"/>
                </a:cubicBezTo>
                <a:cubicBezTo>
                  <a:pt x="80" y="6"/>
                  <a:pt x="80" y="4"/>
                  <a:pt x="80" y="3"/>
                </a:cubicBezTo>
                <a:cubicBezTo>
                  <a:pt x="79" y="1"/>
                  <a:pt x="77" y="0"/>
                  <a:pt x="75" y="0"/>
                </a:cubicBezTo>
                <a:cubicBezTo>
                  <a:pt x="43" y="0"/>
                  <a:pt x="43" y="0"/>
                  <a:pt x="43" y="0"/>
                </a:cubicBezTo>
                <a:cubicBezTo>
                  <a:pt x="40" y="0"/>
                  <a:pt x="37" y="2"/>
                  <a:pt x="36" y="4"/>
                </a:cubicBezTo>
                <a:cubicBezTo>
                  <a:pt x="1" y="62"/>
                  <a:pt x="1" y="62"/>
                  <a:pt x="1" y="62"/>
                </a:cubicBezTo>
                <a:cubicBezTo>
                  <a:pt x="0" y="64"/>
                  <a:pt x="0" y="66"/>
                  <a:pt x="1" y="68"/>
                </a:cubicBezTo>
                <a:cubicBezTo>
                  <a:pt x="2" y="69"/>
                  <a:pt x="3" y="70"/>
                  <a:pt x="5" y="70"/>
                </a:cubicBezTo>
                <a:cubicBezTo>
                  <a:pt x="64" y="70"/>
                  <a:pt x="64" y="70"/>
                  <a:pt x="64" y="70"/>
                </a:cubicBezTo>
                <a:cubicBezTo>
                  <a:pt x="35" y="121"/>
                  <a:pt x="35" y="121"/>
                  <a:pt x="35" y="121"/>
                </a:cubicBezTo>
                <a:cubicBezTo>
                  <a:pt x="34" y="122"/>
                  <a:pt x="34" y="124"/>
                  <a:pt x="35" y="126"/>
                </a:cubicBezTo>
                <a:cubicBezTo>
                  <a:pt x="36" y="127"/>
                  <a:pt x="38" y="128"/>
                  <a:pt x="40" y="128"/>
                </a:cubicBezTo>
                <a:cubicBezTo>
                  <a:pt x="41" y="128"/>
                  <a:pt x="41" y="128"/>
                  <a:pt x="41" y="128"/>
                </a:cubicBezTo>
                <a:cubicBezTo>
                  <a:pt x="44" y="128"/>
                  <a:pt x="47" y="126"/>
                  <a:pt x="49" y="124"/>
                </a:cubicBezTo>
                <a:cubicBezTo>
                  <a:pt x="109" y="51"/>
                  <a:pt x="109" y="51"/>
                  <a:pt x="109" y="51"/>
                </a:cubicBezTo>
                <a:cubicBezTo>
                  <a:pt x="111" y="49"/>
                  <a:pt x="110" y="47"/>
                  <a:pt x="110" y="46"/>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B1B3B3">
                  <a:lumMod val="60000"/>
                  <a:lumOff val="40000"/>
                </a:srgbClr>
              </a:solidFill>
              <a:effectLst/>
              <a:uLnTx/>
              <a:uFillTx/>
              <a:latin typeface="GE Inspira Sans"/>
              <a:ea typeface="+mn-ea"/>
              <a:cs typeface="+mn-cs"/>
            </a:endParaRPr>
          </a:p>
        </p:txBody>
      </p:sp>
      <p:sp>
        <p:nvSpPr>
          <p:cNvPr id="176" name="TextBox 79">
            <a:extLst>
              <a:ext uri="{FF2B5EF4-FFF2-40B4-BE49-F238E27FC236}">
                <a16:creationId xmlns:a16="http://schemas.microsoft.com/office/drawing/2014/main" id="{A71868B7-4FF6-48C5-9D1F-79A353553E06}"/>
              </a:ext>
            </a:extLst>
          </p:cNvPr>
          <p:cNvSpPr txBox="1"/>
          <p:nvPr/>
        </p:nvSpPr>
        <p:spPr>
          <a:xfrm>
            <a:off x="767707" y="3830099"/>
            <a:ext cx="847989"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BF6F"/>
                </a:solidFill>
                <a:effectLst/>
                <a:uLnTx/>
                <a:uFillTx/>
                <a:latin typeface="GE Inspira Sans"/>
                <a:ea typeface="+mn-ea"/>
                <a:cs typeface="+mn-cs"/>
              </a:rPr>
              <a:t>~0%</a:t>
            </a:r>
          </a:p>
        </p:txBody>
      </p:sp>
      <p:sp>
        <p:nvSpPr>
          <p:cNvPr id="177" name="TextBox 80">
            <a:extLst>
              <a:ext uri="{FF2B5EF4-FFF2-40B4-BE49-F238E27FC236}">
                <a16:creationId xmlns:a16="http://schemas.microsoft.com/office/drawing/2014/main" id="{660794D9-DF04-4B1B-A43C-0D937E4B45F7}"/>
              </a:ext>
            </a:extLst>
          </p:cNvPr>
          <p:cNvSpPr txBox="1"/>
          <p:nvPr/>
        </p:nvSpPr>
        <p:spPr>
          <a:xfrm>
            <a:off x="10785158" y="3929194"/>
            <a:ext cx="1126755" cy="492443"/>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BF6F"/>
                </a:solidFill>
                <a:effectLst/>
                <a:uLnTx/>
                <a:uFillTx/>
                <a:latin typeface="GE Inspira Sans"/>
                <a:ea typeface="+mn-ea"/>
                <a:cs typeface="+mn-cs"/>
              </a:rPr>
              <a:t>&gt;60%</a:t>
            </a:r>
          </a:p>
        </p:txBody>
      </p:sp>
      <p:sp>
        <p:nvSpPr>
          <p:cNvPr id="178" name="TextBox 81">
            <a:extLst>
              <a:ext uri="{FF2B5EF4-FFF2-40B4-BE49-F238E27FC236}">
                <a16:creationId xmlns:a16="http://schemas.microsoft.com/office/drawing/2014/main" id="{CE3BE619-C2DE-4D34-930B-84D587238C91}"/>
              </a:ext>
            </a:extLst>
          </p:cNvPr>
          <p:cNvSpPr txBox="1"/>
          <p:nvPr/>
        </p:nvSpPr>
        <p:spPr>
          <a:xfrm>
            <a:off x="5896674" y="3814334"/>
            <a:ext cx="1126755"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BF6F"/>
                </a:solidFill>
                <a:effectLst/>
                <a:uLnTx/>
                <a:uFillTx/>
                <a:latin typeface="GE Inspira Sans"/>
                <a:ea typeface="+mn-ea"/>
                <a:cs typeface="+mn-cs"/>
              </a:rPr>
              <a:t>~30%</a:t>
            </a:r>
          </a:p>
        </p:txBody>
      </p:sp>
      <p:sp>
        <p:nvSpPr>
          <p:cNvPr id="179" name="Rectangle 178">
            <a:extLst>
              <a:ext uri="{FF2B5EF4-FFF2-40B4-BE49-F238E27FC236}">
                <a16:creationId xmlns:a16="http://schemas.microsoft.com/office/drawing/2014/main" id="{2FE2FC04-98F9-4309-AEEC-DCFE52890E63}"/>
              </a:ext>
            </a:extLst>
          </p:cNvPr>
          <p:cNvSpPr/>
          <p:nvPr/>
        </p:nvSpPr>
        <p:spPr>
          <a:xfrm>
            <a:off x="10945378" y="4374110"/>
            <a:ext cx="1206584" cy="451406"/>
          </a:xfrm>
          <a:prstGeom prst="rect">
            <a:avLst/>
          </a:prstGeom>
          <a:noFill/>
        </p:spPr>
        <p:txBody>
          <a:bodyPr wrap="square">
            <a:spAutoFit/>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F6F"/>
                </a:solidFill>
                <a:effectLst/>
                <a:uLnTx/>
                <a:uFillTx/>
                <a:latin typeface="GE Inspira Sans"/>
                <a:ea typeface="+mn-ea"/>
                <a:cs typeface="+mn-cs"/>
              </a:rPr>
              <a:t>variable renewables</a:t>
            </a:r>
          </a:p>
        </p:txBody>
      </p:sp>
      <p:sp>
        <p:nvSpPr>
          <p:cNvPr id="180" name="object 130">
            <a:extLst>
              <a:ext uri="{FF2B5EF4-FFF2-40B4-BE49-F238E27FC236}">
                <a16:creationId xmlns:a16="http://schemas.microsoft.com/office/drawing/2014/main" id="{61AC9D13-F49A-4766-A152-67375A12B49F}"/>
              </a:ext>
            </a:extLst>
          </p:cNvPr>
          <p:cNvSpPr txBox="1"/>
          <p:nvPr/>
        </p:nvSpPr>
        <p:spPr>
          <a:xfrm rot="20400000">
            <a:off x="2084963" y="1755868"/>
            <a:ext cx="1858886" cy="259686"/>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600" b="0"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04 </a:t>
            </a:r>
            <a:r>
              <a:rPr kumimoji="0" lang="en-US" sz="1600" b="1"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New York </a:t>
            </a:r>
            <a:r>
              <a:rPr kumimoji="0" lang="en-US" sz="1600" b="0"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4</a:t>
            </a:r>
            <a:r>
              <a:rPr kumimoji="0" sz="1600" b="0"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a:t>
            </a:r>
          </a:p>
        </p:txBody>
      </p:sp>
      <p:sp>
        <p:nvSpPr>
          <p:cNvPr id="181" name="object 130">
            <a:extLst>
              <a:ext uri="{FF2B5EF4-FFF2-40B4-BE49-F238E27FC236}">
                <a16:creationId xmlns:a16="http://schemas.microsoft.com/office/drawing/2014/main" id="{DDC619D9-7EEA-44BF-943D-0C7B341A6A82}"/>
              </a:ext>
            </a:extLst>
          </p:cNvPr>
          <p:cNvSpPr txBox="1"/>
          <p:nvPr/>
        </p:nvSpPr>
        <p:spPr>
          <a:xfrm rot="20375125">
            <a:off x="2369652" y="5596099"/>
            <a:ext cx="1726268" cy="372538"/>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ts val="14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03 </a:t>
            </a:r>
            <a:r>
              <a:rPr kumimoji="0" lang="en-US" sz="1600" b="1"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Colorado</a:t>
            </a:r>
          </a:p>
          <a:p>
            <a:pPr marL="12700" marR="0" lvl="0" indent="0" algn="l" defTabSz="914400" rtl="0" eaLnBrk="1" fontAlgn="auto" latinLnBrk="0" hangingPunct="1">
              <a:lnSpc>
                <a:spcPts val="14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100% locally</a:t>
            </a:r>
            <a:endParaRPr kumimoji="0" sz="1200" b="0"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endParaRPr>
          </a:p>
        </p:txBody>
      </p:sp>
      <p:sp>
        <p:nvSpPr>
          <p:cNvPr id="182" name="object 130">
            <a:extLst>
              <a:ext uri="{FF2B5EF4-FFF2-40B4-BE49-F238E27FC236}">
                <a16:creationId xmlns:a16="http://schemas.microsoft.com/office/drawing/2014/main" id="{2FC4850F-6D87-49DF-8E0D-29C7DE5115E8}"/>
              </a:ext>
            </a:extLst>
          </p:cNvPr>
          <p:cNvSpPr txBox="1"/>
          <p:nvPr/>
        </p:nvSpPr>
        <p:spPr>
          <a:xfrm rot="20400000">
            <a:off x="4592238" y="3051674"/>
            <a:ext cx="1299202" cy="259686"/>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600" b="0"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13 </a:t>
            </a:r>
            <a:r>
              <a:rPr kumimoji="0" lang="en-US" sz="1600" b="1"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PJM </a:t>
            </a:r>
            <a:r>
              <a:rPr kumimoji="0" lang="de-DE" sz="1600" b="0"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33%</a:t>
            </a:r>
          </a:p>
        </p:txBody>
      </p:sp>
      <p:sp>
        <p:nvSpPr>
          <p:cNvPr id="183" name="object 130">
            <a:extLst>
              <a:ext uri="{FF2B5EF4-FFF2-40B4-BE49-F238E27FC236}">
                <a16:creationId xmlns:a16="http://schemas.microsoft.com/office/drawing/2014/main" id="{BC485A7A-90FF-4974-9963-E1FB9E782BD9}"/>
              </a:ext>
            </a:extLst>
          </p:cNvPr>
          <p:cNvSpPr txBox="1"/>
          <p:nvPr/>
        </p:nvSpPr>
        <p:spPr>
          <a:xfrm rot="-1200000">
            <a:off x="5449074" y="2087111"/>
            <a:ext cx="890820" cy="167354"/>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08 </a:t>
            </a:r>
            <a:r>
              <a:rPr kumimoji="0" lang="en-US" sz="1000" b="1"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ERCOT </a:t>
            </a: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17</a:t>
            </a:r>
            <a:r>
              <a:rPr kumimoji="0"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a:t>
            </a:r>
          </a:p>
        </p:txBody>
      </p:sp>
      <p:sp>
        <p:nvSpPr>
          <p:cNvPr id="184" name="object 130">
            <a:extLst>
              <a:ext uri="{FF2B5EF4-FFF2-40B4-BE49-F238E27FC236}">
                <a16:creationId xmlns:a16="http://schemas.microsoft.com/office/drawing/2014/main" id="{CCC0F9B9-5AE6-4822-93A9-BC96078FAEED}"/>
              </a:ext>
            </a:extLst>
          </p:cNvPr>
          <p:cNvSpPr txBox="1"/>
          <p:nvPr/>
        </p:nvSpPr>
        <p:spPr>
          <a:xfrm rot="-1200000">
            <a:off x="4441124" y="2212559"/>
            <a:ext cx="998865" cy="167354"/>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10 </a:t>
            </a:r>
            <a:r>
              <a:rPr kumimoji="0" lang="en-US" sz="1000" b="1"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ISO-NE </a:t>
            </a: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30</a:t>
            </a:r>
            <a:r>
              <a:rPr kumimoji="0"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a:t>
            </a:r>
          </a:p>
        </p:txBody>
      </p:sp>
      <p:sp>
        <p:nvSpPr>
          <p:cNvPr id="185" name="object 130">
            <a:extLst>
              <a:ext uri="{FF2B5EF4-FFF2-40B4-BE49-F238E27FC236}">
                <a16:creationId xmlns:a16="http://schemas.microsoft.com/office/drawing/2014/main" id="{F9B5DE2E-E5E9-4B12-93DB-0E773013CE75}"/>
              </a:ext>
            </a:extLst>
          </p:cNvPr>
          <p:cNvSpPr txBox="1"/>
          <p:nvPr/>
        </p:nvSpPr>
        <p:spPr>
          <a:xfrm rot="-1200000">
            <a:off x="4669544" y="2554095"/>
            <a:ext cx="1186948" cy="167354"/>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12 </a:t>
            </a:r>
            <a:r>
              <a:rPr kumimoji="0" lang="en-US" sz="1000" b="1"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Nova Scotia </a:t>
            </a: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40</a:t>
            </a:r>
            <a:r>
              <a:rPr kumimoji="0"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a:t>
            </a:r>
          </a:p>
        </p:txBody>
      </p:sp>
      <p:sp>
        <p:nvSpPr>
          <p:cNvPr id="186" name="object 130">
            <a:extLst>
              <a:ext uri="{FF2B5EF4-FFF2-40B4-BE49-F238E27FC236}">
                <a16:creationId xmlns:a16="http://schemas.microsoft.com/office/drawing/2014/main" id="{BDF093CD-7484-41A6-82D4-7384CDC2604B}"/>
              </a:ext>
            </a:extLst>
          </p:cNvPr>
          <p:cNvSpPr txBox="1"/>
          <p:nvPr/>
        </p:nvSpPr>
        <p:spPr>
          <a:xfrm rot="-1200000">
            <a:off x="5715822" y="2399229"/>
            <a:ext cx="1162645" cy="167354"/>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14</a:t>
            </a:r>
            <a:r>
              <a:rPr kumimoji="0" lang="en-US" sz="1000" b="1"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 Minnesota </a:t>
            </a: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27%</a:t>
            </a:r>
            <a:endParaRPr kumimoji="0"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endParaRPr>
          </a:p>
        </p:txBody>
      </p:sp>
      <p:sp>
        <p:nvSpPr>
          <p:cNvPr id="187" name="object 130">
            <a:extLst>
              <a:ext uri="{FF2B5EF4-FFF2-40B4-BE49-F238E27FC236}">
                <a16:creationId xmlns:a16="http://schemas.microsoft.com/office/drawing/2014/main" id="{4751954E-A4A8-48D4-A6E9-95C1DACD8A90}"/>
              </a:ext>
            </a:extLst>
          </p:cNvPr>
          <p:cNvSpPr txBox="1"/>
          <p:nvPr/>
        </p:nvSpPr>
        <p:spPr>
          <a:xfrm rot="-1200000">
            <a:off x="5760698" y="2995871"/>
            <a:ext cx="1006802" cy="167354"/>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15 </a:t>
            </a:r>
            <a:r>
              <a:rPr kumimoji="0" lang="en-US" sz="1000" b="1"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Hawaii </a:t>
            </a:r>
            <a:r>
              <a:rPr kumimoji="0" lang="de-DE"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40%</a:t>
            </a:r>
          </a:p>
        </p:txBody>
      </p:sp>
      <p:sp>
        <p:nvSpPr>
          <p:cNvPr id="188" name="object 130">
            <a:extLst>
              <a:ext uri="{FF2B5EF4-FFF2-40B4-BE49-F238E27FC236}">
                <a16:creationId xmlns:a16="http://schemas.microsoft.com/office/drawing/2014/main" id="{39B121D2-E829-4325-ABA2-7FD57B08495D}"/>
              </a:ext>
            </a:extLst>
          </p:cNvPr>
          <p:cNvSpPr txBox="1"/>
          <p:nvPr/>
        </p:nvSpPr>
        <p:spPr>
          <a:xfrm rot="-1200000">
            <a:off x="7371638" y="2660992"/>
            <a:ext cx="1207451" cy="167354"/>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17 </a:t>
            </a:r>
            <a:r>
              <a:rPr kumimoji="0" lang="en-US" sz="1000" b="1"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CO Springs </a:t>
            </a:r>
            <a:r>
              <a:rPr kumimoji="0" lang="de-DE"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33%</a:t>
            </a:r>
          </a:p>
        </p:txBody>
      </p:sp>
      <p:sp>
        <p:nvSpPr>
          <p:cNvPr id="189" name="object 130">
            <a:extLst>
              <a:ext uri="{FF2B5EF4-FFF2-40B4-BE49-F238E27FC236}">
                <a16:creationId xmlns:a16="http://schemas.microsoft.com/office/drawing/2014/main" id="{FBA98559-722E-4EB5-A60C-466CF8BBF1C9}"/>
              </a:ext>
            </a:extLst>
          </p:cNvPr>
          <p:cNvSpPr txBox="1"/>
          <p:nvPr/>
        </p:nvSpPr>
        <p:spPr>
          <a:xfrm rot="-1200000">
            <a:off x="5949742" y="3099346"/>
            <a:ext cx="1799258" cy="259686"/>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600" b="0"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16 </a:t>
            </a:r>
            <a:r>
              <a:rPr kumimoji="0" lang="en-US" sz="1600" b="1"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Canada </a:t>
            </a:r>
            <a:r>
              <a:rPr kumimoji="0" lang="en-US" sz="1600" b="0"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30</a:t>
            </a:r>
            <a:r>
              <a:rPr kumimoji="0" sz="1600" b="0"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a:t>
            </a:r>
          </a:p>
        </p:txBody>
      </p:sp>
      <p:sp>
        <p:nvSpPr>
          <p:cNvPr id="190" name="object 130">
            <a:extLst>
              <a:ext uri="{FF2B5EF4-FFF2-40B4-BE49-F238E27FC236}">
                <a16:creationId xmlns:a16="http://schemas.microsoft.com/office/drawing/2014/main" id="{E5C8CEC1-8E67-4195-8765-ED3F5FEC7246}"/>
              </a:ext>
            </a:extLst>
          </p:cNvPr>
          <p:cNvSpPr txBox="1"/>
          <p:nvPr/>
        </p:nvSpPr>
        <p:spPr>
          <a:xfrm rot="-1200000">
            <a:off x="7067097" y="2531268"/>
            <a:ext cx="1333120" cy="167354"/>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17 </a:t>
            </a:r>
            <a:r>
              <a:rPr kumimoji="0" lang="en-US" sz="1000" b="1"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Grand Bahama </a:t>
            </a:r>
            <a:r>
              <a:rPr kumimoji="0" lang="de-DE"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30%</a:t>
            </a:r>
          </a:p>
        </p:txBody>
      </p:sp>
      <p:sp>
        <p:nvSpPr>
          <p:cNvPr id="191" name="object 130">
            <a:extLst>
              <a:ext uri="{FF2B5EF4-FFF2-40B4-BE49-F238E27FC236}">
                <a16:creationId xmlns:a16="http://schemas.microsoft.com/office/drawing/2014/main" id="{C5EE954F-9EA3-4FF3-A70C-41F4306A965F}"/>
              </a:ext>
            </a:extLst>
          </p:cNvPr>
          <p:cNvSpPr txBox="1"/>
          <p:nvPr/>
        </p:nvSpPr>
        <p:spPr>
          <a:xfrm rot="-1200000">
            <a:off x="7310989" y="3208394"/>
            <a:ext cx="1026947" cy="167354"/>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17 </a:t>
            </a:r>
            <a:r>
              <a:rPr kumimoji="0" lang="en-US" sz="1000" b="1"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Barbados </a:t>
            </a:r>
            <a:r>
              <a:rPr kumimoji="0" lang="de-DE"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30%</a:t>
            </a:r>
          </a:p>
        </p:txBody>
      </p:sp>
      <p:sp>
        <p:nvSpPr>
          <p:cNvPr id="192" name="object 130">
            <a:extLst>
              <a:ext uri="{FF2B5EF4-FFF2-40B4-BE49-F238E27FC236}">
                <a16:creationId xmlns:a16="http://schemas.microsoft.com/office/drawing/2014/main" id="{B0D19899-BB94-45F7-9708-6C3BF6EFE0B9}"/>
              </a:ext>
            </a:extLst>
          </p:cNvPr>
          <p:cNvSpPr txBox="1"/>
          <p:nvPr/>
        </p:nvSpPr>
        <p:spPr>
          <a:xfrm rot="-1200000">
            <a:off x="6517783" y="6081545"/>
            <a:ext cx="1039143" cy="269946"/>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ts val="1000"/>
              </a:lnSpc>
              <a:spcBef>
                <a:spcPts val="105"/>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18 </a:t>
            </a:r>
            <a:r>
              <a:rPr kumimoji="0" lang="en-US" sz="1000" b="1"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CA </a:t>
            </a:r>
            <a:r>
              <a:rPr kumimoji="0" lang="de-DE"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1</a:t>
            </a:r>
            <a:r>
              <a:rPr kumimoji="0" lang="de-DE" sz="1000" b="0" i="0" u="none" strike="noStrike" kern="1200" cap="none" spc="0" normalizeH="0" baseline="30000" noProof="0" dirty="0">
                <a:ln>
                  <a:noFill/>
                </a:ln>
                <a:solidFill>
                  <a:srgbClr val="D5D5D5"/>
                </a:solidFill>
                <a:effectLst/>
                <a:uLnTx/>
                <a:uFillTx/>
                <a:latin typeface="GE Inspira Sans" panose="020B0503060000000003" pitchFamily="34" charset="0"/>
                <a:ea typeface="+mn-ea"/>
                <a:cs typeface="GE Inspira Sans"/>
              </a:rPr>
              <a:t>st</a:t>
            </a:r>
            <a:r>
              <a:rPr kumimoji="0" lang="de-DE"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 blackstart battery</a:t>
            </a:r>
          </a:p>
        </p:txBody>
      </p:sp>
      <p:sp>
        <p:nvSpPr>
          <p:cNvPr id="193" name="TextBox 104">
            <a:extLst>
              <a:ext uri="{FF2B5EF4-FFF2-40B4-BE49-F238E27FC236}">
                <a16:creationId xmlns:a16="http://schemas.microsoft.com/office/drawing/2014/main" id="{18E4A663-D008-4805-B1A2-98145895296A}"/>
              </a:ext>
            </a:extLst>
          </p:cNvPr>
          <p:cNvSpPr txBox="1"/>
          <p:nvPr/>
        </p:nvSpPr>
        <p:spPr>
          <a:xfrm rot="-1200000">
            <a:off x="4017379" y="6250633"/>
            <a:ext cx="931769" cy="256480"/>
          </a:xfrm>
          <a:prstGeom prst="rect">
            <a:avLst/>
          </a:prstGeom>
          <a:noFill/>
        </p:spPr>
        <p:txBody>
          <a:bodyPr wrap="square" lIns="0" tIns="0" rIns="0" bIns="0" rtlCol="0">
            <a:spAutoFit/>
          </a:bodyPr>
          <a:lstStyle/>
          <a:p>
            <a:pPr marL="0" marR="0" lvl="0" indent="0" algn="l" defTabSz="914400"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a:ea typeface="+mn-ea"/>
                <a:cs typeface="+mn-cs"/>
              </a:rPr>
              <a:t>‘03</a:t>
            </a:r>
            <a:r>
              <a:rPr kumimoji="0" lang="en-US" sz="1000" b="1" i="0" u="none" strike="noStrike" kern="1200" cap="none" spc="0" normalizeH="0" baseline="0" noProof="0" dirty="0">
                <a:ln>
                  <a:noFill/>
                </a:ln>
                <a:solidFill>
                  <a:srgbClr val="D5D5D5"/>
                </a:solidFill>
                <a:effectLst/>
                <a:uLnTx/>
                <a:uFillTx/>
                <a:latin typeface="GE Inspira Sans"/>
                <a:ea typeface="+mn-ea"/>
                <a:cs typeface="+mn-cs"/>
              </a:rPr>
              <a:t> Invented </a:t>
            </a:r>
            <a:r>
              <a:rPr kumimoji="0" lang="en-US" sz="1000" b="0" i="0" u="none" strike="noStrike" kern="1200" cap="none" spc="0" normalizeH="0" baseline="0" noProof="0" dirty="0">
                <a:ln>
                  <a:noFill/>
                </a:ln>
                <a:solidFill>
                  <a:srgbClr val="D5D5D5"/>
                </a:solidFill>
                <a:effectLst/>
                <a:uLnTx/>
                <a:uFillTx/>
                <a:latin typeface="GE Inspira Sans"/>
                <a:ea typeface="+mn-ea"/>
                <a:cs typeface="+mn-cs"/>
              </a:rPr>
              <a:t>wind voltage reg.</a:t>
            </a:r>
          </a:p>
        </p:txBody>
      </p:sp>
      <p:sp>
        <p:nvSpPr>
          <p:cNvPr id="194" name="TextBox 105">
            <a:extLst>
              <a:ext uri="{FF2B5EF4-FFF2-40B4-BE49-F238E27FC236}">
                <a16:creationId xmlns:a16="http://schemas.microsoft.com/office/drawing/2014/main" id="{60EB3031-8369-4A53-B8BC-B94BBB9692CB}"/>
              </a:ext>
            </a:extLst>
          </p:cNvPr>
          <p:cNvSpPr txBox="1"/>
          <p:nvPr/>
        </p:nvSpPr>
        <p:spPr>
          <a:xfrm rot="-1200000">
            <a:off x="4478759" y="5630561"/>
            <a:ext cx="989368" cy="256480"/>
          </a:xfrm>
          <a:prstGeom prst="rect">
            <a:avLst/>
          </a:prstGeom>
          <a:noFill/>
        </p:spPr>
        <p:txBody>
          <a:bodyPr wrap="square" lIns="0" tIns="0" rIns="0" bIns="0" rtlCol="0">
            <a:spAutoFit/>
          </a:bodyPr>
          <a:lstStyle/>
          <a:p>
            <a:pPr marL="0" marR="0" lvl="0" indent="0" algn="l" defTabSz="914400"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a:ea typeface="+mn-ea"/>
                <a:cs typeface="+mn-cs"/>
              </a:rPr>
              <a:t>‘03</a:t>
            </a:r>
            <a:r>
              <a:rPr kumimoji="0" lang="en-US" sz="1000" b="1" i="0" u="none" strike="noStrike" kern="1200" cap="none" spc="0" normalizeH="0" baseline="0" noProof="0" dirty="0">
                <a:ln>
                  <a:noFill/>
                </a:ln>
                <a:solidFill>
                  <a:srgbClr val="D5D5D5"/>
                </a:solidFill>
                <a:effectLst/>
                <a:uLnTx/>
                <a:uFillTx/>
                <a:latin typeface="GE Inspira Sans"/>
                <a:ea typeface="+mn-ea"/>
                <a:cs typeface="+mn-cs"/>
              </a:rPr>
              <a:t> Invented </a:t>
            </a:r>
            <a:r>
              <a:rPr kumimoji="0" lang="en-US" sz="1000" b="0" i="0" u="none" strike="noStrike" kern="1200" cap="none" spc="0" normalizeH="0" baseline="0" noProof="0" dirty="0">
                <a:ln>
                  <a:noFill/>
                </a:ln>
                <a:solidFill>
                  <a:srgbClr val="D5D5D5"/>
                </a:solidFill>
                <a:effectLst/>
                <a:uLnTx/>
                <a:uFillTx/>
                <a:latin typeface="GE Inspira Sans"/>
                <a:ea typeface="+mn-ea"/>
                <a:cs typeface="+mn-cs"/>
              </a:rPr>
              <a:t>low voltage ride-thru</a:t>
            </a:r>
          </a:p>
        </p:txBody>
      </p:sp>
      <p:sp>
        <p:nvSpPr>
          <p:cNvPr id="195" name="TextBox 106">
            <a:extLst>
              <a:ext uri="{FF2B5EF4-FFF2-40B4-BE49-F238E27FC236}">
                <a16:creationId xmlns:a16="http://schemas.microsoft.com/office/drawing/2014/main" id="{23198E8A-9B63-4961-A426-8A5F156EE87F}"/>
              </a:ext>
            </a:extLst>
          </p:cNvPr>
          <p:cNvSpPr txBox="1"/>
          <p:nvPr/>
        </p:nvSpPr>
        <p:spPr>
          <a:xfrm rot="-1200000">
            <a:off x="5238758" y="6184592"/>
            <a:ext cx="1072044" cy="256480"/>
          </a:xfrm>
          <a:prstGeom prst="rect">
            <a:avLst/>
          </a:prstGeom>
          <a:noFill/>
        </p:spPr>
        <p:txBody>
          <a:bodyPr wrap="square" lIns="0" tIns="0" rIns="0" bIns="0" rtlCol="0">
            <a:spAutoFit/>
          </a:bodyPr>
          <a:lstStyle/>
          <a:p>
            <a:pPr marL="0" marR="0" lvl="0" indent="0" algn="l" defTabSz="914400"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a:ea typeface="+mn-ea"/>
                <a:cs typeface="+mn-cs"/>
              </a:rPr>
              <a:t>‘08</a:t>
            </a:r>
            <a:r>
              <a:rPr kumimoji="0" lang="en-US" sz="1000" b="1" i="0" u="none" strike="noStrike" kern="1200" cap="none" spc="0" normalizeH="0" baseline="0" noProof="0" dirty="0">
                <a:ln>
                  <a:noFill/>
                </a:ln>
                <a:solidFill>
                  <a:srgbClr val="D5D5D5"/>
                </a:solidFill>
                <a:effectLst/>
                <a:uLnTx/>
                <a:uFillTx/>
                <a:latin typeface="GE Inspira Sans"/>
                <a:ea typeface="+mn-ea"/>
                <a:cs typeface="+mn-cs"/>
              </a:rPr>
              <a:t> Invented </a:t>
            </a:r>
            <a:r>
              <a:rPr kumimoji="0" lang="en-US" sz="1000" b="0" i="0" u="none" strike="noStrike" kern="1200" cap="none" spc="0" normalizeH="0" baseline="0" noProof="0" dirty="0">
                <a:ln>
                  <a:noFill/>
                </a:ln>
                <a:solidFill>
                  <a:srgbClr val="D5D5D5"/>
                </a:solidFill>
                <a:effectLst/>
                <a:uLnTx/>
                <a:uFillTx/>
                <a:latin typeface="GE Inspira Sans"/>
                <a:ea typeface="+mn-ea"/>
                <a:cs typeface="+mn-cs"/>
              </a:rPr>
              <a:t>wind inertia freq. reg.</a:t>
            </a:r>
          </a:p>
        </p:txBody>
      </p:sp>
      <p:sp>
        <p:nvSpPr>
          <p:cNvPr id="196" name="TextBox 107">
            <a:extLst>
              <a:ext uri="{FF2B5EF4-FFF2-40B4-BE49-F238E27FC236}">
                <a16:creationId xmlns:a16="http://schemas.microsoft.com/office/drawing/2014/main" id="{D710E53B-640B-4C38-A696-27537B1728AD}"/>
              </a:ext>
            </a:extLst>
          </p:cNvPr>
          <p:cNvSpPr txBox="1"/>
          <p:nvPr/>
        </p:nvSpPr>
        <p:spPr>
          <a:xfrm rot="-1200000">
            <a:off x="6228411" y="5688676"/>
            <a:ext cx="927685" cy="256480"/>
          </a:xfrm>
          <a:prstGeom prst="rect">
            <a:avLst/>
          </a:prstGeom>
          <a:noFill/>
        </p:spPr>
        <p:txBody>
          <a:bodyPr wrap="square" lIns="0" tIns="0" rIns="0" bIns="0" rtlCol="0">
            <a:spAutoFit/>
          </a:bodyPr>
          <a:lstStyle/>
          <a:p>
            <a:pPr marL="0" marR="0" lvl="0" indent="0" algn="l" defTabSz="914400"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a:ea typeface="+mn-ea"/>
                <a:cs typeface="+mn-cs"/>
              </a:rPr>
              <a:t>‘10</a:t>
            </a:r>
            <a:r>
              <a:rPr kumimoji="0" lang="en-US" sz="1000" b="1" i="0" u="none" strike="noStrike" kern="1200" cap="none" spc="0" normalizeH="0" baseline="0" noProof="0" dirty="0">
                <a:ln>
                  <a:noFill/>
                </a:ln>
                <a:solidFill>
                  <a:srgbClr val="D5D5D5"/>
                </a:solidFill>
                <a:effectLst/>
                <a:uLnTx/>
                <a:uFillTx/>
                <a:latin typeface="GE Inspira Sans"/>
                <a:ea typeface="+mn-ea"/>
                <a:cs typeface="+mn-cs"/>
              </a:rPr>
              <a:t> Invented </a:t>
            </a:r>
            <a:r>
              <a:rPr kumimoji="0" lang="en-US" sz="1000" b="0" i="0" u="none" strike="noStrike" kern="1200" cap="none" spc="0" normalizeH="0" baseline="0" noProof="0" dirty="0">
                <a:ln>
                  <a:noFill/>
                </a:ln>
                <a:solidFill>
                  <a:srgbClr val="D5D5D5"/>
                </a:solidFill>
                <a:effectLst/>
                <a:uLnTx/>
                <a:uFillTx/>
                <a:latin typeface="GE Inspira Sans"/>
                <a:ea typeface="+mn-ea"/>
                <a:cs typeface="+mn-cs"/>
              </a:rPr>
              <a:t>weak grid </a:t>
            </a:r>
            <a:r>
              <a:rPr kumimoji="0" lang="en-US" sz="1000" b="0" i="0" u="none" strike="noStrike" kern="1200" cap="none" spc="0" normalizeH="0" baseline="0" noProof="0" dirty="0" err="1">
                <a:ln>
                  <a:noFill/>
                </a:ln>
                <a:solidFill>
                  <a:srgbClr val="D5D5D5"/>
                </a:solidFill>
                <a:effectLst/>
                <a:uLnTx/>
                <a:uFillTx/>
                <a:latin typeface="GE Inspira Sans"/>
                <a:ea typeface="+mn-ea"/>
                <a:cs typeface="+mn-cs"/>
              </a:rPr>
              <a:t>ctrls</a:t>
            </a:r>
            <a:r>
              <a:rPr kumimoji="0" lang="en-US" sz="1000" b="0" i="0" u="none" strike="noStrike" kern="1200" cap="none" spc="0" normalizeH="0" baseline="0" noProof="0" dirty="0">
                <a:ln>
                  <a:noFill/>
                </a:ln>
                <a:solidFill>
                  <a:srgbClr val="D5D5D5"/>
                </a:solidFill>
                <a:effectLst/>
                <a:uLnTx/>
                <a:uFillTx/>
                <a:latin typeface="GE Inspira Sans"/>
                <a:ea typeface="+mn-ea"/>
                <a:cs typeface="+mn-cs"/>
              </a:rPr>
              <a:t>.</a:t>
            </a:r>
          </a:p>
        </p:txBody>
      </p:sp>
      <p:sp>
        <p:nvSpPr>
          <p:cNvPr id="197" name="object 130">
            <a:extLst>
              <a:ext uri="{FF2B5EF4-FFF2-40B4-BE49-F238E27FC236}">
                <a16:creationId xmlns:a16="http://schemas.microsoft.com/office/drawing/2014/main" id="{B750E8EE-FA35-4113-A269-F02A67B8FDEB}"/>
              </a:ext>
            </a:extLst>
          </p:cNvPr>
          <p:cNvSpPr txBox="1"/>
          <p:nvPr/>
        </p:nvSpPr>
        <p:spPr>
          <a:xfrm rot="-1200000">
            <a:off x="7879797" y="3488439"/>
            <a:ext cx="1374920" cy="167354"/>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20 </a:t>
            </a:r>
            <a:r>
              <a:rPr kumimoji="0" lang="en-US" sz="1000" b="1" i="0" u="none" strike="noStrike" kern="1200" cap="none" spc="0" normalizeH="0" baseline="0" noProof="0" dirty="0" err="1">
                <a:ln>
                  <a:noFill/>
                </a:ln>
                <a:solidFill>
                  <a:srgbClr val="D5D5D5"/>
                </a:solidFill>
                <a:effectLst/>
                <a:uLnTx/>
                <a:uFillTx/>
                <a:latin typeface="GE Inspira Sans" panose="020B0503060000000003" pitchFamily="34" charset="0"/>
                <a:ea typeface="+mn-ea"/>
                <a:cs typeface="GE Inspira Sans"/>
              </a:rPr>
              <a:t>Sask</a:t>
            </a:r>
            <a:r>
              <a:rPr kumimoji="0" lang="en-US" sz="1000" b="1"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 </a:t>
            </a: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33%</a:t>
            </a:r>
          </a:p>
        </p:txBody>
      </p:sp>
      <p:sp>
        <p:nvSpPr>
          <p:cNvPr id="198" name="object 130">
            <a:extLst>
              <a:ext uri="{FF2B5EF4-FFF2-40B4-BE49-F238E27FC236}">
                <a16:creationId xmlns:a16="http://schemas.microsoft.com/office/drawing/2014/main" id="{ED2A2CFB-0CA5-4627-9283-3EC1DA672E6E}"/>
              </a:ext>
            </a:extLst>
          </p:cNvPr>
          <p:cNvSpPr txBox="1"/>
          <p:nvPr/>
        </p:nvSpPr>
        <p:spPr>
          <a:xfrm rot="-1200000">
            <a:off x="3238865" y="6073933"/>
            <a:ext cx="1249958" cy="269946"/>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03 </a:t>
            </a:r>
            <a:r>
              <a:rPr kumimoji="0" lang="en-US" sz="1000" b="1"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New Mex</a:t>
            </a:r>
          </a:p>
          <a:p>
            <a:pPr marL="12700" marR="0" lvl="0" indent="0" algn="l" defTabSz="914400"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1</a:t>
            </a:r>
            <a:r>
              <a:rPr kumimoji="0" lang="en-US" sz="1000" b="0" i="0" u="none" strike="noStrike" kern="1200" cap="none" spc="0" normalizeH="0" baseline="30000" noProof="0" dirty="0">
                <a:ln>
                  <a:noFill/>
                </a:ln>
                <a:solidFill>
                  <a:srgbClr val="D5D5D5"/>
                </a:solidFill>
                <a:effectLst/>
                <a:uLnTx/>
                <a:uFillTx/>
                <a:latin typeface="GE Inspira Sans" panose="020B0503060000000003" pitchFamily="34" charset="0"/>
                <a:ea typeface="+mn-ea"/>
                <a:cs typeface="GE Inspira Sans"/>
              </a:rPr>
              <a:t>st</a:t>
            </a: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 &gt;200MW + HVDC</a:t>
            </a:r>
            <a:endParaRPr kumimoji="0"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endParaRPr>
          </a:p>
        </p:txBody>
      </p:sp>
      <p:sp>
        <p:nvSpPr>
          <p:cNvPr id="199" name="object 130">
            <a:extLst>
              <a:ext uri="{FF2B5EF4-FFF2-40B4-BE49-F238E27FC236}">
                <a16:creationId xmlns:a16="http://schemas.microsoft.com/office/drawing/2014/main" id="{B68B1EA5-EDF6-4A1D-9278-90DAAE544952}"/>
              </a:ext>
            </a:extLst>
          </p:cNvPr>
          <p:cNvSpPr txBox="1"/>
          <p:nvPr/>
        </p:nvSpPr>
        <p:spPr>
          <a:xfrm rot="20400000">
            <a:off x="4952457" y="5869764"/>
            <a:ext cx="905560" cy="269946"/>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04 </a:t>
            </a:r>
            <a:r>
              <a:rPr kumimoji="0" lang="en-US" sz="1000" b="1"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Ireland</a:t>
            </a:r>
          </a:p>
          <a:p>
            <a:pPr marL="12700" marR="0" lvl="0" indent="0" algn="l" defTabSz="914400" rtl="0" eaLnBrk="1" fontAlgn="auto" latinLnBrk="0" hangingPunct="1">
              <a:lnSpc>
                <a:spcPts val="1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1</a:t>
            </a:r>
            <a:r>
              <a:rPr kumimoji="0" lang="en-US" sz="1000" b="0" i="0" u="none" strike="noStrike" kern="1200" cap="none" spc="0" normalizeH="0" baseline="30000" noProof="0" dirty="0">
                <a:ln>
                  <a:noFill/>
                </a:ln>
                <a:solidFill>
                  <a:srgbClr val="D5D5D5"/>
                </a:solidFill>
                <a:effectLst/>
                <a:uLnTx/>
                <a:uFillTx/>
                <a:latin typeface="GE Inspira Sans" panose="020B0503060000000003" pitchFamily="34" charset="0"/>
                <a:ea typeface="+mn-ea"/>
                <a:cs typeface="GE Inspira Sans"/>
              </a:rPr>
              <a:t>st</a:t>
            </a: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 GE offshore</a:t>
            </a:r>
            <a:endParaRPr kumimoji="0"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endParaRPr>
          </a:p>
        </p:txBody>
      </p:sp>
      <p:sp>
        <p:nvSpPr>
          <p:cNvPr id="200" name="TextBox 115">
            <a:extLst>
              <a:ext uri="{FF2B5EF4-FFF2-40B4-BE49-F238E27FC236}">
                <a16:creationId xmlns:a16="http://schemas.microsoft.com/office/drawing/2014/main" id="{6385B351-A908-4991-8068-918F5D349EBC}"/>
              </a:ext>
            </a:extLst>
          </p:cNvPr>
          <p:cNvSpPr txBox="1"/>
          <p:nvPr/>
        </p:nvSpPr>
        <p:spPr>
          <a:xfrm rot="-1200000">
            <a:off x="7377313" y="5154770"/>
            <a:ext cx="1529798" cy="369525"/>
          </a:xfrm>
          <a:prstGeom prst="rect">
            <a:avLst/>
          </a:prstGeom>
          <a:noFill/>
        </p:spPr>
        <p:txBody>
          <a:bodyPr wrap="square" lIns="0" tIns="0" rIns="0" bIns="0" rtlCol="0">
            <a:spAutoFit/>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5E2"/>
                </a:solidFill>
                <a:effectLst/>
                <a:uLnTx/>
                <a:uFillTx/>
                <a:latin typeface="GE Inspira Sans"/>
                <a:ea typeface="+mn-ea"/>
                <a:cs typeface="+mn-cs"/>
              </a:rPr>
              <a:t>‘20</a:t>
            </a:r>
            <a:r>
              <a:rPr kumimoji="0" lang="en-US" sz="1600" b="1" i="0" u="none" strike="noStrike" kern="1200" cap="none" spc="0" normalizeH="0" baseline="0" noProof="0" dirty="0">
                <a:ln>
                  <a:noFill/>
                </a:ln>
                <a:solidFill>
                  <a:srgbClr val="00B5E2"/>
                </a:solidFill>
                <a:effectLst/>
                <a:uLnTx/>
                <a:uFillTx/>
                <a:latin typeface="GE Inspira Sans"/>
                <a:ea typeface="+mn-ea"/>
                <a:cs typeface="+mn-cs"/>
              </a:rPr>
              <a:t> ~70GW</a:t>
            </a:r>
          </a:p>
          <a:p>
            <a:pPr marL="0" marR="0" lvl="0" indent="0" algn="l" defTabSz="914400" rtl="0" eaLnBrk="1" fontAlgn="auto" latinLnBrk="0" hangingPunct="1">
              <a:lnSpc>
                <a:spcPts val="16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B5E2"/>
                </a:solidFill>
                <a:effectLst/>
                <a:uLnTx/>
                <a:uFillTx/>
                <a:latin typeface="GE Inspira Sans"/>
                <a:ea typeface="+mn-ea"/>
                <a:cs typeface="+mn-cs"/>
              </a:rPr>
              <a:t>wind, solar, battery</a:t>
            </a:r>
          </a:p>
        </p:txBody>
      </p:sp>
      <p:sp>
        <p:nvSpPr>
          <p:cNvPr id="201" name="object 130">
            <a:extLst>
              <a:ext uri="{FF2B5EF4-FFF2-40B4-BE49-F238E27FC236}">
                <a16:creationId xmlns:a16="http://schemas.microsoft.com/office/drawing/2014/main" id="{7E64C251-1ADE-4C5C-9BD4-961E6AAFE9E6}"/>
              </a:ext>
            </a:extLst>
          </p:cNvPr>
          <p:cNvSpPr txBox="1"/>
          <p:nvPr/>
        </p:nvSpPr>
        <p:spPr>
          <a:xfrm rot="20400000">
            <a:off x="5806957" y="5267345"/>
            <a:ext cx="1246305" cy="274393"/>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ts val="1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13 </a:t>
            </a:r>
            <a:r>
              <a:rPr kumimoji="0" lang="en-US" sz="1050" b="1"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UK </a:t>
            </a:r>
            <a:r>
              <a:rPr kumimoji="0" lang="en-US" sz="105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gas turbine ctrl. upgrade for wind</a:t>
            </a:r>
            <a:endParaRPr kumimoji="0" sz="105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endParaRPr>
          </a:p>
        </p:txBody>
      </p:sp>
      <p:sp>
        <p:nvSpPr>
          <p:cNvPr id="202" name="Rectangle 201">
            <a:extLst>
              <a:ext uri="{FF2B5EF4-FFF2-40B4-BE49-F238E27FC236}">
                <a16:creationId xmlns:a16="http://schemas.microsoft.com/office/drawing/2014/main" id="{CFBA8961-88FA-4DDA-85BD-F0D16FDC1A61}"/>
              </a:ext>
            </a:extLst>
          </p:cNvPr>
          <p:cNvSpPr/>
          <p:nvPr/>
        </p:nvSpPr>
        <p:spPr>
          <a:xfrm>
            <a:off x="5837596" y="4258211"/>
            <a:ext cx="1220206" cy="271869"/>
          </a:xfrm>
          <a:prstGeom prst="rect">
            <a:avLst/>
          </a:prstGeom>
        </p:spPr>
        <p:txBody>
          <a:bodyPr wrap="none">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BF6F"/>
                </a:solidFill>
                <a:effectLst/>
                <a:uLnTx/>
                <a:uFillTx/>
                <a:latin typeface="GE Inspira Sans"/>
                <a:ea typeface="+mn-ea"/>
                <a:cs typeface="+mn-cs"/>
              </a:rPr>
              <a:t>WE ARE HERE</a:t>
            </a:r>
          </a:p>
        </p:txBody>
      </p:sp>
      <p:grpSp>
        <p:nvGrpSpPr>
          <p:cNvPr id="203" name="Group 40">
            <a:extLst>
              <a:ext uri="{FF2B5EF4-FFF2-40B4-BE49-F238E27FC236}">
                <a16:creationId xmlns:a16="http://schemas.microsoft.com/office/drawing/2014/main" id="{50D5D122-809B-494F-ADA3-75E809623E9B}"/>
              </a:ext>
            </a:extLst>
          </p:cNvPr>
          <p:cNvGrpSpPr>
            <a:grpSpLocks noChangeAspect="1"/>
          </p:cNvGrpSpPr>
          <p:nvPr/>
        </p:nvGrpSpPr>
        <p:grpSpPr bwMode="auto">
          <a:xfrm>
            <a:off x="684266" y="4755594"/>
            <a:ext cx="702265" cy="696962"/>
            <a:chOff x="8335" y="493"/>
            <a:chExt cx="927" cy="920"/>
          </a:xfrm>
          <a:solidFill>
            <a:schemeClr val="accent4"/>
          </a:solidFill>
        </p:grpSpPr>
        <p:sp>
          <p:nvSpPr>
            <p:cNvPr id="204" name="Freeform 41">
              <a:extLst>
                <a:ext uri="{FF2B5EF4-FFF2-40B4-BE49-F238E27FC236}">
                  <a16:creationId xmlns:a16="http://schemas.microsoft.com/office/drawing/2014/main" id="{D0FB8E11-AF2C-407C-B4F4-2650EC99011E}"/>
                </a:ext>
              </a:extLst>
            </p:cNvPr>
            <p:cNvSpPr>
              <a:spLocks noEditPoints="1"/>
            </p:cNvSpPr>
            <p:nvPr/>
          </p:nvSpPr>
          <p:spPr bwMode="auto">
            <a:xfrm>
              <a:off x="8425" y="582"/>
              <a:ext cx="748" cy="742"/>
            </a:xfrm>
            <a:custGeom>
              <a:avLst/>
              <a:gdLst>
                <a:gd name="T0" fmla="*/ 1948 w 2043"/>
                <a:gd name="T1" fmla="*/ 1123 h 2043"/>
                <a:gd name="T2" fmla="*/ 1944 w 2043"/>
                <a:gd name="T3" fmla="*/ 1125 h 2043"/>
                <a:gd name="T4" fmla="*/ 1213 w 2043"/>
                <a:gd name="T5" fmla="*/ 1248 h 2043"/>
                <a:gd name="T6" fmla="*/ 1866 w 2043"/>
                <a:gd name="T7" fmla="*/ 473 h 2043"/>
                <a:gd name="T8" fmla="*/ 1866 w 2043"/>
                <a:gd name="T9" fmla="*/ 472 h 2043"/>
                <a:gd name="T10" fmla="*/ 1821 w 2043"/>
                <a:gd name="T11" fmla="*/ 405 h 2043"/>
                <a:gd name="T12" fmla="*/ 1748 w 2043"/>
                <a:gd name="T13" fmla="*/ 438 h 2043"/>
                <a:gd name="T14" fmla="*/ 1747 w 2043"/>
                <a:gd name="T15" fmla="*/ 442 h 2043"/>
                <a:gd name="T16" fmla="*/ 1317 w 2043"/>
                <a:gd name="T17" fmla="*/ 1036 h 2043"/>
                <a:gd name="T18" fmla="*/ 1230 w 2043"/>
                <a:gd name="T19" fmla="*/ 37 h 2043"/>
                <a:gd name="T20" fmla="*/ 1230 w 2043"/>
                <a:gd name="T21" fmla="*/ 35 h 2043"/>
                <a:gd name="T22" fmla="*/ 1123 w 2043"/>
                <a:gd name="T23" fmla="*/ 95 h 2043"/>
                <a:gd name="T24" fmla="*/ 1124 w 2043"/>
                <a:gd name="T25" fmla="*/ 98 h 2043"/>
                <a:gd name="T26" fmla="*/ 1248 w 2043"/>
                <a:gd name="T27" fmla="*/ 830 h 2043"/>
                <a:gd name="T28" fmla="*/ 473 w 2043"/>
                <a:gd name="T29" fmla="*/ 176 h 2043"/>
                <a:gd name="T30" fmla="*/ 471 w 2043"/>
                <a:gd name="T31" fmla="*/ 177 h 2043"/>
                <a:gd name="T32" fmla="*/ 405 w 2043"/>
                <a:gd name="T33" fmla="*/ 222 h 2043"/>
                <a:gd name="T34" fmla="*/ 438 w 2043"/>
                <a:gd name="T35" fmla="*/ 294 h 2043"/>
                <a:gd name="T36" fmla="*/ 441 w 2043"/>
                <a:gd name="T37" fmla="*/ 295 h 2043"/>
                <a:gd name="T38" fmla="*/ 1036 w 2043"/>
                <a:gd name="T39" fmla="*/ 725 h 2043"/>
                <a:gd name="T40" fmla="*/ 36 w 2043"/>
                <a:gd name="T41" fmla="*/ 812 h 2043"/>
                <a:gd name="T42" fmla="*/ 35 w 2043"/>
                <a:gd name="T43" fmla="*/ 813 h 2043"/>
                <a:gd name="T44" fmla="*/ 95 w 2043"/>
                <a:gd name="T45" fmla="*/ 920 h 2043"/>
                <a:gd name="T46" fmla="*/ 98 w 2043"/>
                <a:gd name="T47" fmla="*/ 918 h 2043"/>
                <a:gd name="T48" fmla="*/ 829 w 2043"/>
                <a:gd name="T49" fmla="*/ 794 h 2043"/>
                <a:gd name="T50" fmla="*/ 176 w 2043"/>
                <a:gd name="T51" fmla="*/ 1570 h 2043"/>
                <a:gd name="T52" fmla="*/ 177 w 2043"/>
                <a:gd name="T53" fmla="*/ 1571 h 2043"/>
                <a:gd name="T54" fmla="*/ 221 w 2043"/>
                <a:gd name="T55" fmla="*/ 1637 h 2043"/>
                <a:gd name="T56" fmla="*/ 294 w 2043"/>
                <a:gd name="T57" fmla="*/ 1605 h 2043"/>
                <a:gd name="T58" fmla="*/ 295 w 2043"/>
                <a:gd name="T59" fmla="*/ 1601 h 2043"/>
                <a:gd name="T60" fmla="*/ 725 w 2043"/>
                <a:gd name="T61" fmla="*/ 1007 h 2043"/>
                <a:gd name="T62" fmla="*/ 812 w 2043"/>
                <a:gd name="T63" fmla="*/ 2006 h 2043"/>
                <a:gd name="T64" fmla="*/ 813 w 2043"/>
                <a:gd name="T65" fmla="*/ 2008 h 2043"/>
                <a:gd name="T66" fmla="*/ 920 w 2043"/>
                <a:gd name="T67" fmla="*/ 1948 h 2043"/>
                <a:gd name="T68" fmla="*/ 918 w 2043"/>
                <a:gd name="T69" fmla="*/ 1945 h 2043"/>
                <a:gd name="T70" fmla="*/ 794 w 2043"/>
                <a:gd name="T71" fmla="*/ 1213 h 2043"/>
                <a:gd name="T72" fmla="*/ 1569 w 2043"/>
                <a:gd name="T73" fmla="*/ 1866 h 2043"/>
                <a:gd name="T74" fmla="*/ 1571 w 2043"/>
                <a:gd name="T75" fmla="*/ 1866 h 2043"/>
                <a:gd name="T76" fmla="*/ 1637 w 2043"/>
                <a:gd name="T77" fmla="*/ 1821 h 2043"/>
                <a:gd name="T78" fmla="*/ 1604 w 2043"/>
                <a:gd name="T79" fmla="*/ 1749 h 2043"/>
                <a:gd name="T80" fmla="*/ 1601 w 2043"/>
                <a:gd name="T81" fmla="*/ 1748 h 2043"/>
                <a:gd name="T82" fmla="*/ 1006 w 2043"/>
                <a:gd name="T83" fmla="*/ 1318 h 2043"/>
                <a:gd name="T84" fmla="*/ 2006 w 2043"/>
                <a:gd name="T85" fmla="*/ 1231 h 2043"/>
                <a:gd name="T86" fmla="*/ 2007 w 2043"/>
                <a:gd name="T87" fmla="*/ 1230 h 2043"/>
                <a:gd name="T88" fmla="*/ 1021 w 2043"/>
                <a:gd name="T89" fmla="*/ 1161 h 2043"/>
                <a:gd name="T90" fmla="*/ 1021 w 2043"/>
                <a:gd name="T91" fmla="*/ 882 h 2043"/>
                <a:gd name="T92" fmla="*/ 1021 w 2043"/>
                <a:gd name="T93" fmla="*/ 1161 h 2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3" h="2043">
                  <a:moveTo>
                    <a:pt x="2022" y="1151"/>
                  </a:moveTo>
                  <a:cubicBezTo>
                    <a:pt x="2002" y="1115"/>
                    <a:pt x="1983" y="1103"/>
                    <a:pt x="1948" y="1123"/>
                  </a:cubicBezTo>
                  <a:cubicBezTo>
                    <a:pt x="1948" y="1123"/>
                    <a:pt x="1948" y="1123"/>
                    <a:pt x="1948" y="1123"/>
                  </a:cubicBezTo>
                  <a:cubicBezTo>
                    <a:pt x="1944" y="1125"/>
                    <a:pt x="1944" y="1125"/>
                    <a:pt x="1944" y="1125"/>
                  </a:cubicBezTo>
                  <a:cubicBezTo>
                    <a:pt x="1945" y="1125"/>
                    <a:pt x="1945" y="1125"/>
                    <a:pt x="1945" y="1125"/>
                  </a:cubicBezTo>
                  <a:cubicBezTo>
                    <a:pt x="1706" y="1255"/>
                    <a:pt x="1458" y="1297"/>
                    <a:pt x="1213" y="1248"/>
                  </a:cubicBezTo>
                  <a:cubicBezTo>
                    <a:pt x="1215" y="1247"/>
                    <a:pt x="1218" y="1244"/>
                    <a:pt x="1220" y="1241"/>
                  </a:cubicBezTo>
                  <a:cubicBezTo>
                    <a:pt x="1540" y="1093"/>
                    <a:pt x="1762" y="831"/>
                    <a:pt x="1866" y="473"/>
                  </a:cubicBezTo>
                  <a:cubicBezTo>
                    <a:pt x="1865" y="473"/>
                    <a:pt x="1865" y="473"/>
                    <a:pt x="1865" y="473"/>
                  </a:cubicBezTo>
                  <a:cubicBezTo>
                    <a:pt x="1866" y="472"/>
                    <a:pt x="1866" y="472"/>
                    <a:pt x="1866" y="472"/>
                  </a:cubicBezTo>
                  <a:cubicBezTo>
                    <a:pt x="1866" y="472"/>
                    <a:pt x="1866" y="472"/>
                    <a:pt x="1866" y="472"/>
                  </a:cubicBezTo>
                  <a:cubicBezTo>
                    <a:pt x="1877" y="433"/>
                    <a:pt x="1860" y="416"/>
                    <a:pt x="1821" y="405"/>
                  </a:cubicBezTo>
                  <a:cubicBezTo>
                    <a:pt x="1781" y="394"/>
                    <a:pt x="1759" y="399"/>
                    <a:pt x="1748" y="438"/>
                  </a:cubicBezTo>
                  <a:cubicBezTo>
                    <a:pt x="1748" y="438"/>
                    <a:pt x="1748" y="438"/>
                    <a:pt x="1748" y="438"/>
                  </a:cubicBezTo>
                  <a:cubicBezTo>
                    <a:pt x="1747" y="442"/>
                    <a:pt x="1747" y="442"/>
                    <a:pt x="1747" y="442"/>
                  </a:cubicBezTo>
                  <a:cubicBezTo>
                    <a:pt x="1747" y="442"/>
                    <a:pt x="1747" y="442"/>
                    <a:pt x="1747" y="442"/>
                  </a:cubicBezTo>
                  <a:cubicBezTo>
                    <a:pt x="1671" y="703"/>
                    <a:pt x="1524" y="907"/>
                    <a:pt x="1317" y="1046"/>
                  </a:cubicBezTo>
                  <a:cubicBezTo>
                    <a:pt x="1318" y="1043"/>
                    <a:pt x="1318" y="1040"/>
                    <a:pt x="1317" y="1036"/>
                  </a:cubicBezTo>
                  <a:cubicBezTo>
                    <a:pt x="1439" y="705"/>
                    <a:pt x="1410" y="363"/>
                    <a:pt x="1231" y="36"/>
                  </a:cubicBezTo>
                  <a:cubicBezTo>
                    <a:pt x="1230" y="37"/>
                    <a:pt x="1230" y="37"/>
                    <a:pt x="1230" y="37"/>
                  </a:cubicBezTo>
                  <a:cubicBezTo>
                    <a:pt x="1229" y="35"/>
                    <a:pt x="1229" y="35"/>
                    <a:pt x="1229" y="35"/>
                  </a:cubicBezTo>
                  <a:cubicBezTo>
                    <a:pt x="1230" y="35"/>
                    <a:pt x="1230" y="35"/>
                    <a:pt x="1230" y="35"/>
                  </a:cubicBezTo>
                  <a:cubicBezTo>
                    <a:pt x="1210" y="0"/>
                    <a:pt x="1187" y="0"/>
                    <a:pt x="1151" y="20"/>
                  </a:cubicBezTo>
                  <a:cubicBezTo>
                    <a:pt x="1115" y="40"/>
                    <a:pt x="1103" y="60"/>
                    <a:pt x="1123" y="95"/>
                  </a:cubicBezTo>
                  <a:cubicBezTo>
                    <a:pt x="1123" y="95"/>
                    <a:pt x="1123" y="95"/>
                    <a:pt x="1123" y="95"/>
                  </a:cubicBezTo>
                  <a:cubicBezTo>
                    <a:pt x="1124" y="98"/>
                    <a:pt x="1124" y="98"/>
                    <a:pt x="1124" y="98"/>
                  </a:cubicBezTo>
                  <a:cubicBezTo>
                    <a:pt x="1125" y="98"/>
                    <a:pt x="1125" y="98"/>
                    <a:pt x="1125" y="98"/>
                  </a:cubicBezTo>
                  <a:cubicBezTo>
                    <a:pt x="1255" y="337"/>
                    <a:pt x="1296" y="585"/>
                    <a:pt x="1248" y="830"/>
                  </a:cubicBezTo>
                  <a:cubicBezTo>
                    <a:pt x="1246" y="827"/>
                    <a:pt x="1244" y="825"/>
                    <a:pt x="1241" y="822"/>
                  </a:cubicBezTo>
                  <a:cubicBezTo>
                    <a:pt x="1092" y="502"/>
                    <a:pt x="830" y="280"/>
                    <a:pt x="473" y="176"/>
                  </a:cubicBezTo>
                  <a:cubicBezTo>
                    <a:pt x="473" y="177"/>
                    <a:pt x="473" y="177"/>
                    <a:pt x="473" y="177"/>
                  </a:cubicBezTo>
                  <a:cubicBezTo>
                    <a:pt x="471" y="177"/>
                    <a:pt x="471" y="177"/>
                    <a:pt x="471" y="177"/>
                  </a:cubicBezTo>
                  <a:cubicBezTo>
                    <a:pt x="471" y="177"/>
                    <a:pt x="471" y="177"/>
                    <a:pt x="471" y="177"/>
                  </a:cubicBezTo>
                  <a:cubicBezTo>
                    <a:pt x="432" y="166"/>
                    <a:pt x="416" y="183"/>
                    <a:pt x="405" y="222"/>
                  </a:cubicBezTo>
                  <a:cubicBezTo>
                    <a:pt x="394" y="262"/>
                    <a:pt x="399" y="283"/>
                    <a:pt x="438" y="295"/>
                  </a:cubicBezTo>
                  <a:cubicBezTo>
                    <a:pt x="438" y="294"/>
                    <a:pt x="438" y="294"/>
                    <a:pt x="438" y="294"/>
                  </a:cubicBezTo>
                  <a:cubicBezTo>
                    <a:pt x="441" y="296"/>
                    <a:pt x="441" y="296"/>
                    <a:pt x="441" y="296"/>
                  </a:cubicBezTo>
                  <a:cubicBezTo>
                    <a:pt x="441" y="295"/>
                    <a:pt x="441" y="295"/>
                    <a:pt x="441" y="295"/>
                  </a:cubicBezTo>
                  <a:cubicBezTo>
                    <a:pt x="703" y="372"/>
                    <a:pt x="907" y="518"/>
                    <a:pt x="1046" y="725"/>
                  </a:cubicBezTo>
                  <a:cubicBezTo>
                    <a:pt x="1043" y="725"/>
                    <a:pt x="1039" y="725"/>
                    <a:pt x="1036" y="725"/>
                  </a:cubicBezTo>
                  <a:cubicBezTo>
                    <a:pt x="704" y="604"/>
                    <a:pt x="362" y="632"/>
                    <a:pt x="36" y="812"/>
                  </a:cubicBezTo>
                  <a:cubicBezTo>
                    <a:pt x="36" y="812"/>
                    <a:pt x="36" y="812"/>
                    <a:pt x="36" y="812"/>
                  </a:cubicBezTo>
                  <a:cubicBezTo>
                    <a:pt x="35" y="813"/>
                    <a:pt x="35" y="813"/>
                    <a:pt x="35" y="813"/>
                  </a:cubicBezTo>
                  <a:cubicBezTo>
                    <a:pt x="35" y="813"/>
                    <a:pt x="35" y="813"/>
                    <a:pt x="35" y="813"/>
                  </a:cubicBezTo>
                  <a:cubicBezTo>
                    <a:pt x="0" y="833"/>
                    <a:pt x="0" y="856"/>
                    <a:pt x="20" y="891"/>
                  </a:cubicBezTo>
                  <a:cubicBezTo>
                    <a:pt x="40" y="928"/>
                    <a:pt x="59" y="940"/>
                    <a:pt x="95" y="920"/>
                  </a:cubicBezTo>
                  <a:cubicBezTo>
                    <a:pt x="95" y="920"/>
                    <a:pt x="95" y="920"/>
                    <a:pt x="95" y="920"/>
                  </a:cubicBezTo>
                  <a:cubicBezTo>
                    <a:pt x="98" y="918"/>
                    <a:pt x="98" y="918"/>
                    <a:pt x="98" y="918"/>
                  </a:cubicBezTo>
                  <a:cubicBezTo>
                    <a:pt x="98" y="918"/>
                    <a:pt x="98" y="918"/>
                    <a:pt x="98" y="918"/>
                  </a:cubicBezTo>
                  <a:cubicBezTo>
                    <a:pt x="337" y="787"/>
                    <a:pt x="585" y="746"/>
                    <a:pt x="829" y="794"/>
                  </a:cubicBezTo>
                  <a:cubicBezTo>
                    <a:pt x="827" y="796"/>
                    <a:pt x="824" y="799"/>
                    <a:pt x="822" y="802"/>
                  </a:cubicBezTo>
                  <a:cubicBezTo>
                    <a:pt x="502" y="950"/>
                    <a:pt x="280" y="1212"/>
                    <a:pt x="176" y="1570"/>
                  </a:cubicBezTo>
                  <a:cubicBezTo>
                    <a:pt x="177" y="1570"/>
                    <a:pt x="177" y="1570"/>
                    <a:pt x="177" y="1570"/>
                  </a:cubicBezTo>
                  <a:cubicBezTo>
                    <a:pt x="177" y="1571"/>
                    <a:pt x="177" y="1571"/>
                    <a:pt x="177" y="1571"/>
                  </a:cubicBezTo>
                  <a:cubicBezTo>
                    <a:pt x="176" y="1571"/>
                    <a:pt x="176" y="1571"/>
                    <a:pt x="176" y="1571"/>
                  </a:cubicBezTo>
                  <a:cubicBezTo>
                    <a:pt x="165" y="1610"/>
                    <a:pt x="182" y="1626"/>
                    <a:pt x="221" y="1637"/>
                  </a:cubicBezTo>
                  <a:cubicBezTo>
                    <a:pt x="261" y="1649"/>
                    <a:pt x="283" y="1644"/>
                    <a:pt x="294" y="1605"/>
                  </a:cubicBezTo>
                  <a:cubicBezTo>
                    <a:pt x="294" y="1605"/>
                    <a:pt x="294" y="1605"/>
                    <a:pt x="294" y="1605"/>
                  </a:cubicBezTo>
                  <a:cubicBezTo>
                    <a:pt x="295" y="1601"/>
                    <a:pt x="295" y="1601"/>
                    <a:pt x="295" y="1601"/>
                  </a:cubicBezTo>
                  <a:cubicBezTo>
                    <a:pt x="295" y="1601"/>
                    <a:pt x="295" y="1601"/>
                    <a:pt x="295" y="1601"/>
                  </a:cubicBezTo>
                  <a:cubicBezTo>
                    <a:pt x="372" y="1340"/>
                    <a:pt x="518" y="1135"/>
                    <a:pt x="725" y="996"/>
                  </a:cubicBezTo>
                  <a:cubicBezTo>
                    <a:pt x="725" y="1000"/>
                    <a:pt x="725" y="1003"/>
                    <a:pt x="725" y="1007"/>
                  </a:cubicBezTo>
                  <a:cubicBezTo>
                    <a:pt x="604" y="1338"/>
                    <a:pt x="632" y="1680"/>
                    <a:pt x="811" y="2007"/>
                  </a:cubicBezTo>
                  <a:cubicBezTo>
                    <a:pt x="812" y="2006"/>
                    <a:pt x="812" y="2006"/>
                    <a:pt x="812" y="2006"/>
                  </a:cubicBezTo>
                  <a:cubicBezTo>
                    <a:pt x="813" y="2007"/>
                    <a:pt x="813" y="2007"/>
                    <a:pt x="813" y="2007"/>
                  </a:cubicBezTo>
                  <a:cubicBezTo>
                    <a:pt x="813" y="2008"/>
                    <a:pt x="813" y="2008"/>
                    <a:pt x="813" y="2008"/>
                  </a:cubicBezTo>
                  <a:cubicBezTo>
                    <a:pt x="832" y="2043"/>
                    <a:pt x="856" y="2042"/>
                    <a:pt x="891" y="2023"/>
                  </a:cubicBezTo>
                  <a:cubicBezTo>
                    <a:pt x="927" y="2002"/>
                    <a:pt x="939" y="1983"/>
                    <a:pt x="920" y="1948"/>
                  </a:cubicBezTo>
                  <a:cubicBezTo>
                    <a:pt x="919" y="1948"/>
                    <a:pt x="919" y="1948"/>
                    <a:pt x="919" y="1948"/>
                  </a:cubicBezTo>
                  <a:cubicBezTo>
                    <a:pt x="918" y="1945"/>
                    <a:pt x="918" y="1945"/>
                    <a:pt x="918" y="1945"/>
                  </a:cubicBezTo>
                  <a:cubicBezTo>
                    <a:pt x="917" y="1945"/>
                    <a:pt x="917" y="1945"/>
                    <a:pt x="917" y="1945"/>
                  </a:cubicBezTo>
                  <a:cubicBezTo>
                    <a:pt x="787" y="1706"/>
                    <a:pt x="746" y="1458"/>
                    <a:pt x="794" y="1213"/>
                  </a:cubicBezTo>
                  <a:cubicBezTo>
                    <a:pt x="796" y="1216"/>
                    <a:pt x="799" y="1218"/>
                    <a:pt x="801" y="1221"/>
                  </a:cubicBezTo>
                  <a:cubicBezTo>
                    <a:pt x="950" y="1541"/>
                    <a:pt x="1212" y="1762"/>
                    <a:pt x="1569" y="1866"/>
                  </a:cubicBezTo>
                  <a:cubicBezTo>
                    <a:pt x="1570" y="1866"/>
                    <a:pt x="1570" y="1866"/>
                    <a:pt x="1570" y="1866"/>
                  </a:cubicBezTo>
                  <a:cubicBezTo>
                    <a:pt x="1571" y="1866"/>
                    <a:pt x="1571" y="1866"/>
                    <a:pt x="1571" y="1866"/>
                  </a:cubicBezTo>
                  <a:cubicBezTo>
                    <a:pt x="1571" y="1866"/>
                    <a:pt x="1571" y="1866"/>
                    <a:pt x="1571" y="1866"/>
                  </a:cubicBezTo>
                  <a:cubicBezTo>
                    <a:pt x="1610" y="1877"/>
                    <a:pt x="1626" y="1860"/>
                    <a:pt x="1637" y="1821"/>
                  </a:cubicBezTo>
                  <a:cubicBezTo>
                    <a:pt x="1649" y="1781"/>
                    <a:pt x="1643" y="1759"/>
                    <a:pt x="1604" y="1748"/>
                  </a:cubicBezTo>
                  <a:cubicBezTo>
                    <a:pt x="1604" y="1749"/>
                    <a:pt x="1604" y="1749"/>
                    <a:pt x="1604" y="1749"/>
                  </a:cubicBezTo>
                  <a:cubicBezTo>
                    <a:pt x="1601" y="1747"/>
                    <a:pt x="1601" y="1747"/>
                    <a:pt x="1601" y="1747"/>
                  </a:cubicBezTo>
                  <a:cubicBezTo>
                    <a:pt x="1601" y="1748"/>
                    <a:pt x="1601" y="1748"/>
                    <a:pt x="1601" y="1748"/>
                  </a:cubicBezTo>
                  <a:cubicBezTo>
                    <a:pt x="1340" y="1671"/>
                    <a:pt x="1135" y="1525"/>
                    <a:pt x="996" y="1318"/>
                  </a:cubicBezTo>
                  <a:cubicBezTo>
                    <a:pt x="999" y="1318"/>
                    <a:pt x="1003" y="1318"/>
                    <a:pt x="1006" y="1318"/>
                  </a:cubicBezTo>
                  <a:cubicBezTo>
                    <a:pt x="1338" y="1439"/>
                    <a:pt x="1680" y="1410"/>
                    <a:pt x="2006" y="1231"/>
                  </a:cubicBezTo>
                  <a:cubicBezTo>
                    <a:pt x="2006" y="1231"/>
                    <a:pt x="2006" y="1231"/>
                    <a:pt x="2006" y="1231"/>
                  </a:cubicBezTo>
                  <a:cubicBezTo>
                    <a:pt x="2007" y="1230"/>
                    <a:pt x="2007" y="1230"/>
                    <a:pt x="2007" y="1230"/>
                  </a:cubicBezTo>
                  <a:cubicBezTo>
                    <a:pt x="2007" y="1230"/>
                    <a:pt x="2007" y="1230"/>
                    <a:pt x="2007" y="1230"/>
                  </a:cubicBezTo>
                  <a:cubicBezTo>
                    <a:pt x="2043" y="1210"/>
                    <a:pt x="2042" y="1187"/>
                    <a:pt x="2022" y="1151"/>
                  </a:cubicBezTo>
                  <a:moveTo>
                    <a:pt x="1021" y="1161"/>
                  </a:moveTo>
                  <a:cubicBezTo>
                    <a:pt x="944" y="1161"/>
                    <a:pt x="882" y="1099"/>
                    <a:pt x="882" y="1021"/>
                  </a:cubicBezTo>
                  <a:cubicBezTo>
                    <a:pt x="882" y="944"/>
                    <a:pt x="944" y="882"/>
                    <a:pt x="1021" y="882"/>
                  </a:cubicBezTo>
                  <a:cubicBezTo>
                    <a:pt x="1098" y="882"/>
                    <a:pt x="1161" y="944"/>
                    <a:pt x="1161" y="1021"/>
                  </a:cubicBezTo>
                  <a:cubicBezTo>
                    <a:pt x="1161" y="1099"/>
                    <a:pt x="1098" y="1161"/>
                    <a:pt x="1021" y="116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205" name="Freeform 42">
              <a:extLst>
                <a:ext uri="{FF2B5EF4-FFF2-40B4-BE49-F238E27FC236}">
                  <a16:creationId xmlns:a16="http://schemas.microsoft.com/office/drawing/2014/main" id="{5FF3CAD0-6A37-4D3B-95EA-23D59EEAD1A9}"/>
                </a:ext>
              </a:extLst>
            </p:cNvPr>
            <p:cNvSpPr>
              <a:spLocks noEditPoints="1"/>
            </p:cNvSpPr>
            <p:nvPr/>
          </p:nvSpPr>
          <p:spPr bwMode="auto">
            <a:xfrm>
              <a:off x="8335" y="493"/>
              <a:ext cx="927" cy="920"/>
            </a:xfrm>
            <a:custGeom>
              <a:avLst/>
              <a:gdLst>
                <a:gd name="T0" fmla="*/ 1267 w 2534"/>
                <a:gd name="T1" fmla="*/ 0 h 2533"/>
                <a:gd name="T2" fmla="*/ 0 w 2534"/>
                <a:gd name="T3" fmla="*/ 1266 h 2533"/>
                <a:gd name="T4" fmla="*/ 1267 w 2534"/>
                <a:gd name="T5" fmla="*/ 2533 h 2533"/>
                <a:gd name="T6" fmla="*/ 2534 w 2534"/>
                <a:gd name="T7" fmla="*/ 1266 h 2533"/>
                <a:gd name="T8" fmla="*/ 1267 w 2534"/>
                <a:gd name="T9" fmla="*/ 0 h 2533"/>
                <a:gd name="T10" fmla="*/ 1267 w 2534"/>
                <a:gd name="T11" fmla="*/ 2370 h 2533"/>
                <a:gd name="T12" fmla="*/ 164 w 2534"/>
                <a:gd name="T13" fmla="*/ 1266 h 2533"/>
                <a:gd name="T14" fmla="*/ 1267 w 2534"/>
                <a:gd name="T15" fmla="*/ 163 h 2533"/>
                <a:gd name="T16" fmla="*/ 2370 w 2534"/>
                <a:gd name="T17" fmla="*/ 1266 h 2533"/>
                <a:gd name="T18" fmla="*/ 1267 w 2534"/>
                <a:gd name="T19" fmla="*/ 2370 h 2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4" h="2533">
                  <a:moveTo>
                    <a:pt x="1267" y="0"/>
                  </a:moveTo>
                  <a:cubicBezTo>
                    <a:pt x="569" y="0"/>
                    <a:pt x="0" y="568"/>
                    <a:pt x="0" y="1266"/>
                  </a:cubicBezTo>
                  <a:cubicBezTo>
                    <a:pt x="0" y="1965"/>
                    <a:pt x="569" y="2533"/>
                    <a:pt x="1267" y="2533"/>
                  </a:cubicBezTo>
                  <a:cubicBezTo>
                    <a:pt x="1966" y="2533"/>
                    <a:pt x="2534" y="1965"/>
                    <a:pt x="2534" y="1266"/>
                  </a:cubicBezTo>
                  <a:cubicBezTo>
                    <a:pt x="2534" y="568"/>
                    <a:pt x="1966" y="0"/>
                    <a:pt x="1267" y="0"/>
                  </a:cubicBezTo>
                  <a:moveTo>
                    <a:pt x="1267" y="2370"/>
                  </a:moveTo>
                  <a:cubicBezTo>
                    <a:pt x="659" y="2370"/>
                    <a:pt x="164" y="1875"/>
                    <a:pt x="164" y="1266"/>
                  </a:cubicBezTo>
                  <a:cubicBezTo>
                    <a:pt x="164" y="658"/>
                    <a:pt x="659" y="163"/>
                    <a:pt x="1267" y="163"/>
                  </a:cubicBezTo>
                  <a:cubicBezTo>
                    <a:pt x="1875" y="163"/>
                    <a:pt x="2370" y="658"/>
                    <a:pt x="2370" y="1266"/>
                  </a:cubicBezTo>
                  <a:cubicBezTo>
                    <a:pt x="2370" y="1875"/>
                    <a:pt x="1875" y="2370"/>
                    <a:pt x="1267" y="23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3666A"/>
                </a:solidFill>
                <a:effectLst/>
                <a:uLnTx/>
                <a:uFillTx/>
                <a:latin typeface="GE Inspira Sans"/>
                <a:ea typeface="+mn-ea"/>
                <a:cs typeface="+mn-cs"/>
              </a:endParaRPr>
            </a:p>
          </p:txBody>
        </p:sp>
      </p:grpSp>
      <p:sp>
        <p:nvSpPr>
          <p:cNvPr id="206" name="Star: 5 Points 1">
            <a:extLst>
              <a:ext uri="{FF2B5EF4-FFF2-40B4-BE49-F238E27FC236}">
                <a16:creationId xmlns:a16="http://schemas.microsoft.com/office/drawing/2014/main" id="{78F3F4C0-A3D1-4257-AF00-D41B081A11AF}"/>
              </a:ext>
            </a:extLst>
          </p:cNvPr>
          <p:cNvSpPr/>
          <p:nvPr/>
        </p:nvSpPr>
        <p:spPr>
          <a:xfrm>
            <a:off x="1861053" y="2191147"/>
            <a:ext cx="315552" cy="315552"/>
          </a:xfrm>
          <a:prstGeom prst="star5">
            <a:avLst>
              <a:gd name="adj" fmla="val 21377"/>
              <a:gd name="hf" fmla="val 105146"/>
              <a:gd name="vf" fmla="val 11055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 Inspira Sans"/>
              <a:ea typeface="+mn-ea"/>
              <a:cs typeface="+mn-cs"/>
            </a:endParaRPr>
          </a:p>
        </p:txBody>
      </p:sp>
      <p:sp>
        <p:nvSpPr>
          <p:cNvPr id="207" name="Star: 5 Points 120">
            <a:extLst>
              <a:ext uri="{FF2B5EF4-FFF2-40B4-BE49-F238E27FC236}">
                <a16:creationId xmlns:a16="http://schemas.microsoft.com/office/drawing/2014/main" id="{1469DD12-240D-469A-879B-423841DFF164}"/>
              </a:ext>
            </a:extLst>
          </p:cNvPr>
          <p:cNvSpPr/>
          <p:nvPr/>
        </p:nvSpPr>
        <p:spPr>
          <a:xfrm>
            <a:off x="4363568" y="3394141"/>
            <a:ext cx="315552" cy="315552"/>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 Inspira Sans"/>
              <a:ea typeface="+mn-ea"/>
              <a:cs typeface="+mn-cs"/>
            </a:endParaRPr>
          </a:p>
        </p:txBody>
      </p:sp>
      <p:sp>
        <p:nvSpPr>
          <p:cNvPr id="208" name="Star: 5 Points 124">
            <a:extLst>
              <a:ext uri="{FF2B5EF4-FFF2-40B4-BE49-F238E27FC236}">
                <a16:creationId xmlns:a16="http://schemas.microsoft.com/office/drawing/2014/main" id="{865CB285-69D3-4752-B6B9-453CA4D7073F}"/>
              </a:ext>
            </a:extLst>
          </p:cNvPr>
          <p:cNvSpPr/>
          <p:nvPr/>
        </p:nvSpPr>
        <p:spPr>
          <a:xfrm>
            <a:off x="7723221" y="4811854"/>
            <a:ext cx="315552" cy="315552"/>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 Inspira Sans"/>
              <a:ea typeface="+mn-ea"/>
              <a:cs typeface="+mn-cs"/>
            </a:endParaRPr>
          </a:p>
        </p:txBody>
      </p:sp>
      <p:sp>
        <p:nvSpPr>
          <p:cNvPr id="209" name="Star: 5 Points 125">
            <a:extLst>
              <a:ext uri="{FF2B5EF4-FFF2-40B4-BE49-F238E27FC236}">
                <a16:creationId xmlns:a16="http://schemas.microsoft.com/office/drawing/2014/main" id="{BDE5C10E-96F5-4C5C-A84A-7C193D41A674}"/>
              </a:ext>
            </a:extLst>
          </p:cNvPr>
          <p:cNvSpPr/>
          <p:nvPr/>
        </p:nvSpPr>
        <p:spPr>
          <a:xfrm>
            <a:off x="2428575" y="5355057"/>
            <a:ext cx="315552" cy="315552"/>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 Inspira Sans"/>
              <a:ea typeface="+mn-ea"/>
              <a:cs typeface="+mn-cs"/>
            </a:endParaRPr>
          </a:p>
        </p:txBody>
      </p:sp>
      <p:sp>
        <p:nvSpPr>
          <p:cNvPr id="210" name="Star: 5 Points 126">
            <a:extLst>
              <a:ext uri="{FF2B5EF4-FFF2-40B4-BE49-F238E27FC236}">
                <a16:creationId xmlns:a16="http://schemas.microsoft.com/office/drawing/2014/main" id="{4CE9D9D0-1E5A-4AF5-862E-D1B7C417EB96}"/>
              </a:ext>
            </a:extLst>
          </p:cNvPr>
          <p:cNvSpPr/>
          <p:nvPr/>
        </p:nvSpPr>
        <p:spPr>
          <a:xfrm>
            <a:off x="5728190" y="3617011"/>
            <a:ext cx="315552" cy="315552"/>
          </a:xfrm>
          <a:prstGeom prst="star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 Inspira Sans"/>
              <a:ea typeface="+mn-ea"/>
              <a:cs typeface="+mn-cs"/>
            </a:endParaRPr>
          </a:p>
        </p:txBody>
      </p:sp>
      <p:sp>
        <p:nvSpPr>
          <p:cNvPr id="211" name="object 130">
            <a:extLst>
              <a:ext uri="{FF2B5EF4-FFF2-40B4-BE49-F238E27FC236}">
                <a16:creationId xmlns:a16="http://schemas.microsoft.com/office/drawing/2014/main" id="{F7FFCC40-5F80-4FB3-B5B7-A561C6B2C4EE}"/>
              </a:ext>
            </a:extLst>
          </p:cNvPr>
          <p:cNvSpPr txBox="1"/>
          <p:nvPr/>
        </p:nvSpPr>
        <p:spPr>
          <a:xfrm rot="-1200000">
            <a:off x="4903111" y="3335503"/>
            <a:ext cx="1207451" cy="167354"/>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14 </a:t>
            </a:r>
            <a:r>
              <a:rPr kumimoji="0" lang="en-US" sz="1000" b="1"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Vietnam</a:t>
            </a:r>
            <a:endParaRPr kumimoji="0" lang="de-DE"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endParaRPr>
          </a:p>
        </p:txBody>
      </p:sp>
      <p:sp>
        <p:nvSpPr>
          <p:cNvPr id="212" name="object 130">
            <a:extLst>
              <a:ext uri="{FF2B5EF4-FFF2-40B4-BE49-F238E27FC236}">
                <a16:creationId xmlns:a16="http://schemas.microsoft.com/office/drawing/2014/main" id="{4826872A-C823-47FB-953E-2C33B030979B}"/>
              </a:ext>
            </a:extLst>
          </p:cNvPr>
          <p:cNvSpPr txBox="1"/>
          <p:nvPr/>
        </p:nvSpPr>
        <p:spPr>
          <a:xfrm rot="-1200000">
            <a:off x="7513284" y="5739926"/>
            <a:ext cx="1039143" cy="269946"/>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ts val="1000"/>
              </a:lnSpc>
              <a:spcBef>
                <a:spcPts val="105"/>
              </a:spcBef>
              <a:spcAft>
                <a:spcPts val="0"/>
              </a:spcAft>
              <a:buClrTx/>
              <a:buSzTx/>
              <a:buFontTx/>
              <a:buNone/>
              <a:tabLst/>
              <a:defRPr/>
            </a:pPr>
            <a:r>
              <a:rPr kumimoji="0" lang="en-US"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20 </a:t>
            </a:r>
            <a:r>
              <a:rPr kumimoji="0" lang="en-US" sz="1000" b="1"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Offshore w/</a:t>
            </a:r>
            <a:r>
              <a:rPr kumimoji="0" lang="de-DE" sz="1000" b="0" i="0" u="none" strike="noStrike" kern="1200" cap="none" spc="0" normalizeH="0" baseline="0" noProof="0" dirty="0">
                <a:ln>
                  <a:noFill/>
                </a:ln>
                <a:solidFill>
                  <a:srgbClr val="D5D5D5"/>
                </a:solidFill>
                <a:effectLst/>
                <a:uLnTx/>
                <a:uFillTx/>
                <a:latin typeface="GE Inspira Sans" panose="020B0503060000000003" pitchFamily="34" charset="0"/>
                <a:ea typeface="+mn-ea"/>
                <a:cs typeface="GE Inspira Sans"/>
              </a:rPr>
              <a:t> blackstart battery</a:t>
            </a:r>
          </a:p>
        </p:txBody>
      </p:sp>
      <p:sp>
        <p:nvSpPr>
          <p:cNvPr id="213" name="Oval 4">
            <a:extLst>
              <a:ext uri="{FF2B5EF4-FFF2-40B4-BE49-F238E27FC236}">
                <a16:creationId xmlns:a16="http://schemas.microsoft.com/office/drawing/2014/main" id="{CFE9DAAF-E1C3-4AA5-A98A-27F2E599EB10}"/>
              </a:ext>
            </a:extLst>
          </p:cNvPr>
          <p:cNvSpPr/>
          <p:nvPr/>
        </p:nvSpPr>
        <p:spPr>
          <a:xfrm>
            <a:off x="2458997" y="2297220"/>
            <a:ext cx="1647685" cy="1300307"/>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 Inspira Sans"/>
              <a:ea typeface="+mn-ea"/>
              <a:cs typeface="+mn-cs"/>
            </a:endParaRPr>
          </a:p>
        </p:txBody>
      </p:sp>
      <p:sp>
        <p:nvSpPr>
          <p:cNvPr id="214" name="TextBox 2">
            <a:extLst>
              <a:ext uri="{FF2B5EF4-FFF2-40B4-BE49-F238E27FC236}">
                <a16:creationId xmlns:a16="http://schemas.microsoft.com/office/drawing/2014/main" id="{73348025-D879-4901-ADB9-DAA242D8EB47}"/>
              </a:ext>
            </a:extLst>
          </p:cNvPr>
          <p:cNvSpPr txBox="1"/>
          <p:nvPr/>
        </p:nvSpPr>
        <p:spPr>
          <a:xfrm>
            <a:off x="2798681" y="2374608"/>
            <a:ext cx="1018002" cy="184666"/>
          </a:xfrm>
          <a:custGeom>
            <a:avLst/>
            <a:gdLst>
              <a:gd name="connsiteX0" fmla="*/ 0 w 772647"/>
              <a:gd name="connsiteY0" fmla="*/ 0 h 215444"/>
              <a:gd name="connsiteX1" fmla="*/ 772647 w 772647"/>
              <a:gd name="connsiteY1" fmla="*/ 0 h 215444"/>
              <a:gd name="connsiteX2" fmla="*/ 772647 w 772647"/>
              <a:gd name="connsiteY2" fmla="*/ 215444 h 215444"/>
              <a:gd name="connsiteX3" fmla="*/ 0 w 772647"/>
              <a:gd name="connsiteY3" fmla="*/ 215444 h 215444"/>
              <a:gd name="connsiteX4" fmla="*/ 0 w 772647"/>
              <a:gd name="connsiteY4" fmla="*/ 0 h 215444"/>
              <a:gd name="connsiteX0" fmla="*/ 0 w 1079237"/>
              <a:gd name="connsiteY0" fmla="*/ 0 h 215444"/>
              <a:gd name="connsiteX1" fmla="*/ 772647 w 1079237"/>
              <a:gd name="connsiteY1" fmla="*/ 0 h 215444"/>
              <a:gd name="connsiteX2" fmla="*/ 772647 w 1079237"/>
              <a:gd name="connsiteY2" fmla="*/ 215444 h 215444"/>
              <a:gd name="connsiteX3" fmla="*/ 0 w 1079237"/>
              <a:gd name="connsiteY3" fmla="*/ 215444 h 215444"/>
              <a:gd name="connsiteX4" fmla="*/ 0 w 1079237"/>
              <a:gd name="connsiteY4" fmla="*/ 0 h 21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237" h="215444">
                <a:moveTo>
                  <a:pt x="0" y="0"/>
                </a:moveTo>
                <a:lnTo>
                  <a:pt x="772647" y="0"/>
                </a:lnTo>
                <a:cubicBezTo>
                  <a:pt x="1462475" y="181062"/>
                  <a:pt x="772647" y="143629"/>
                  <a:pt x="772647" y="215444"/>
                </a:cubicBezTo>
                <a:lnTo>
                  <a:pt x="0" y="215444"/>
                </a:lnTo>
                <a:lnTo>
                  <a:pt x="0" y="0"/>
                </a:lnTo>
                <a:close/>
              </a:path>
            </a:pathLst>
          </a:cu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B5E2"/>
                </a:solidFill>
                <a:effectLst/>
                <a:uLnTx/>
                <a:uFillTx/>
                <a:latin typeface="GE Inspira Sans"/>
                <a:ea typeface="+mn-ea"/>
                <a:cs typeface="+mn-cs"/>
              </a:rPr>
              <a:t>Dispatch</a:t>
            </a:r>
          </a:p>
        </p:txBody>
      </p:sp>
      <p:grpSp>
        <p:nvGrpSpPr>
          <p:cNvPr id="215" name="Group 114">
            <a:extLst>
              <a:ext uri="{FF2B5EF4-FFF2-40B4-BE49-F238E27FC236}">
                <a16:creationId xmlns:a16="http://schemas.microsoft.com/office/drawing/2014/main" id="{E06B2B13-2EF0-4217-9204-6ED184D45FDC}"/>
              </a:ext>
            </a:extLst>
          </p:cNvPr>
          <p:cNvGrpSpPr>
            <a:grpSpLocks noChangeAspect="1"/>
          </p:cNvGrpSpPr>
          <p:nvPr/>
        </p:nvGrpSpPr>
        <p:grpSpPr>
          <a:xfrm>
            <a:off x="2990861" y="2596546"/>
            <a:ext cx="639473" cy="645673"/>
            <a:chOff x="523876" y="4394200"/>
            <a:chExt cx="1158875" cy="1281560"/>
          </a:xfrm>
          <a:solidFill>
            <a:schemeClr val="bg1"/>
          </a:solidFill>
        </p:grpSpPr>
        <p:sp>
          <p:nvSpPr>
            <p:cNvPr id="216" name="Freeform 76">
              <a:extLst>
                <a:ext uri="{FF2B5EF4-FFF2-40B4-BE49-F238E27FC236}">
                  <a16:creationId xmlns:a16="http://schemas.microsoft.com/office/drawing/2014/main" id="{40A77FD8-0E84-4734-888C-376E2DD781F7}"/>
                </a:ext>
              </a:extLst>
            </p:cNvPr>
            <p:cNvSpPr>
              <a:spLocks/>
            </p:cNvSpPr>
            <p:nvPr/>
          </p:nvSpPr>
          <p:spPr bwMode="auto">
            <a:xfrm>
              <a:off x="523876" y="5169347"/>
              <a:ext cx="1150938" cy="506413"/>
            </a:xfrm>
            <a:custGeom>
              <a:avLst/>
              <a:gdLst>
                <a:gd name="T0" fmla="*/ 303 w 307"/>
                <a:gd name="T1" fmla="*/ 30 h 135"/>
                <a:gd name="T2" fmla="*/ 274 w 307"/>
                <a:gd name="T3" fmla="*/ 15 h 135"/>
                <a:gd name="T4" fmla="*/ 272 w 307"/>
                <a:gd name="T5" fmla="*/ 14 h 135"/>
                <a:gd name="T6" fmla="*/ 262 w 307"/>
                <a:gd name="T7" fmla="*/ 17 h 135"/>
                <a:gd name="T8" fmla="*/ 259 w 307"/>
                <a:gd name="T9" fmla="*/ 23 h 135"/>
                <a:gd name="T10" fmla="*/ 247 w 307"/>
                <a:gd name="T11" fmla="*/ 40 h 135"/>
                <a:gd name="T12" fmla="*/ 239 w 307"/>
                <a:gd name="T13" fmla="*/ 49 h 135"/>
                <a:gd name="T14" fmla="*/ 223 w 307"/>
                <a:gd name="T15" fmla="*/ 63 h 135"/>
                <a:gd name="T16" fmla="*/ 213 w 307"/>
                <a:gd name="T17" fmla="*/ 69 h 135"/>
                <a:gd name="T18" fmla="*/ 201 w 307"/>
                <a:gd name="T19" fmla="*/ 75 h 135"/>
                <a:gd name="T20" fmla="*/ 184 w 307"/>
                <a:gd name="T21" fmla="*/ 81 h 135"/>
                <a:gd name="T22" fmla="*/ 169 w 307"/>
                <a:gd name="T23" fmla="*/ 84 h 135"/>
                <a:gd name="T24" fmla="*/ 155 w 307"/>
                <a:gd name="T25" fmla="*/ 85 h 135"/>
                <a:gd name="T26" fmla="*/ 142 w 307"/>
                <a:gd name="T27" fmla="*/ 84 h 135"/>
                <a:gd name="T28" fmla="*/ 129 w 307"/>
                <a:gd name="T29" fmla="*/ 82 h 135"/>
                <a:gd name="T30" fmla="*/ 117 w 307"/>
                <a:gd name="T31" fmla="*/ 79 h 135"/>
                <a:gd name="T32" fmla="*/ 107 w 307"/>
                <a:gd name="T33" fmla="*/ 75 h 135"/>
                <a:gd name="T34" fmla="*/ 131 w 307"/>
                <a:gd name="T35" fmla="*/ 51 h 135"/>
                <a:gd name="T36" fmla="*/ 132 w 307"/>
                <a:gd name="T37" fmla="*/ 36 h 135"/>
                <a:gd name="T38" fmla="*/ 127 w 307"/>
                <a:gd name="T39" fmla="*/ 33 h 135"/>
                <a:gd name="T40" fmla="*/ 125 w 307"/>
                <a:gd name="T41" fmla="*/ 32 h 135"/>
                <a:gd name="T42" fmla="*/ 121 w 307"/>
                <a:gd name="T43" fmla="*/ 31 h 135"/>
                <a:gd name="T44" fmla="*/ 45 w 307"/>
                <a:gd name="T45" fmla="*/ 10 h 135"/>
                <a:gd name="T46" fmla="*/ 19 w 307"/>
                <a:gd name="T47" fmla="*/ 3 h 135"/>
                <a:gd name="T48" fmla="*/ 9 w 307"/>
                <a:gd name="T49" fmla="*/ 42 h 135"/>
                <a:gd name="T50" fmla="*/ 15 w 307"/>
                <a:gd name="T51" fmla="*/ 61 h 135"/>
                <a:gd name="T52" fmla="*/ 33 w 307"/>
                <a:gd name="T53" fmla="*/ 128 h 135"/>
                <a:gd name="T54" fmla="*/ 33 w 307"/>
                <a:gd name="T55" fmla="*/ 128 h 135"/>
                <a:gd name="T56" fmla="*/ 46 w 307"/>
                <a:gd name="T57" fmla="*/ 134 h 135"/>
                <a:gd name="T58" fmla="*/ 49 w 307"/>
                <a:gd name="T59" fmla="*/ 134 h 135"/>
                <a:gd name="T60" fmla="*/ 51 w 307"/>
                <a:gd name="T61" fmla="*/ 132 h 135"/>
                <a:gd name="T62" fmla="*/ 54 w 307"/>
                <a:gd name="T63" fmla="*/ 128 h 135"/>
                <a:gd name="T64" fmla="*/ 65 w 307"/>
                <a:gd name="T65" fmla="*/ 110 h 135"/>
                <a:gd name="T66" fmla="*/ 89 w 307"/>
                <a:gd name="T67" fmla="*/ 122 h 135"/>
                <a:gd name="T68" fmla="*/ 105 w 307"/>
                <a:gd name="T69" fmla="*/ 128 h 135"/>
                <a:gd name="T70" fmla="*/ 121 w 307"/>
                <a:gd name="T71" fmla="*/ 132 h 135"/>
                <a:gd name="T72" fmla="*/ 139 w 307"/>
                <a:gd name="T73" fmla="*/ 135 h 135"/>
                <a:gd name="T74" fmla="*/ 155 w 307"/>
                <a:gd name="T75" fmla="*/ 135 h 135"/>
                <a:gd name="T76" fmla="*/ 171 w 307"/>
                <a:gd name="T77" fmla="*/ 135 h 135"/>
                <a:gd name="T78" fmla="*/ 188 w 307"/>
                <a:gd name="T79" fmla="*/ 132 h 135"/>
                <a:gd name="T80" fmla="*/ 306 w 307"/>
                <a:gd name="T81" fmla="*/ 42 h 135"/>
                <a:gd name="T82" fmla="*/ 307 w 307"/>
                <a:gd name="T83" fmla="*/ 38 h 135"/>
                <a:gd name="T84" fmla="*/ 303 w 307"/>
                <a:gd name="T85" fmla="*/ 3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7" h="135">
                  <a:moveTo>
                    <a:pt x="303" y="30"/>
                  </a:moveTo>
                  <a:cubicBezTo>
                    <a:pt x="303" y="30"/>
                    <a:pt x="303" y="30"/>
                    <a:pt x="303" y="30"/>
                  </a:cubicBezTo>
                  <a:cubicBezTo>
                    <a:pt x="302" y="30"/>
                    <a:pt x="302" y="30"/>
                    <a:pt x="302" y="30"/>
                  </a:cubicBezTo>
                  <a:cubicBezTo>
                    <a:pt x="274" y="15"/>
                    <a:pt x="274" y="15"/>
                    <a:pt x="274" y="15"/>
                  </a:cubicBezTo>
                  <a:cubicBezTo>
                    <a:pt x="272" y="14"/>
                    <a:pt x="272" y="14"/>
                    <a:pt x="272" y="14"/>
                  </a:cubicBezTo>
                  <a:cubicBezTo>
                    <a:pt x="272" y="14"/>
                    <a:pt x="272" y="14"/>
                    <a:pt x="272" y="14"/>
                  </a:cubicBezTo>
                  <a:cubicBezTo>
                    <a:pt x="271" y="13"/>
                    <a:pt x="270" y="13"/>
                    <a:pt x="269" y="13"/>
                  </a:cubicBezTo>
                  <a:cubicBezTo>
                    <a:pt x="266" y="13"/>
                    <a:pt x="264" y="15"/>
                    <a:pt x="262" y="17"/>
                  </a:cubicBezTo>
                  <a:cubicBezTo>
                    <a:pt x="262" y="18"/>
                    <a:pt x="261" y="19"/>
                    <a:pt x="261" y="19"/>
                  </a:cubicBezTo>
                  <a:cubicBezTo>
                    <a:pt x="260" y="20"/>
                    <a:pt x="259" y="22"/>
                    <a:pt x="259" y="23"/>
                  </a:cubicBezTo>
                  <a:cubicBezTo>
                    <a:pt x="258" y="23"/>
                    <a:pt x="258" y="23"/>
                    <a:pt x="258" y="23"/>
                  </a:cubicBezTo>
                  <a:cubicBezTo>
                    <a:pt x="255" y="29"/>
                    <a:pt x="251" y="35"/>
                    <a:pt x="247" y="40"/>
                  </a:cubicBezTo>
                  <a:cubicBezTo>
                    <a:pt x="246" y="41"/>
                    <a:pt x="246" y="42"/>
                    <a:pt x="245" y="42"/>
                  </a:cubicBezTo>
                  <a:cubicBezTo>
                    <a:pt x="243" y="45"/>
                    <a:pt x="241" y="47"/>
                    <a:pt x="239" y="49"/>
                  </a:cubicBezTo>
                  <a:cubicBezTo>
                    <a:pt x="238" y="50"/>
                    <a:pt x="237" y="51"/>
                    <a:pt x="236" y="52"/>
                  </a:cubicBezTo>
                  <a:cubicBezTo>
                    <a:pt x="232" y="56"/>
                    <a:pt x="228" y="59"/>
                    <a:pt x="223" y="63"/>
                  </a:cubicBezTo>
                  <a:cubicBezTo>
                    <a:pt x="222" y="63"/>
                    <a:pt x="221" y="64"/>
                    <a:pt x="220" y="65"/>
                  </a:cubicBezTo>
                  <a:cubicBezTo>
                    <a:pt x="218" y="66"/>
                    <a:pt x="216" y="68"/>
                    <a:pt x="213" y="69"/>
                  </a:cubicBezTo>
                  <a:cubicBezTo>
                    <a:pt x="212" y="70"/>
                    <a:pt x="210" y="71"/>
                    <a:pt x="208" y="72"/>
                  </a:cubicBezTo>
                  <a:cubicBezTo>
                    <a:pt x="206" y="73"/>
                    <a:pt x="204" y="74"/>
                    <a:pt x="201" y="75"/>
                  </a:cubicBezTo>
                  <a:cubicBezTo>
                    <a:pt x="197" y="77"/>
                    <a:pt x="194" y="78"/>
                    <a:pt x="190" y="79"/>
                  </a:cubicBezTo>
                  <a:cubicBezTo>
                    <a:pt x="188" y="80"/>
                    <a:pt x="186" y="80"/>
                    <a:pt x="184" y="81"/>
                  </a:cubicBezTo>
                  <a:cubicBezTo>
                    <a:pt x="181" y="82"/>
                    <a:pt x="178" y="82"/>
                    <a:pt x="175" y="83"/>
                  </a:cubicBezTo>
                  <a:cubicBezTo>
                    <a:pt x="173" y="83"/>
                    <a:pt x="171" y="84"/>
                    <a:pt x="169" y="84"/>
                  </a:cubicBezTo>
                  <a:cubicBezTo>
                    <a:pt x="165" y="84"/>
                    <a:pt x="160" y="85"/>
                    <a:pt x="156" y="85"/>
                  </a:cubicBezTo>
                  <a:cubicBezTo>
                    <a:pt x="155" y="85"/>
                    <a:pt x="155" y="85"/>
                    <a:pt x="155" y="85"/>
                  </a:cubicBezTo>
                  <a:cubicBezTo>
                    <a:pt x="154" y="85"/>
                    <a:pt x="153" y="85"/>
                    <a:pt x="153" y="85"/>
                  </a:cubicBezTo>
                  <a:cubicBezTo>
                    <a:pt x="149" y="85"/>
                    <a:pt x="145" y="84"/>
                    <a:pt x="142" y="84"/>
                  </a:cubicBezTo>
                  <a:cubicBezTo>
                    <a:pt x="140" y="84"/>
                    <a:pt x="137" y="83"/>
                    <a:pt x="135" y="83"/>
                  </a:cubicBezTo>
                  <a:cubicBezTo>
                    <a:pt x="133" y="83"/>
                    <a:pt x="131" y="82"/>
                    <a:pt x="129" y="82"/>
                  </a:cubicBezTo>
                  <a:cubicBezTo>
                    <a:pt x="127" y="81"/>
                    <a:pt x="124" y="81"/>
                    <a:pt x="122" y="80"/>
                  </a:cubicBezTo>
                  <a:cubicBezTo>
                    <a:pt x="120" y="80"/>
                    <a:pt x="119" y="79"/>
                    <a:pt x="117" y="79"/>
                  </a:cubicBezTo>
                  <a:cubicBezTo>
                    <a:pt x="115" y="78"/>
                    <a:pt x="112" y="77"/>
                    <a:pt x="110" y="76"/>
                  </a:cubicBezTo>
                  <a:cubicBezTo>
                    <a:pt x="109" y="75"/>
                    <a:pt x="108" y="75"/>
                    <a:pt x="107" y="75"/>
                  </a:cubicBezTo>
                  <a:cubicBezTo>
                    <a:pt x="105" y="74"/>
                    <a:pt x="102" y="72"/>
                    <a:pt x="100" y="71"/>
                  </a:cubicBezTo>
                  <a:cubicBezTo>
                    <a:pt x="117" y="57"/>
                    <a:pt x="131" y="51"/>
                    <a:pt x="131" y="51"/>
                  </a:cubicBezTo>
                  <a:cubicBezTo>
                    <a:pt x="133" y="49"/>
                    <a:pt x="134" y="47"/>
                    <a:pt x="134" y="44"/>
                  </a:cubicBezTo>
                  <a:cubicBezTo>
                    <a:pt x="135" y="41"/>
                    <a:pt x="134" y="38"/>
                    <a:pt x="132" y="36"/>
                  </a:cubicBezTo>
                  <a:cubicBezTo>
                    <a:pt x="132" y="36"/>
                    <a:pt x="131" y="35"/>
                    <a:pt x="131" y="35"/>
                  </a:cubicBezTo>
                  <a:cubicBezTo>
                    <a:pt x="130" y="34"/>
                    <a:pt x="129" y="33"/>
                    <a:pt x="127" y="33"/>
                  </a:cubicBezTo>
                  <a:cubicBezTo>
                    <a:pt x="127" y="33"/>
                    <a:pt x="127" y="33"/>
                    <a:pt x="127" y="33"/>
                  </a:cubicBezTo>
                  <a:cubicBezTo>
                    <a:pt x="125" y="32"/>
                    <a:pt x="125" y="32"/>
                    <a:pt x="125" y="32"/>
                  </a:cubicBezTo>
                  <a:cubicBezTo>
                    <a:pt x="125" y="32"/>
                    <a:pt x="124" y="32"/>
                    <a:pt x="124" y="32"/>
                  </a:cubicBezTo>
                  <a:cubicBezTo>
                    <a:pt x="121" y="31"/>
                    <a:pt x="121" y="31"/>
                    <a:pt x="121" y="31"/>
                  </a:cubicBezTo>
                  <a:cubicBezTo>
                    <a:pt x="52" y="12"/>
                    <a:pt x="52" y="12"/>
                    <a:pt x="52" y="12"/>
                  </a:cubicBezTo>
                  <a:cubicBezTo>
                    <a:pt x="45" y="10"/>
                    <a:pt x="45" y="10"/>
                    <a:pt x="45" y="10"/>
                  </a:cubicBezTo>
                  <a:cubicBezTo>
                    <a:pt x="45" y="10"/>
                    <a:pt x="45" y="10"/>
                    <a:pt x="45" y="10"/>
                  </a:cubicBezTo>
                  <a:cubicBezTo>
                    <a:pt x="19" y="3"/>
                    <a:pt x="19" y="3"/>
                    <a:pt x="19" y="3"/>
                  </a:cubicBezTo>
                  <a:cubicBezTo>
                    <a:pt x="7" y="0"/>
                    <a:pt x="0" y="7"/>
                    <a:pt x="3" y="19"/>
                  </a:cubicBezTo>
                  <a:cubicBezTo>
                    <a:pt x="9" y="42"/>
                    <a:pt x="9" y="42"/>
                    <a:pt x="9" y="42"/>
                  </a:cubicBezTo>
                  <a:cubicBezTo>
                    <a:pt x="15" y="60"/>
                    <a:pt x="15" y="60"/>
                    <a:pt x="15" y="60"/>
                  </a:cubicBezTo>
                  <a:cubicBezTo>
                    <a:pt x="15" y="61"/>
                    <a:pt x="15" y="61"/>
                    <a:pt x="15" y="61"/>
                  </a:cubicBezTo>
                  <a:cubicBezTo>
                    <a:pt x="32" y="124"/>
                    <a:pt x="32" y="124"/>
                    <a:pt x="32" y="124"/>
                  </a:cubicBezTo>
                  <a:cubicBezTo>
                    <a:pt x="32" y="125"/>
                    <a:pt x="32" y="127"/>
                    <a:pt x="33" y="128"/>
                  </a:cubicBezTo>
                  <a:cubicBezTo>
                    <a:pt x="33" y="128"/>
                    <a:pt x="33" y="128"/>
                    <a:pt x="33" y="128"/>
                  </a:cubicBezTo>
                  <a:cubicBezTo>
                    <a:pt x="33" y="128"/>
                    <a:pt x="33" y="128"/>
                    <a:pt x="33" y="128"/>
                  </a:cubicBezTo>
                  <a:cubicBezTo>
                    <a:pt x="34" y="129"/>
                    <a:pt x="34" y="130"/>
                    <a:pt x="35" y="132"/>
                  </a:cubicBezTo>
                  <a:cubicBezTo>
                    <a:pt x="38" y="134"/>
                    <a:pt x="42" y="135"/>
                    <a:pt x="46" y="134"/>
                  </a:cubicBezTo>
                  <a:cubicBezTo>
                    <a:pt x="46" y="134"/>
                    <a:pt x="46" y="134"/>
                    <a:pt x="46" y="134"/>
                  </a:cubicBezTo>
                  <a:cubicBezTo>
                    <a:pt x="47" y="134"/>
                    <a:pt x="48" y="134"/>
                    <a:pt x="49" y="134"/>
                  </a:cubicBezTo>
                  <a:cubicBezTo>
                    <a:pt x="49" y="133"/>
                    <a:pt x="49" y="133"/>
                    <a:pt x="49" y="133"/>
                  </a:cubicBezTo>
                  <a:cubicBezTo>
                    <a:pt x="50" y="133"/>
                    <a:pt x="51" y="132"/>
                    <a:pt x="51" y="132"/>
                  </a:cubicBezTo>
                  <a:cubicBezTo>
                    <a:pt x="52" y="131"/>
                    <a:pt x="52" y="131"/>
                    <a:pt x="52" y="131"/>
                  </a:cubicBezTo>
                  <a:cubicBezTo>
                    <a:pt x="53" y="130"/>
                    <a:pt x="54" y="129"/>
                    <a:pt x="54" y="128"/>
                  </a:cubicBezTo>
                  <a:cubicBezTo>
                    <a:pt x="55" y="126"/>
                    <a:pt x="55" y="126"/>
                    <a:pt x="54" y="127"/>
                  </a:cubicBezTo>
                  <a:cubicBezTo>
                    <a:pt x="55" y="126"/>
                    <a:pt x="59" y="119"/>
                    <a:pt x="65" y="110"/>
                  </a:cubicBezTo>
                  <a:cubicBezTo>
                    <a:pt x="72" y="114"/>
                    <a:pt x="80" y="118"/>
                    <a:pt x="88" y="122"/>
                  </a:cubicBezTo>
                  <a:cubicBezTo>
                    <a:pt x="89" y="122"/>
                    <a:pt x="89" y="122"/>
                    <a:pt x="89" y="122"/>
                  </a:cubicBezTo>
                  <a:cubicBezTo>
                    <a:pt x="94" y="124"/>
                    <a:pt x="99" y="126"/>
                    <a:pt x="103" y="127"/>
                  </a:cubicBezTo>
                  <a:cubicBezTo>
                    <a:pt x="104" y="128"/>
                    <a:pt x="104" y="128"/>
                    <a:pt x="105" y="128"/>
                  </a:cubicBezTo>
                  <a:cubicBezTo>
                    <a:pt x="110" y="129"/>
                    <a:pt x="115" y="131"/>
                    <a:pt x="121" y="132"/>
                  </a:cubicBezTo>
                  <a:cubicBezTo>
                    <a:pt x="121" y="132"/>
                    <a:pt x="121" y="132"/>
                    <a:pt x="121" y="132"/>
                  </a:cubicBezTo>
                  <a:cubicBezTo>
                    <a:pt x="126" y="133"/>
                    <a:pt x="131" y="134"/>
                    <a:pt x="136" y="134"/>
                  </a:cubicBezTo>
                  <a:cubicBezTo>
                    <a:pt x="137" y="134"/>
                    <a:pt x="138" y="135"/>
                    <a:pt x="139" y="135"/>
                  </a:cubicBezTo>
                  <a:cubicBezTo>
                    <a:pt x="144" y="135"/>
                    <a:pt x="149" y="135"/>
                    <a:pt x="155" y="135"/>
                  </a:cubicBezTo>
                  <a:cubicBezTo>
                    <a:pt x="155" y="135"/>
                    <a:pt x="155" y="135"/>
                    <a:pt x="155" y="135"/>
                  </a:cubicBezTo>
                  <a:cubicBezTo>
                    <a:pt x="155" y="135"/>
                    <a:pt x="155" y="135"/>
                    <a:pt x="155" y="135"/>
                  </a:cubicBezTo>
                  <a:cubicBezTo>
                    <a:pt x="160" y="135"/>
                    <a:pt x="165" y="135"/>
                    <a:pt x="171" y="135"/>
                  </a:cubicBezTo>
                  <a:cubicBezTo>
                    <a:pt x="172" y="135"/>
                    <a:pt x="172" y="134"/>
                    <a:pt x="173" y="134"/>
                  </a:cubicBezTo>
                  <a:cubicBezTo>
                    <a:pt x="178" y="134"/>
                    <a:pt x="183" y="133"/>
                    <a:pt x="188" y="132"/>
                  </a:cubicBezTo>
                  <a:cubicBezTo>
                    <a:pt x="188" y="132"/>
                    <a:pt x="189" y="132"/>
                    <a:pt x="189" y="132"/>
                  </a:cubicBezTo>
                  <a:cubicBezTo>
                    <a:pt x="240" y="122"/>
                    <a:pt x="283" y="88"/>
                    <a:pt x="306" y="42"/>
                  </a:cubicBezTo>
                  <a:cubicBezTo>
                    <a:pt x="306" y="42"/>
                    <a:pt x="307" y="41"/>
                    <a:pt x="307" y="40"/>
                  </a:cubicBezTo>
                  <a:cubicBezTo>
                    <a:pt x="307" y="40"/>
                    <a:pt x="307" y="39"/>
                    <a:pt x="307" y="38"/>
                  </a:cubicBezTo>
                  <a:cubicBezTo>
                    <a:pt x="307" y="38"/>
                    <a:pt x="307" y="38"/>
                    <a:pt x="307" y="37"/>
                  </a:cubicBezTo>
                  <a:cubicBezTo>
                    <a:pt x="307" y="34"/>
                    <a:pt x="306" y="31"/>
                    <a:pt x="303" y="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217" name="Freeform 77">
              <a:extLst>
                <a:ext uri="{FF2B5EF4-FFF2-40B4-BE49-F238E27FC236}">
                  <a16:creationId xmlns:a16="http://schemas.microsoft.com/office/drawing/2014/main" id="{B0759FAF-C764-464E-8169-B46D229298AA}"/>
                </a:ext>
              </a:extLst>
            </p:cNvPr>
            <p:cNvSpPr>
              <a:spLocks/>
            </p:cNvSpPr>
            <p:nvPr/>
          </p:nvSpPr>
          <p:spPr bwMode="auto">
            <a:xfrm>
              <a:off x="531813" y="4394200"/>
              <a:ext cx="1150938" cy="506413"/>
            </a:xfrm>
            <a:custGeom>
              <a:avLst/>
              <a:gdLst>
                <a:gd name="T0" fmla="*/ 5 w 307"/>
                <a:gd name="T1" fmla="*/ 106 h 135"/>
                <a:gd name="T2" fmla="*/ 35 w 307"/>
                <a:gd name="T3" fmla="*/ 121 h 135"/>
                <a:gd name="T4" fmla="*/ 45 w 307"/>
                <a:gd name="T5" fmla="*/ 118 h 135"/>
                <a:gd name="T6" fmla="*/ 49 w 307"/>
                <a:gd name="T7" fmla="*/ 112 h 135"/>
                <a:gd name="T8" fmla="*/ 60 w 307"/>
                <a:gd name="T9" fmla="*/ 95 h 135"/>
                <a:gd name="T10" fmla="*/ 68 w 307"/>
                <a:gd name="T11" fmla="*/ 86 h 135"/>
                <a:gd name="T12" fmla="*/ 84 w 307"/>
                <a:gd name="T13" fmla="*/ 72 h 135"/>
                <a:gd name="T14" fmla="*/ 94 w 307"/>
                <a:gd name="T15" fmla="*/ 66 h 135"/>
                <a:gd name="T16" fmla="*/ 106 w 307"/>
                <a:gd name="T17" fmla="*/ 60 h 135"/>
                <a:gd name="T18" fmla="*/ 123 w 307"/>
                <a:gd name="T19" fmla="*/ 54 h 135"/>
                <a:gd name="T20" fmla="*/ 138 w 307"/>
                <a:gd name="T21" fmla="*/ 51 h 135"/>
                <a:gd name="T22" fmla="*/ 153 w 307"/>
                <a:gd name="T23" fmla="*/ 50 h 135"/>
                <a:gd name="T24" fmla="*/ 166 w 307"/>
                <a:gd name="T25" fmla="*/ 51 h 135"/>
                <a:gd name="T26" fmla="*/ 178 w 307"/>
                <a:gd name="T27" fmla="*/ 53 h 135"/>
                <a:gd name="T28" fmla="*/ 190 w 307"/>
                <a:gd name="T29" fmla="*/ 57 h 135"/>
                <a:gd name="T30" fmla="*/ 201 w 307"/>
                <a:gd name="T31" fmla="*/ 61 h 135"/>
                <a:gd name="T32" fmla="*/ 176 w 307"/>
                <a:gd name="T33" fmla="*/ 84 h 135"/>
                <a:gd name="T34" fmla="*/ 175 w 307"/>
                <a:gd name="T35" fmla="*/ 99 h 135"/>
                <a:gd name="T36" fmla="*/ 180 w 307"/>
                <a:gd name="T37" fmla="*/ 102 h 135"/>
                <a:gd name="T38" fmla="*/ 182 w 307"/>
                <a:gd name="T39" fmla="*/ 103 h 135"/>
                <a:gd name="T40" fmla="*/ 187 w 307"/>
                <a:gd name="T41" fmla="*/ 104 h 135"/>
                <a:gd name="T42" fmla="*/ 262 w 307"/>
                <a:gd name="T43" fmla="*/ 125 h 135"/>
                <a:gd name="T44" fmla="*/ 289 w 307"/>
                <a:gd name="T45" fmla="*/ 132 h 135"/>
                <a:gd name="T46" fmla="*/ 298 w 307"/>
                <a:gd name="T47" fmla="*/ 93 h 135"/>
                <a:gd name="T48" fmla="*/ 293 w 307"/>
                <a:gd name="T49" fmla="*/ 74 h 135"/>
                <a:gd name="T50" fmla="*/ 274 w 307"/>
                <a:gd name="T51" fmla="*/ 7 h 135"/>
                <a:gd name="T52" fmla="*/ 274 w 307"/>
                <a:gd name="T53" fmla="*/ 7 h 135"/>
                <a:gd name="T54" fmla="*/ 261 w 307"/>
                <a:gd name="T55" fmla="*/ 1 h 135"/>
                <a:gd name="T56" fmla="*/ 259 w 307"/>
                <a:gd name="T57" fmla="*/ 2 h 135"/>
                <a:gd name="T58" fmla="*/ 256 w 307"/>
                <a:gd name="T59" fmla="*/ 4 h 135"/>
                <a:gd name="T60" fmla="*/ 253 w 307"/>
                <a:gd name="T61" fmla="*/ 7 h 135"/>
                <a:gd name="T62" fmla="*/ 242 w 307"/>
                <a:gd name="T63" fmla="*/ 25 h 135"/>
                <a:gd name="T64" fmla="*/ 219 w 307"/>
                <a:gd name="T65" fmla="*/ 13 h 135"/>
                <a:gd name="T66" fmla="*/ 204 w 307"/>
                <a:gd name="T67" fmla="*/ 8 h 135"/>
                <a:gd name="T68" fmla="*/ 187 w 307"/>
                <a:gd name="T69" fmla="*/ 3 h 135"/>
                <a:gd name="T70" fmla="*/ 171 w 307"/>
                <a:gd name="T71" fmla="*/ 1 h 135"/>
                <a:gd name="T72" fmla="*/ 153 w 307"/>
                <a:gd name="T73" fmla="*/ 0 h 135"/>
                <a:gd name="T74" fmla="*/ 153 w 307"/>
                <a:gd name="T75" fmla="*/ 0 h 135"/>
                <a:gd name="T76" fmla="*/ 134 w 307"/>
                <a:gd name="T77" fmla="*/ 1 h 135"/>
                <a:gd name="T78" fmla="*/ 119 w 307"/>
                <a:gd name="T79" fmla="*/ 3 h 135"/>
                <a:gd name="T80" fmla="*/ 1 w 307"/>
                <a:gd name="T81" fmla="*/ 95 h 135"/>
                <a:gd name="T82" fmla="*/ 0 w 307"/>
                <a:gd name="T83"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7" h="135">
                  <a:moveTo>
                    <a:pt x="5" y="105"/>
                  </a:moveTo>
                  <a:cubicBezTo>
                    <a:pt x="5" y="105"/>
                    <a:pt x="5" y="106"/>
                    <a:pt x="5" y="106"/>
                  </a:cubicBezTo>
                  <a:cubicBezTo>
                    <a:pt x="34" y="121"/>
                    <a:pt x="34" y="121"/>
                    <a:pt x="34" y="121"/>
                  </a:cubicBezTo>
                  <a:cubicBezTo>
                    <a:pt x="35" y="121"/>
                    <a:pt x="35" y="121"/>
                    <a:pt x="35" y="121"/>
                  </a:cubicBezTo>
                  <a:cubicBezTo>
                    <a:pt x="36" y="122"/>
                    <a:pt x="37" y="122"/>
                    <a:pt x="38" y="122"/>
                  </a:cubicBezTo>
                  <a:cubicBezTo>
                    <a:pt x="41" y="122"/>
                    <a:pt x="44" y="121"/>
                    <a:pt x="45" y="118"/>
                  </a:cubicBezTo>
                  <a:cubicBezTo>
                    <a:pt x="46" y="118"/>
                    <a:pt x="46" y="117"/>
                    <a:pt x="47" y="116"/>
                  </a:cubicBezTo>
                  <a:cubicBezTo>
                    <a:pt x="47" y="115"/>
                    <a:pt x="48" y="114"/>
                    <a:pt x="49" y="112"/>
                  </a:cubicBezTo>
                  <a:cubicBezTo>
                    <a:pt x="49" y="112"/>
                    <a:pt x="49" y="112"/>
                    <a:pt x="49" y="112"/>
                  </a:cubicBezTo>
                  <a:cubicBezTo>
                    <a:pt x="52" y="106"/>
                    <a:pt x="56" y="100"/>
                    <a:pt x="60" y="95"/>
                  </a:cubicBezTo>
                  <a:cubicBezTo>
                    <a:pt x="61" y="94"/>
                    <a:pt x="61" y="94"/>
                    <a:pt x="62" y="93"/>
                  </a:cubicBezTo>
                  <a:cubicBezTo>
                    <a:pt x="64" y="90"/>
                    <a:pt x="66" y="88"/>
                    <a:pt x="68" y="86"/>
                  </a:cubicBezTo>
                  <a:cubicBezTo>
                    <a:pt x="69" y="85"/>
                    <a:pt x="70" y="84"/>
                    <a:pt x="71" y="83"/>
                  </a:cubicBezTo>
                  <a:cubicBezTo>
                    <a:pt x="75" y="79"/>
                    <a:pt x="80" y="76"/>
                    <a:pt x="84" y="72"/>
                  </a:cubicBezTo>
                  <a:cubicBezTo>
                    <a:pt x="85" y="72"/>
                    <a:pt x="86" y="71"/>
                    <a:pt x="87" y="70"/>
                  </a:cubicBezTo>
                  <a:cubicBezTo>
                    <a:pt x="89" y="69"/>
                    <a:pt x="92" y="67"/>
                    <a:pt x="94" y="66"/>
                  </a:cubicBezTo>
                  <a:cubicBezTo>
                    <a:pt x="96" y="65"/>
                    <a:pt x="98" y="64"/>
                    <a:pt x="99" y="63"/>
                  </a:cubicBezTo>
                  <a:cubicBezTo>
                    <a:pt x="102" y="62"/>
                    <a:pt x="104" y="61"/>
                    <a:pt x="106" y="60"/>
                  </a:cubicBezTo>
                  <a:cubicBezTo>
                    <a:pt x="110" y="58"/>
                    <a:pt x="114" y="57"/>
                    <a:pt x="118" y="56"/>
                  </a:cubicBezTo>
                  <a:cubicBezTo>
                    <a:pt x="120" y="55"/>
                    <a:pt x="122" y="55"/>
                    <a:pt x="123" y="54"/>
                  </a:cubicBezTo>
                  <a:cubicBezTo>
                    <a:pt x="126" y="53"/>
                    <a:pt x="129" y="53"/>
                    <a:pt x="132" y="52"/>
                  </a:cubicBezTo>
                  <a:cubicBezTo>
                    <a:pt x="134" y="52"/>
                    <a:pt x="136" y="52"/>
                    <a:pt x="138" y="51"/>
                  </a:cubicBezTo>
                  <a:cubicBezTo>
                    <a:pt x="142" y="51"/>
                    <a:pt x="147" y="50"/>
                    <a:pt x="152" y="50"/>
                  </a:cubicBezTo>
                  <a:cubicBezTo>
                    <a:pt x="152" y="50"/>
                    <a:pt x="152" y="50"/>
                    <a:pt x="153" y="50"/>
                  </a:cubicBezTo>
                  <a:cubicBezTo>
                    <a:pt x="153" y="50"/>
                    <a:pt x="154" y="50"/>
                    <a:pt x="155" y="50"/>
                  </a:cubicBezTo>
                  <a:cubicBezTo>
                    <a:pt x="158" y="50"/>
                    <a:pt x="162" y="51"/>
                    <a:pt x="166" y="51"/>
                  </a:cubicBezTo>
                  <a:cubicBezTo>
                    <a:pt x="168" y="51"/>
                    <a:pt x="170" y="52"/>
                    <a:pt x="172" y="52"/>
                  </a:cubicBezTo>
                  <a:cubicBezTo>
                    <a:pt x="174" y="52"/>
                    <a:pt x="176" y="53"/>
                    <a:pt x="178" y="53"/>
                  </a:cubicBezTo>
                  <a:cubicBezTo>
                    <a:pt x="181" y="54"/>
                    <a:pt x="183" y="54"/>
                    <a:pt x="185" y="55"/>
                  </a:cubicBezTo>
                  <a:cubicBezTo>
                    <a:pt x="187" y="55"/>
                    <a:pt x="189" y="56"/>
                    <a:pt x="190" y="57"/>
                  </a:cubicBezTo>
                  <a:cubicBezTo>
                    <a:pt x="193" y="57"/>
                    <a:pt x="195" y="58"/>
                    <a:pt x="198" y="59"/>
                  </a:cubicBezTo>
                  <a:cubicBezTo>
                    <a:pt x="199" y="60"/>
                    <a:pt x="200" y="60"/>
                    <a:pt x="201" y="61"/>
                  </a:cubicBezTo>
                  <a:cubicBezTo>
                    <a:pt x="203" y="62"/>
                    <a:pt x="205" y="63"/>
                    <a:pt x="207" y="64"/>
                  </a:cubicBezTo>
                  <a:cubicBezTo>
                    <a:pt x="190" y="78"/>
                    <a:pt x="176" y="84"/>
                    <a:pt x="176" y="84"/>
                  </a:cubicBezTo>
                  <a:cubicBezTo>
                    <a:pt x="174" y="86"/>
                    <a:pt x="173" y="88"/>
                    <a:pt x="173" y="91"/>
                  </a:cubicBezTo>
                  <a:cubicBezTo>
                    <a:pt x="173" y="94"/>
                    <a:pt x="173" y="97"/>
                    <a:pt x="175" y="99"/>
                  </a:cubicBezTo>
                  <a:cubicBezTo>
                    <a:pt x="176" y="99"/>
                    <a:pt x="176" y="100"/>
                    <a:pt x="176" y="100"/>
                  </a:cubicBezTo>
                  <a:cubicBezTo>
                    <a:pt x="177" y="101"/>
                    <a:pt x="179" y="102"/>
                    <a:pt x="180" y="102"/>
                  </a:cubicBezTo>
                  <a:cubicBezTo>
                    <a:pt x="180" y="103"/>
                    <a:pt x="180" y="103"/>
                    <a:pt x="180" y="103"/>
                  </a:cubicBezTo>
                  <a:cubicBezTo>
                    <a:pt x="182" y="103"/>
                    <a:pt x="182" y="103"/>
                    <a:pt x="182" y="103"/>
                  </a:cubicBezTo>
                  <a:cubicBezTo>
                    <a:pt x="183" y="103"/>
                    <a:pt x="183" y="103"/>
                    <a:pt x="183" y="104"/>
                  </a:cubicBezTo>
                  <a:cubicBezTo>
                    <a:pt x="187" y="104"/>
                    <a:pt x="187" y="104"/>
                    <a:pt x="187" y="104"/>
                  </a:cubicBezTo>
                  <a:cubicBezTo>
                    <a:pt x="255" y="123"/>
                    <a:pt x="255" y="123"/>
                    <a:pt x="255" y="123"/>
                  </a:cubicBezTo>
                  <a:cubicBezTo>
                    <a:pt x="262" y="125"/>
                    <a:pt x="262" y="125"/>
                    <a:pt x="262" y="125"/>
                  </a:cubicBezTo>
                  <a:cubicBezTo>
                    <a:pt x="263" y="125"/>
                    <a:pt x="263" y="125"/>
                    <a:pt x="263" y="125"/>
                  </a:cubicBezTo>
                  <a:cubicBezTo>
                    <a:pt x="289" y="132"/>
                    <a:pt x="289" y="132"/>
                    <a:pt x="289" y="132"/>
                  </a:cubicBezTo>
                  <a:cubicBezTo>
                    <a:pt x="300" y="135"/>
                    <a:pt x="307" y="128"/>
                    <a:pt x="304" y="116"/>
                  </a:cubicBezTo>
                  <a:cubicBezTo>
                    <a:pt x="298" y="93"/>
                    <a:pt x="298" y="93"/>
                    <a:pt x="298" y="93"/>
                  </a:cubicBezTo>
                  <a:cubicBezTo>
                    <a:pt x="293" y="75"/>
                    <a:pt x="293" y="75"/>
                    <a:pt x="293" y="75"/>
                  </a:cubicBezTo>
                  <a:cubicBezTo>
                    <a:pt x="293" y="74"/>
                    <a:pt x="293" y="74"/>
                    <a:pt x="293" y="74"/>
                  </a:cubicBezTo>
                  <a:cubicBezTo>
                    <a:pt x="276" y="11"/>
                    <a:pt x="276" y="11"/>
                    <a:pt x="276" y="11"/>
                  </a:cubicBezTo>
                  <a:cubicBezTo>
                    <a:pt x="275" y="10"/>
                    <a:pt x="275" y="8"/>
                    <a:pt x="274" y="7"/>
                  </a:cubicBezTo>
                  <a:cubicBezTo>
                    <a:pt x="274" y="7"/>
                    <a:pt x="274" y="7"/>
                    <a:pt x="274" y="7"/>
                  </a:cubicBezTo>
                  <a:cubicBezTo>
                    <a:pt x="274" y="7"/>
                    <a:pt x="274" y="7"/>
                    <a:pt x="274" y="7"/>
                  </a:cubicBezTo>
                  <a:cubicBezTo>
                    <a:pt x="274" y="6"/>
                    <a:pt x="273" y="5"/>
                    <a:pt x="272" y="4"/>
                  </a:cubicBezTo>
                  <a:cubicBezTo>
                    <a:pt x="269" y="1"/>
                    <a:pt x="265" y="0"/>
                    <a:pt x="261" y="1"/>
                  </a:cubicBezTo>
                  <a:cubicBezTo>
                    <a:pt x="261" y="1"/>
                    <a:pt x="261" y="1"/>
                    <a:pt x="261" y="1"/>
                  </a:cubicBezTo>
                  <a:cubicBezTo>
                    <a:pt x="260" y="1"/>
                    <a:pt x="259" y="1"/>
                    <a:pt x="259" y="2"/>
                  </a:cubicBezTo>
                  <a:cubicBezTo>
                    <a:pt x="259" y="2"/>
                    <a:pt x="258" y="2"/>
                    <a:pt x="258" y="2"/>
                  </a:cubicBezTo>
                  <a:cubicBezTo>
                    <a:pt x="257" y="2"/>
                    <a:pt x="257" y="3"/>
                    <a:pt x="256" y="4"/>
                  </a:cubicBezTo>
                  <a:cubicBezTo>
                    <a:pt x="256" y="4"/>
                    <a:pt x="255" y="4"/>
                    <a:pt x="255" y="5"/>
                  </a:cubicBezTo>
                  <a:cubicBezTo>
                    <a:pt x="254" y="5"/>
                    <a:pt x="254" y="6"/>
                    <a:pt x="253" y="7"/>
                  </a:cubicBezTo>
                  <a:cubicBezTo>
                    <a:pt x="253" y="9"/>
                    <a:pt x="253" y="9"/>
                    <a:pt x="253" y="9"/>
                  </a:cubicBezTo>
                  <a:cubicBezTo>
                    <a:pt x="252" y="10"/>
                    <a:pt x="248" y="17"/>
                    <a:pt x="242" y="25"/>
                  </a:cubicBezTo>
                  <a:cubicBezTo>
                    <a:pt x="239" y="23"/>
                    <a:pt x="236" y="22"/>
                    <a:pt x="233" y="20"/>
                  </a:cubicBezTo>
                  <a:cubicBezTo>
                    <a:pt x="229" y="18"/>
                    <a:pt x="224" y="15"/>
                    <a:pt x="219" y="13"/>
                  </a:cubicBezTo>
                  <a:cubicBezTo>
                    <a:pt x="219" y="13"/>
                    <a:pt x="218" y="13"/>
                    <a:pt x="218" y="13"/>
                  </a:cubicBezTo>
                  <a:cubicBezTo>
                    <a:pt x="214" y="11"/>
                    <a:pt x="209" y="9"/>
                    <a:pt x="204" y="8"/>
                  </a:cubicBezTo>
                  <a:cubicBezTo>
                    <a:pt x="204" y="8"/>
                    <a:pt x="203" y="7"/>
                    <a:pt x="203" y="7"/>
                  </a:cubicBezTo>
                  <a:cubicBezTo>
                    <a:pt x="197" y="6"/>
                    <a:pt x="192" y="4"/>
                    <a:pt x="187" y="3"/>
                  </a:cubicBezTo>
                  <a:cubicBezTo>
                    <a:pt x="187" y="3"/>
                    <a:pt x="186" y="3"/>
                    <a:pt x="186" y="3"/>
                  </a:cubicBezTo>
                  <a:cubicBezTo>
                    <a:pt x="181" y="2"/>
                    <a:pt x="176" y="1"/>
                    <a:pt x="171" y="1"/>
                  </a:cubicBezTo>
                  <a:cubicBezTo>
                    <a:pt x="170" y="1"/>
                    <a:pt x="169" y="1"/>
                    <a:pt x="169" y="0"/>
                  </a:cubicBezTo>
                  <a:cubicBezTo>
                    <a:pt x="163" y="0"/>
                    <a:pt x="158" y="0"/>
                    <a:pt x="153" y="0"/>
                  </a:cubicBezTo>
                  <a:cubicBezTo>
                    <a:pt x="153" y="0"/>
                    <a:pt x="153" y="0"/>
                    <a:pt x="153" y="0"/>
                  </a:cubicBezTo>
                  <a:cubicBezTo>
                    <a:pt x="153" y="0"/>
                    <a:pt x="153" y="0"/>
                    <a:pt x="153" y="0"/>
                  </a:cubicBezTo>
                  <a:cubicBezTo>
                    <a:pt x="147" y="0"/>
                    <a:pt x="142" y="0"/>
                    <a:pt x="137" y="0"/>
                  </a:cubicBezTo>
                  <a:cubicBezTo>
                    <a:pt x="136" y="1"/>
                    <a:pt x="135" y="1"/>
                    <a:pt x="134" y="1"/>
                  </a:cubicBezTo>
                  <a:cubicBezTo>
                    <a:pt x="129" y="1"/>
                    <a:pt x="124" y="2"/>
                    <a:pt x="119" y="3"/>
                  </a:cubicBezTo>
                  <a:cubicBezTo>
                    <a:pt x="119" y="3"/>
                    <a:pt x="119" y="3"/>
                    <a:pt x="119" y="3"/>
                  </a:cubicBezTo>
                  <a:cubicBezTo>
                    <a:pt x="68" y="14"/>
                    <a:pt x="25" y="47"/>
                    <a:pt x="2" y="93"/>
                  </a:cubicBezTo>
                  <a:cubicBezTo>
                    <a:pt x="1" y="94"/>
                    <a:pt x="1" y="94"/>
                    <a:pt x="1" y="95"/>
                  </a:cubicBezTo>
                  <a:cubicBezTo>
                    <a:pt x="0" y="96"/>
                    <a:pt x="0" y="96"/>
                    <a:pt x="0" y="97"/>
                  </a:cubicBezTo>
                  <a:cubicBezTo>
                    <a:pt x="0" y="97"/>
                    <a:pt x="0" y="97"/>
                    <a:pt x="0" y="98"/>
                  </a:cubicBezTo>
                  <a:cubicBezTo>
                    <a:pt x="0" y="101"/>
                    <a:pt x="2" y="104"/>
                    <a:pt x="5" y="10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grpSp>
      <p:sp>
        <p:nvSpPr>
          <p:cNvPr id="218" name="TextBox 122">
            <a:extLst>
              <a:ext uri="{FF2B5EF4-FFF2-40B4-BE49-F238E27FC236}">
                <a16:creationId xmlns:a16="http://schemas.microsoft.com/office/drawing/2014/main" id="{D1C7475B-06B1-451F-90D7-C740209EDBF3}"/>
              </a:ext>
            </a:extLst>
          </p:cNvPr>
          <p:cNvSpPr txBox="1"/>
          <p:nvPr/>
        </p:nvSpPr>
        <p:spPr>
          <a:xfrm>
            <a:off x="3221830" y="3236026"/>
            <a:ext cx="1018002" cy="184666"/>
          </a:xfrm>
          <a:custGeom>
            <a:avLst/>
            <a:gdLst>
              <a:gd name="connsiteX0" fmla="*/ 0 w 772647"/>
              <a:gd name="connsiteY0" fmla="*/ 0 h 215444"/>
              <a:gd name="connsiteX1" fmla="*/ 772647 w 772647"/>
              <a:gd name="connsiteY1" fmla="*/ 0 h 215444"/>
              <a:gd name="connsiteX2" fmla="*/ 772647 w 772647"/>
              <a:gd name="connsiteY2" fmla="*/ 215444 h 215444"/>
              <a:gd name="connsiteX3" fmla="*/ 0 w 772647"/>
              <a:gd name="connsiteY3" fmla="*/ 215444 h 215444"/>
              <a:gd name="connsiteX4" fmla="*/ 0 w 772647"/>
              <a:gd name="connsiteY4" fmla="*/ 0 h 215444"/>
              <a:gd name="connsiteX0" fmla="*/ 0 w 1079237"/>
              <a:gd name="connsiteY0" fmla="*/ 0 h 215444"/>
              <a:gd name="connsiteX1" fmla="*/ 772647 w 1079237"/>
              <a:gd name="connsiteY1" fmla="*/ 0 h 215444"/>
              <a:gd name="connsiteX2" fmla="*/ 772647 w 1079237"/>
              <a:gd name="connsiteY2" fmla="*/ 215444 h 215444"/>
              <a:gd name="connsiteX3" fmla="*/ 0 w 1079237"/>
              <a:gd name="connsiteY3" fmla="*/ 215444 h 215444"/>
              <a:gd name="connsiteX4" fmla="*/ 0 w 1079237"/>
              <a:gd name="connsiteY4" fmla="*/ 0 h 21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237" h="215444">
                <a:moveTo>
                  <a:pt x="0" y="0"/>
                </a:moveTo>
                <a:lnTo>
                  <a:pt x="772647" y="0"/>
                </a:lnTo>
                <a:cubicBezTo>
                  <a:pt x="1462475" y="181062"/>
                  <a:pt x="772647" y="143629"/>
                  <a:pt x="772647" y="215444"/>
                </a:cubicBezTo>
                <a:lnTo>
                  <a:pt x="0" y="215444"/>
                </a:lnTo>
                <a:lnTo>
                  <a:pt x="0" y="0"/>
                </a:lnTo>
                <a:close/>
              </a:path>
            </a:pathLst>
          </a:cu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B5E2"/>
                </a:solidFill>
                <a:effectLst/>
                <a:uLnTx/>
                <a:uFillTx/>
                <a:latin typeface="GE Inspira Sans"/>
                <a:ea typeface="+mn-ea"/>
                <a:cs typeface="+mn-cs"/>
              </a:rPr>
              <a:t>Gas supply</a:t>
            </a:r>
          </a:p>
        </p:txBody>
      </p:sp>
      <p:sp>
        <p:nvSpPr>
          <p:cNvPr id="219" name="TextBox 123">
            <a:extLst>
              <a:ext uri="{FF2B5EF4-FFF2-40B4-BE49-F238E27FC236}">
                <a16:creationId xmlns:a16="http://schemas.microsoft.com/office/drawing/2014/main" id="{3FCBCC22-E9FC-4099-AB74-699BBB5B3FA8}"/>
              </a:ext>
            </a:extLst>
          </p:cNvPr>
          <p:cNvSpPr txBox="1"/>
          <p:nvPr/>
        </p:nvSpPr>
        <p:spPr>
          <a:xfrm>
            <a:off x="3574956" y="2627531"/>
            <a:ext cx="1018002" cy="184666"/>
          </a:xfrm>
          <a:custGeom>
            <a:avLst/>
            <a:gdLst>
              <a:gd name="connsiteX0" fmla="*/ 0 w 772647"/>
              <a:gd name="connsiteY0" fmla="*/ 0 h 215444"/>
              <a:gd name="connsiteX1" fmla="*/ 772647 w 772647"/>
              <a:gd name="connsiteY1" fmla="*/ 0 h 215444"/>
              <a:gd name="connsiteX2" fmla="*/ 772647 w 772647"/>
              <a:gd name="connsiteY2" fmla="*/ 215444 h 215444"/>
              <a:gd name="connsiteX3" fmla="*/ 0 w 772647"/>
              <a:gd name="connsiteY3" fmla="*/ 215444 h 215444"/>
              <a:gd name="connsiteX4" fmla="*/ 0 w 772647"/>
              <a:gd name="connsiteY4" fmla="*/ 0 h 215444"/>
              <a:gd name="connsiteX0" fmla="*/ 0 w 1079237"/>
              <a:gd name="connsiteY0" fmla="*/ 0 h 215444"/>
              <a:gd name="connsiteX1" fmla="*/ 772647 w 1079237"/>
              <a:gd name="connsiteY1" fmla="*/ 0 h 215444"/>
              <a:gd name="connsiteX2" fmla="*/ 772647 w 1079237"/>
              <a:gd name="connsiteY2" fmla="*/ 215444 h 215444"/>
              <a:gd name="connsiteX3" fmla="*/ 0 w 1079237"/>
              <a:gd name="connsiteY3" fmla="*/ 215444 h 215444"/>
              <a:gd name="connsiteX4" fmla="*/ 0 w 1079237"/>
              <a:gd name="connsiteY4" fmla="*/ 0 h 21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237" h="215444">
                <a:moveTo>
                  <a:pt x="0" y="0"/>
                </a:moveTo>
                <a:lnTo>
                  <a:pt x="772647" y="0"/>
                </a:lnTo>
                <a:cubicBezTo>
                  <a:pt x="1462475" y="181062"/>
                  <a:pt x="772647" y="143629"/>
                  <a:pt x="772647" y="215444"/>
                </a:cubicBezTo>
                <a:lnTo>
                  <a:pt x="0" y="215444"/>
                </a:lnTo>
                <a:lnTo>
                  <a:pt x="0" y="0"/>
                </a:lnTo>
                <a:close/>
              </a:path>
            </a:pathLst>
          </a:cu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B5E2"/>
                </a:solidFill>
                <a:effectLst/>
                <a:uLnTx/>
                <a:uFillTx/>
                <a:latin typeface="GE Inspira Sans"/>
                <a:ea typeface="+mn-ea"/>
                <a:cs typeface="+mn-cs"/>
              </a:rPr>
              <a:t>Power flow</a:t>
            </a:r>
          </a:p>
        </p:txBody>
      </p:sp>
      <p:sp>
        <p:nvSpPr>
          <p:cNvPr id="220" name="TextBox 129">
            <a:extLst>
              <a:ext uri="{FF2B5EF4-FFF2-40B4-BE49-F238E27FC236}">
                <a16:creationId xmlns:a16="http://schemas.microsoft.com/office/drawing/2014/main" id="{38674F91-2D3C-42BA-A4D6-E2CB553D9765}"/>
              </a:ext>
            </a:extLst>
          </p:cNvPr>
          <p:cNvSpPr txBox="1"/>
          <p:nvPr/>
        </p:nvSpPr>
        <p:spPr>
          <a:xfrm>
            <a:off x="2197575" y="3133131"/>
            <a:ext cx="1018002" cy="184666"/>
          </a:xfrm>
          <a:custGeom>
            <a:avLst/>
            <a:gdLst>
              <a:gd name="connsiteX0" fmla="*/ 0 w 772647"/>
              <a:gd name="connsiteY0" fmla="*/ 0 h 215444"/>
              <a:gd name="connsiteX1" fmla="*/ 772647 w 772647"/>
              <a:gd name="connsiteY1" fmla="*/ 0 h 215444"/>
              <a:gd name="connsiteX2" fmla="*/ 772647 w 772647"/>
              <a:gd name="connsiteY2" fmla="*/ 215444 h 215444"/>
              <a:gd name="connsiteX3" fmla="*/ 0 w 772647"/>
              <a:gd name="connsiteY3" fmla="*/ 215444 h 215444"/>
              <a:gd name="connsiteX4" fmla="*/ 0 w 772647"/>
              <a:gd name="connsiteY4" fmla="*/ 0 h 215444"/>
              <a:gd name="connsiteX0" fmla="*/ 0 w 1079237"/>
              <a:gd name="connsiteY0" fmla="*/ 0 h 215444"/>
              <a:gd name="connsiteX1" fmla="*/ 772647 w 1079237"/>
              <a:gd name="connsiteY1" fmla="*/ 0 h 215444"/>
              <a:gd name="connsiteX2" fmla="*/ 772647 w 1079237"/>
              <a:gd name="connsiteY2" fmla="*/ 215444 h 215444"/>
              <a:gd name="connsiteX3" fmla="*/ 0 w 1079237"/>
              <a:gd name="connsiteY3" fmla="*/ 215444 h 215444"/>
              <a:gd name="connsiteX4" fmla="*/ 0 w 1079237"/>
              <a:gd name="connsiteY4" fmla="*/ 0 h 21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237" h="215444">
                <a:moveTo>
                  <a:pt x="0" y="0"/>
                </a:moveTo>
                <a:lnTo>
                  <a:pt x="772647" y="0"/>
                </a:lnTo>
                <a:cubicBezTo>
                  <a:pt x="1462475" y="181062"/>
                  <a:pt x="772647" y="143629"/>
                  <a:pt x="772647" y="215444"/>
                </a:cubicBezTo>
                <a:lnTo>
                  <a:pt x="0" y="215444"/>
                </a:lnTo>
                <a:lnTo>
                  <a:pt x="0" y="0"/>
                </a:lnTo>
                <a:close/>
              </a:path>
            </a:pathLst>
          </a:cu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B5E2"/>
                </a:solidFill>
                <a:effectLst/>
                <a:uLnTx/>
                <a:uFillTx/>
                <a:latin typeface="GE Inspira Sans"/>
                <a:ea typeface="+mn-ea"/>
                <a:cs typeface="+mn-cs"/>
              </a:rPr>
              <a:t>Adequacy</a:t>
            </a:r>
          </a:p>
        </p:txBody>
      </p:sp>
      <p:sp>
        <p:nvSpPr>
          <p:cNvPr id="221" name="TextBox 138">
            <a:extLst>
              <a:ext uri="{FF2B5EF4-FFF2-40B4-BE49-F238E27FC236}">
                <a16:creationId xmlns:a16="http://schemas.microsoft.com/office/drawing/2014/main" id="{1D203095-E5F6-4D9F-8312-B483AEC0AF21}"/>
              </a:ext>
            </a:extLst>
          </p:cNvPr>
          <p:cNvSpPr txBox="1"/>
          <p:nvPr/>
        </p:nvSpPr>
        <p:spPr>
          <a:xfrm>
            <a:off x="2105257" y="2595401"/>
            <a:ext cx="1018002" cy="184666"/>
          </a:xfrm>
          <a:custGeom>
            <a:avLst/>
            <a:gdLst>
              <a:gd name="connsiteX0" fmla="*/ 0 w 772647"/>
              <a:gd name="connsiteY0" fmla="*/ 0 h 215444"/>
              <a:gd name="connsiteX1" fmla="*/ 772647 w 772647"/>
              <a:gd name="connsiteY1" fmla="*/ 0 h 215444"/>
              <a:gd name="connsiteX2" fmla="*/ 772647 w 772647"/>
              <a:gd name="connsiteY2" fmla="*/ 215444 h 215444"/>
              <a:gd name="connsiteX3" fmla="*/ 0 w 772647"/>
              <a:gd name="connsiteY3" fmla="*/ 215444 h 215444"/>
              <a:gd name="connsiteX4" fmla="*/ 0 w 772647"/>
              <a:gd name="connsiteY4" fmla="*/ 0 h 215444"/>
              <a:gd name="connsiteX0" fmla="*/ 0 w 1079237"/>
              <a:gd name="connsiteY0" fmla="*/ 0 h 215444"/>
              <a:gd name="connsiteX1" fmla="*/ 772647 w 1079237"/>
              <a:gd name="connsiteY1" fmla="*/ 0 h 215444"/>
              <a:gd name="connsiteX2" fmla="*/ 772647 w 1079237"/>
              <a:gd name="connsiteY2" fmla="*/ 215444 h 215444"/>
              <a:gd name="connsiteX3" fmla="*/ 0 w 1079237"/>
              <a:gd name="connsiteY3" fmla="*/ 215444 h 215444"/>
              <a:gd name="connsiteX4" fmla="*/ 0 w 1079237"/>
              <a:gd name="connsiteY4" fmla="*/ 0 h 21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237" h="215444">
                <a:moveTo>
                  <a:pt x="0" y="0"/>
                </a:moveTo>
                <a:lnTo>
                  <a:pt x="772647" y="0"/>
                </a:lnTo>
                <a:cubicBezTo>
                  <a:pt x="1462475" y="181062"/>
                  <a:pt x="772647" y="143629"/>
                  <a:pt x="772647" y="215444"/>
                </a:cubicBezTo>
                <a:lnTo>
                  <a:pt x="0" y="215444"/>
                </a:lnTo>
                <a:lnTo>
                  <a:pt x="0" y="0"/>
                </a:lnTo>
                <a:close/>
              </a:path>
            </a:pathLst>
          </a:cu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B5E2"/>
                </a:solidFill>
                <a:effectLst/>
                <a:uLnTx/>
                <a:uFillTx/>
                <a:latin typeface="GE Inspira Sans"/>
                <a:ea typeface="+mn-ea"/>
                <a:cs typeface="+mn-cs"/>
              </a:rPr>
              <a:t>Expansion</a:t>
            </a:r>
          </a:p>
        </p:txBody>
      </p:sp>
      <p:sp>
        <p:nvSpPr>
          <p:cNvPr id="222" name="Oval 139">
            <a:extLst>
              <a:ext uri="{FF2B5EF4-FFF2-40B4-BE49-F238E27FC236}">
                <a16:creationId xmlns:a16="http://schemas.microsoft.com/office/drawing/2014/main" id="{0ECD4557-07BB-4015-A20F-759609048C3E}"/>
              </a:ext>
            </a:extLst>
          </p:cNvPr>
          <p:cNvSpPr/>
          <p:nvPr/>
        </p:nvSpPr>
        <p:spPr>
          <a:xfrm>
            <a:off x="3329122" y="4328930"/>
            <a:ext cx="1508626" cy="1232567"/>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 Inspira Sans"/>
              <a:ea typeface="+mn-ea"/>
              <a:cs typeface="+mn-cs"/>
            </a:endParaRPr>
          </a:p>
        </p:txBody>
      </p:sp>
      <p:sp>
        <p:nvSpPr>
          <p:cNvPr id="223" name="TextBox 133">
            <a:extLst>
              <a:ext uri="{FF2B5EF4-FFF2-40B4-BE49-F238E27FC236}">
                <a16:creationId xmlns:a16="http://schemas.microsoft.com/office/drawing/2014/main" id="{7BE96B83-63CA-4E8D-9A80-6FE47340742D}"/>
              </a:ext>
            </a:extLst>
          </p:cNvPr>
          <p:cNvSpPr txBox="1"/>
          <p:nvPr/>
        </p:nvSpPr>
        <p:spPr>
          <a:xfrm>
            <a:off x="3599390" y="4425487"/>
            <a:ext cx="1018002" cy="184666"/>
          </a:xfrm>
          <a:custGeom>
            <a:avLst/>
            <a:gdLst>
              <a:gd name="connsiteX0" fmla="*/ 0 w 772647"/>
              <a:gd name="connsiteY0" fmla="*/ 0 h 215444"/>
              <a:gd name="connsiteX1" fmla="*/ 772647 w 772647"/>
              <a:gd name="connsiteY1" fmla="*/ 0 h 215444"/>
              <a:gd name="connsiteX2" fmla="*/ 772647 w 772647"/>
              <a:gd name="connsiteY2" fmla="*/ 215444 h 215444"/>
              <a:gd name="connsiteX3" fmla="*/ 0 w 772647"/>
              <a:gd name="connsiteY3" fmla="*/ 215444 h 215444"/>
              <a:gd name="connsiteX4" fmla="*/ 0 w 772647"/>
              <a:gd name="connsiteY4" fmla="*/ 0 h 215444"/>
              <a:gd name="connsiteX0" fmla="*/ 0 w 1079237"/>
              <a:gd name="connsiteY0" fmla="*/ 0 h 215444"/>
              <a:gd name="connsiteX1" fmla="*/ 772647 w 1079237"/>
              <a:gd name="connsiteY1" fmla="*/ 0 h 215444"/>
              <a:gd name="connsiteX2" fmla="*/ 772647 w 1079237"/>
              <a:gd name="connsiteY2" fmla="*/ 215444 h 215444"/>
              <a:gd name="connsiteX3" fmla="*/ 0 w 1079237"/>
              <a:gd name="connsiteY3" fmla="*/ 215444 h 215444"/>
              <a:gd name="connsiteX4" fmla="*/ 0 w 1079237"/>
              <a:gd name="connsiteY4" fmla="*/ 0 h 21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237" h="215444">
                <a:moveTo>
                  <a:pt x="0" y="0"/>
                </a:moveTo>
                <a:lnTo>
                  <a:pt x="772647" y="0"/>
                </a:lnTo>
                <a:cubicBezTo>
                  <a:pt x="1462475" y="181062"/>
                  <a:pt x="772647" y="143629"/>
                  <a:pt x="772647" y="215444"/>
                </a:cubicBezTo>
                <a:lnTo>
                  <a:pt x="0" y="215444"/>
                </a:lnTo>
                <a:lnTo>
                  <a:pt x="0" y="0"/>
                </a:lnTo>
                <a:close/>
              </a:path>
            </a:pathLst>
          </a:cu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B5E2"/>
                </a:solidFill>
                <a:effectLst/>
                <a:uLnTx/>
                <a:uFillTx/>
                <a:latin typeface="GE Inspira Sans"/>
                <a:ea typeface="+mn-ea"/>
                <a:cs typeface="+mn-cs"/>
              </a:rPr>
              <a:t>Power flow</a:t>
            </a:r>
          </a:p>
        </p:txBody>
      </p:sp>
      <p:grpSp>
        <p:nvGrpSpPr>
          <p:cNvPr id="224" name="Group 134">
            <a:extLst>
              <a:ext uri="{FF2B5EF4-FFF2-40B4-BE49-F238E27FC236}">
                <a16:creationId xmlns:a16="http://schemas.microsoft.com/office/drawing/2014/main" id="{E3B54457-4E09-4719-A5C6-ECE4B131C552}"/>
              </a:ext>
            </a:extLst>
          </p:cNvPr>
          <p:cNvGrpSpPr>
            <a:grpSpLocks noChangeAspect="1"/>
          </p:cNvGrpSpPr>
          <p:nvPr/>
        </p:nvGrpSpPr>
        <p:grpSpPr>
          <a:xfrm>
            <a:off x="3798824" y="4660764"/>
            <a:ext cx="564908" cy="570385"/>
            <a:chOff x="523876" y="4394200"/>
            <a:chExt cx="1158875" cy="1281560"/>
          </a:xfrm>
          <a:solidFill>
            <a:schemeClr val="bg1"/>
          </a:solidFill>
        </p:grpSpPr>
        <p:sp>
          <p:nvSpPr>
            <p:cNvPr id="225" name="Freeform 76">
              <a:extLst>
                <a:ext uri="{FF2B5EF4-FFF2-40B4-BE49-F238E27FC236}">
                  <a16:creationId xmlns:a16="http://schemas.microsoft.com/office/drawing/2014/main" id="{D2FEFEB0-15FB-4144-A767-4D345D49E9D0}"/>
                </a:ext>
              </a:extLst>
            </p:cNvPr>
            <p:cNvSpPr>
              <a:spLocks/>
            </p:cNvSpPr>
            <p:nvPr/>
          </p:nvSpPr>
          <p:spPr bwMode="auto">
            <a:xfrm>
              <a:off x="523876" y="5169347"/>
              <a:ext cx="1150938" cy="506413"/>
            </a:xfrm>
            <a:custGeom>
              <a:avLst/>
              <a:gdLst>
                <a:gd name="T0" fmla="*/ 303 w 307"/>
                <a:gd name="T1" fmla="*/ 30 h 135"/>
                <a:gd name="T2" fmla="*/ 274 w 307"/>
                <a:gd name="T3" fmla="*/ 15 h 135"/>
                <a:gd name="T4" fmla="*/ 272 w 307"/>
                <a:gd name="T5" fmla="*/ 14 h 135"/>
                <a:gd name="T6" fmla="*/ 262 w 307"/>
                <a:gd name="T7" fmla="*/ 17 h 135"/>
                <a:gd name="T8" fmla="*/ 259 w 307"/>
                <a:gd name="T9" fmla="*/ 23 h 135"/>
                <a:gd name="T10" fmla="*/ 247 w 307"/>
                <a:gd name="T11" fmla="*/ 40 h 135"/>
                <a:gd name="T12" fmla="*/ 239 w 307"/>
                <a:gd name="T13" fmla="*/ 49 h 135"/>
                <a:gd name="T14" fmla="*/ 223 w 307"/>
                <a:gd name="T15" fmla="*/ 63 h 135"/>
                <a:gd name="T16" fmla="*/ 213 w 307"/>
                <a:gd name="T17" fmla="*/ 69 h 135"/>
                <a:gd name="T18" fmla="*/ 201 w 307"/>
                <a:gd name="T19" fmla="*/ 75 h 135"/>
                <a:gd name="T20" fmla="*/ 184 w 307"/>
                <a:gd name="T21" fmla="*/ 81 h 135"/>
                <a:gd name="T22" fmla="*/ 169 w 307"/>
                <a:gd name="T23" fmla="*/ 84 h 135"/>
                <a:gd name="T24" fmla="*/ 155 w 307"/>
                <a:gd name="T25" fmla="*/ 85 h 135"/>
                <a:gd name="T26" fmla="*/ 142 w 307"/>
                <a:gd name="T27" fmla="*/ 84 h 135"/>
                <a:gd name="T28" fmla="*/ 129 w 307"/>
                <a:gd name="T29" fmla="*/ 82 h 135"/>
                <a:gd name="T30" fmla="*/ 117 w 307"/>
                <a:gd name="T31" fmla="*/ 79 h 135"/>
                <a:gd name="T32" fmla="*/ 107 w 307"/>
                <a:gd name="T33" fmla="*/ 75 h 135"/>
                <a:gd name="T34" fmla="*/ 131 w 307"/>
                <a:gd name="T35" fmla="*/ 51 h 135"/>
                <a:gd name="T36" fmla="*/ 132 w 307"/>
                <a:gd name="T37" fmla="*/ 36 h 135"/>
                <a:gd name="T38" fmla="*/ 127 w 307"/>
                <a:gd name="T39" fmla="*/ 33 h 135"/>
                <a:gd name="T40" fmla="*/ 125 w 307"/>
                <a:gd name="T41" fmla="*/ 32 h 135"/>
                <a:gd name="T42" fmla="*/ 121 w 307"/>
                <a:gd name="T43" fmla="*/ 31 h 135"/>
                <a:gd name="T44" fmla="*/ 45 w 307"/>
                <a:gd name="T45" fmla="*/ 10 h 135"/>
                <a:gd name="T46" fmla="*/ 19 w 307"/>
                <a:gd name="T47" fmla="*/ 3 h 135"/>
                <a:gd name="T48" fmla="*/ 9 w 307"/>
                <a:gd name="T49" fmla="*/ 42 h 135"/>
                <a:gd name="T50" fmla="*/ 15 w 307"/>
                <a:gd name="T51" fmla="*/ 61 h 135"/>
                <a:gd name="T52" fmla="*/ 33 w 307"/>
                <a:gd name="T53" fmla="*/ 128 h 135"/>
                <a:gd name="T54" fmla="*/ 33 w 307"/>
                <a:gd name="T55" fmla="*/ 128 h 135"/>
                <a:gd name="T56" fmla="*/ 46 w 307"/>
                <a:gd name="T57" fmla="*/ 134 h 135"/>
                <a:gd name="T58" fmla="*/ 49 w 307"/>
                <a:gd name="T59" fmla="*/ 134 h 135"/>
                <a:gd name="T60" fmla="*/ 51 w 307"/>
                <a:gd name="T61" fmla="*/ 132 h 135"/>
                <a:gd name="T62" fmla="*/ 54 w 307"/>
                <a:gd name="T63" fmla="*/ 128 h 135"/>
                <a:gd name="T64" fmla="*/ 65 w 307"/>
                <a:gd name="T65" fmla="*/ 110 h 135"/>
                <a:gd name="T66" fmla="*/ 89 w 307"/>
                <a:gd name="T67" fmla="*/ 122 h 135"/>
                <a:gd name="T68" fmla="*/ 105 w 307"/>
                <a:gd name="T69" fmla="*/ 128 h 135"/>
                <a:gd name="T70" fmla="*/ 121 w 307"/>
                <a:gd name="T71" fmla="*/ 132 h 135"/>
                <a:gd name="T72" fmla="*/ 139 w 307"/>
                <a:gd name="T73" fmla="*/ 135 h 135"/>
                <a:gd name="T74" fmla="*/ 155 w 307"/>
                <a:gd name="T75" fmla="*/ 135 h 135"/>
                <a:gd name="T76" fmla="*/ 171 w 307"/>
                <a:gd name="T77" fmla="*/ 135 h 135"/>
                <a:gd name="T78" fmla="*/ 188 w 307"/>
                <a:gd name="T79" fmla="*/ 132 h 135"/>
                <a:gd name="T80" fmla="*/ 306 w 307"/>
                <a:gd name="T81" fmla="*/ 42 h 135"/>
                <a:gd name="T82" fmla="*/ 307 w 307"/>
                <a:gd name="T83" fmla="*/ 38 h 135"/>
                <a:gd name="T84" fmla="*/ 303 w 307"/>
                <a:gd name="T85" fmla="*/ 3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7" h="135">
                  <a:moveTo>
                    <a:pt x="303" y="30"/>
                  </a:moveTo>
                  <a:cubicBezTo>
                    <a:pt x="303" y="30"/>
                    <a:pt x="303" y="30"/>
                    <a:pt x="303" y="30"/>
                  </a:cubicBezTo>
                  <a:cubicBezTo>
                    <a:pt x="302" y="30"/>
                    <a:pt x="302" y="30"/>
                    <a:pt x="302" y="30"/>
                  </a:cubicBezTo>
                  <a:cubicBezTo>
                    <a:pt x="274" y="15"/>
                    <a:pt x="274" y="15"/>
                    <a:pt x="274" y="15"/>
                  </a:cubicBezTo>
                  <a:cubicBezTo>
                    <a:pt x="272" y="14"/>
                    <a:pt x="272" y="14"/>
                    <a:pt x="272" y="14"/>
                  </a:cubicBezTo>
                  <a:cubicBezTo>
                    <a:pt x="272" y="14"/>
                    <a:pt x="272" y="14"/>
                    <a:pt x="272" y="14"/>
                  </a:cubicBezTo>
                  <a:cubicBezTo>
                    <a:pt x="271" y="13"/>
                    <a:pt x="270" y="13"/>
                    <a:pt x="269" y="13"/>
                  </a:cubicBezTo>
                  <a:cubicBezTo>
                    <a:pt x="266" y="13"/>
                    <a:pt x="264" y="15"/>
                    <a:pt x="262" y="17"/>
                  </a:cubicBezTo>
                  <a:cubicBezTo>
                    <a:pt x="262" y="18"/>
                    <a:pt x="261" y="19"/>
                    <a:pt x="261" y="19"/>
                  </a:cubicBezTo>
                  <a:cubicBezTo>
                    <a:pt x="260" y="20"/>
                    <a:pt x="259" y="22"/>
                    <a:pt x="259" y="23"/>
                  </a:cubicBezTo>
                  <a:cubicBezTo>
                    <a:pt x="258" y="23"/>
                    <a:pt x="258" y="23"/>
                    <a:pt x="258" y="23"/>
                  </a:cubicBezTo>
                  <a:cubicBezTo>
                    <a:pt x="255" y="29"/>
                    <a:pt x="251" y="35"/>
                    <a:pt x="247" y="40"/>
                  </a:cubicBezTo>
                  <a:cubicBezTo>
                    <a:pt x="246" y="41"/>
                    <a:pt x="246" y="42"/>
                    <a:pt x="245" y="42"/>
                  </a:cubicBezTo>
                  <a:cubicBezTo>
                    <a:pt x="243" y="45"/>
                    <a:pt x="241" y="47"/>
                    <a:pt x="239" y="49"/>
                  </a:cubicBezTo>
                  <a:cubicBezTo>
                    <a:pt x="238" y="50"/>
                    <a:pt x="237" y="51"/>
                    <a:pt x="236" y="52"/>
                  </a:cubicBezTo>
                  <a:cubicBezTo>
                    <a:pt x="232" y="56"/>
                    <a:pt x="228" y="59"/>
                    <a:pt x="223" y="63"/>
                  </a:cubicBezTo>
                  <a:cubicBezTo>
                    <a:pt x="222" y="63"/>
                    <a:pt x="221" y="64"/>
                    <a:pt x="220" y="65"/>
                  </a:cubicBezTo>
                  <a:cubicBezTo>
                    <a:pt x="218" y="66"/>
                    <a:pt x="216" y="68"/>
                    <a:pt x="213" y="69"/>
                  </a:cubicBezTo>
                  <a:cubicBezTo>
                    <a:pt x="212" y="70"/>
                    <a:pt x="210" y="71"/>
                    <a:pt x="208" y="72"/>
                  </a:cubicBezTo>
                  <a:cubicBezTo>
                    <a:pt x="206" y="73"/>
                    <a:pt x="204" y="74"/>
                    <a:pt x="201" y="75"/>
                  </a:cubicBezTo>
                  <a:cubicBezTo>
                    <a:pt x="197" y="77"/>
                    <a:pt x="194" y="78"/>
                    <a:pt x="190" y="79"/>
                  </a:cubicBezTo>
                  <a:cubicBezTo>
                    <a:pt x="188" y="80"/>
                    <a:pt x="186" y="80"/>
                    <a:pt x="184" y="81"/>
                  </a:cubicBezTo>
                  <a:cubicBezTo>
                    <a:pt x="181" y="82"/>
                    <a:pt x="178" y="82"/>
                    <a:pt x="175" y="83"/>
                  </a:cubicBezTo>
                  <a:cubicBezTo>
                    <a:pt x="173" y="83"/>
                    <a:pt x="171" y="84"/>
                    <a:pt x="169" y="84"/>
                  </a:cubicBezTo>
                  <a:cubicBezTo>
                    <a:pt x="165" y="84"/>
                    <a:pt x="160" y="85"/>
                    <a:pt x="156" y="85"/>
                  </a:cubicBezTo>
                  <a:cubicBezTo>
                    <a:pt x="155" y="85"/>
                    <a:pt x="155" y="85"/>
                    <a:pt x="155" y="85"/>
                  </a:cubicBezTo>
                  <a:cubicBezTo>
                    <a:pt x="154" y="85"/>
                    <a:pt x="153" y="85"/>
                    <a:pt x="153" y="85"/>
                  </a:cubicBezTo>
                  <a:cubicBezTo>
                    <a:pt x="149" y="85"/>
                    <a:pt x="145" y="84"/>
                    <a:pt x="142" y="84"/>
                  </a:cubicBezTo>
                  <a:cubicBezTo>
                    <a:pt x="140" y="84"/>
                    <a:pt x="137" y="83"/>
                    <a:pt x="135" y="83"/>
                  </a:cubicBezTo>
                  <a:cubicBezTo>
                    <a:pt x="133" y="83"/>
                    <a:pt x="131" y="82"/>
                    <a:pt x="129" y="82"/>
                  </a:cubicBezTo>
                  <a:cubicBezTo>
                    <a:pt x="127" y="81"/>
                    <a:pt x="124" y="81"/>
                    <a:pt x="122" y="80"/>
                  </a:cubicBezTo>
                  <a:cubicBezTo>
                    <a:pt x="120" y="80"/>
                    <a:pt x="119" y="79"/>
                    <a:pt x="117" y="79"/>
                  </a:cubicBezTo>
                  <a:cubicBezTo>
                    <a:pt x="115" y="78"/>
                    <a:pt x="112" y="77"/>
                    <a:pt x="110" y="76"/>
                  </a:cubicBezTo>
                  <a:cubicBezTo>
                    <a:pt x="109" y="75"/>
                    <a:pt x="108" y="75"/>
                    <a:pt x="107" y="75"/>
                  </a:cubicBezTo>
                  <a:cubicBezTo>
                    <a:pt x="105" y="74"/>
                    <a:pt x="102" y="72"/>
                    <a:pt x="100" y="71"/>
                  </a:cubicBezTo>
                  <a:cubicBezTo>
                    <a:pt x="117" y="57"/>
                    <a:pt x="131" y="51"/>
                    <a:pt x="131" y="51"/>
                  </a:cubicBezTo>
                  <a:cubicBezTo>
                    <a:pt x="133" y="49"/>
                    <a:pt x="134" y="47"/>
                    <a:pt x="134" y="44"/>
                  </a:cubicBezTo>
                  <a:cubicBezTo>
                    <a:pt x="135" y="41"/>
                    <a:pt x="134" y="38"/>
                    <a:pt x="132" y="36"/>
                  </a:cubicBezTo>
                  <a:cubicBezTo>
                    <a:pt x="132" y="36"/>
                    <a:pt x="131" y="35"/>
                    <a:pt x="131" y="35"/>
                  </a:cubicBezTo>
                  <a:cubicBezTo>
                    <a:pt x="130" y="34"/>
                    <a:pt x="129" y="33"/>
                    <a:pt x="127" y="33"/>
                  </a:cubicBezTo>
                  <a:cubicBezTo>
                    <a:pt x="127" y="33"/>
                    <a:pt x="127" y="33"/>
                    <a:pt x="127" y="33"/>
                  </a:cubicBezTo>
                  <a:cubicBezTo>
                    <a:pt x="125" y="32"/>
                    <a:pt x="125" y="32"/>
                    <a:pt x="125" y="32"/>
                  </a:cubicBezTo>
                  <a:cubicBezTo>
                    <a:pt x="125" y="32"/>
                    <a:pt x="124" y="32"/>
                    <a:pt x="124" y="32"/>
                  </a:cubicBezTo>
                  <a:cubicBezTo>
                    <a:pt x="121" y="31"/>
                    <a:pt x="121" y="31"/>
                    <a:pt x="121" y="31"/>
                  </a:cubicBezTo>
                  <a:cubicBezTo>
                    <a:pt x="52" y="12"/>
                    <a:pt x="52" y="12"/>
                    <a:pt x="52" y="12"/>
                  </a:cubicBezTo>
                  <a:cubicBezTo>
                    <a:pt x="45" y="10"/>
                    <a:pt x="45" y="10"/>
                    <a:pt x="45" y="10"/>
                  </a:cubicBezTo>
                  <a:cubicBezTo>
                    <a:pt x="45" y="10"/>
                    <a:pt x="45" y="10"/>
                    <a:pt x="45" y="10"/>
                  </a:cubicBezTo>
                  <a:cubicBezTo>
                    <a:pt x="19" y="3"/>
                    <a:pt x="19" y="3"/>
                    <a:pt x="19" y="3"/>
                  </a:cubicBezTo>
                  <a:cubicBezTo>
                    <a:pt x="7" y="0"/>
                    <a:pt x="0" y="7"/>
                    <a:pt x="3" y="19"/>
                  </a:cubicBezTo>
                  <a:cubicBezTo>
                    <a:pt x="9" y="42"/>
                    <a:pt x="9" y="42"/>
                    <a:pt x="9" y="42"/>
                  </a:cubicBezTo>
                  <a:cubicBezTo>
                    <a:pt x="15" y="60"/>
                    <a:pt x="15" y="60"/>
                    <a:pt x="15" y="60"/>
                  </a:cubicBezTo>
                  <a:cubicBezTo>
                    <a:pt x="15" y="61"/>
                    <a:pt x="15" y="61"/>
                    <a:pt x="15" y="61"/>
                  </a:cubicBezTo>
                  <a:cubicBezTo>
                    <a:pt x="32" y="124"/>
                    <a:pt x="32" y="124"/>
                    <a:pt x="32" y="124"/>
                  </a:cubicBezTo>
                  <a:cubicBezTo>
                    <a:pt x="32" y="125"/>
                    <a:pt x="32" y="127"/>
                    <a:pt x="33" y="128"/>
                  </a:cubicBezTo>
                  <a:cubicBezTo>
                    <a:pt x="33" y="128"/>
                    <a:pt x="33" y="128"/>
                    <a:pt x="33" y="128"/>
                  </a:cubicBezTo>
                  <a:cubicBezTo>
                    <a:pt x="33" y="128"/>
                    <a:pt x="33" y="128"/>
                    <a:pt x="33" y="128"/>
                  </a:cubicBezTo>
                  <a:cubicBezTo>
                    <a:pt x="34" y="129"/>
                    <a:pt x="34" y="130"/>
                    <a:pt x="35" y="132"/>
                  </a:cubicBezTo>
                  <a:cubicBezTo>
                    <a:pt x="38" y="134"/>
                    <a:pt x="42" y="135"/>
                    <a:pt x="46" y="134"/>
                  </a:cubicBezTo>
                  <a:cubicBezTo>
                    <a:pt x="46" y="134"/>
                    <a:pt x="46" y="134"/>
                    <a:pt x="46" y="134"/>
                  </a:cubicBezTo>
                  <a:cubicBezTo>
                    <a:pt x="47" y="134"/>
                    <a:pt x="48" y="134"/>
                    <a:pt x="49" y="134"/>
                  </a:cubicBezTo>
                  <a:cubicBezTo>
                    <a:pt x="49" y="133"/>
                    <a:pt x="49" y="133"/>
                    <a:pt x="49" y="133"/>
                  </a:cubicBezTo>
                  <a:cubicBezTo>
                    <a:pt x="50" y="133"/>
                    <a:pt x="51" y="132"/>
                    <a:pt x="51" y="132"/>
                  </a:cubicBezTo>
                  <a:cubicBezTo>
                    <a:pt x="52" y="131"/>
                    <a:pt x="52" y="131"/>
                    <a:pt x="52" y="131"/>
                  </a:cubicBezTo>
                  <a:cubicBezTo>
                    <a:pt x="53" y="130"/>
                    <a:pt x="54" y="129"/>
                    <a:pt x="54" y="128"/>
                  </a:cubicBezTo>
                  <a:cubicBezTo>
                    <a:pt x="55" y="126"/>
                    <a:pt x="55" y="126"/>
                    <a:pt x="54" y="127"/>
                  </a:cubicBezTo>
                  <a:cubicBezTo>
                    <a:pt x="55" y="126"/>
                    <a:pt x="59" y="119"/>
                    <a:pt x="65" y="110"/>
                  </a:cubicBezTo>
                  <a:cubicBezTo>
                    <a:pt x="72" y="114"/>
                    <a:pt x="80" y="118"/>
                    <a:pt x="88" y="122"/>
                  </a:cubicBezTo>
                  <a:cubicBezTo>
                    <a:pt x="89" y="122"/>
                    <a:pt x="89" y="122"/>
                    <a:pt x="89" y="122"/>
                  </a:cubicBezTo>
                  <a:cubicBezTo>
                    <a:pt x="94" y="124"/>
                    <a:pt x="99" y="126"/>
                    <a:pt x="103" y="127"/>
                  </a:cubicBezTo>
                  <a:cubicBezTo>
                    <a:pt x="104" y="128"/>
                    <a:pt x="104" y="128"/>
                    <a:pt x="105" y="128"/>
                  </a:cubicBezTo>
                  <a:cubicBezTo>
                    <a:pt x="110" y="129"/>
                    <a:pt x="115" y="131"/>
                    <a:pt x="121" y="132"/>
                  </a:cubicBezTo>
                  <a:cubicBezTo>
                    <a:pt x="121" y="132"/>
                    <a:pt x="121" y="132"/>
                    <a:pt x="121" y="132"/>
                  </a:cubicBezTo>
                  <a:cubicBezTo>
                    <a:pt x="126" y="133"/>
                    <a:pt x="131" y="134"/>
                    <a:pt x="136" y="134"/>
                  </a:cubicBezTo>
                  <a:cubicBezTo>
                    <a:pt x="137" y="134"/>
                    <a:pt x="138" y="135"/>
                    <a:pt x="139" y="135"/>
                  </a:cubicBezTo>
                  <a:cubicBezTo>
                    <a:pt x="144" y="135"/>
                    <a:pt x="149" y="135"/>
                    <a:pt x="155" y="135"/>
                  </a:cubicBezTo>
                  <a:cubicBezTo>
                    <a:pt x="155" y="135"/>
                    <a:pt x="155" y="135"/>
                    <a:pt x="155" y="135"/>
                  </a:cubicBezTo>
                  <a:cubicBezTo>
                    <a:pt x="155" y="135"/>
                    <a:pt x="155" y="135"/>
                    <a:pt x="155" y="135"/>
                  </a:cubicBezTo>
                  <a:cubicBezTo>
                    <a:pt x="160" y="135"/>
                    <a:pt x="165" y="135"/>
                    <a:pt x="171" y="135"/>
                  </a:cubicBezTo>
                  <a:cubicBezTo>
                    <a:pt x="172" y="135"/>
                    <a:pt x="172" y="134"/>
                    <a:pt x="173" y="134"/>
                  </a:cubicBezTo>
                  <a:cubicBezTo>
                    <a:pt x="178" y="134"/>
                    <a:pt x="183" y="133"/>
                    <a:pt x="188" y="132"/>
                  </a:cubicBezTo>
                  <a:cubicBezTo>
                    <a:pt x="188" y="132"/>
                    <a:pt x="189" y="132"/>
                    <a:pt x="189" y="132"/>
                  </a:cubicBezTo>
                  <a:cubicBezTo>
                    <a:pt x="240" y="122"/>
                    <a:pt x="283" y="88"/>
                    <a:pt x="306" y="42"/>
                  </a:cubicBezTo>
                  <a:cubicBezTo>
                    <a:pt x="306" y="42"/>
                    <a:pt x="307" y="41"/>
                    <a:pt x="307" y="40"/>
                  </a:cubicBezTo>
                  <a:cubicBezTo>
                    <a:pt x="307" y="40"/>
                    <a:pt x="307" y="39"/>
                    <a:pt x="307" y="38"/>
                  </a:cubicBezTo>
                  <a:cubicBezTo>
                    <a:pt x="307" y="38"/>
                    <a:pt x="307" y="38"/>
                    <a:pt x="307" y="37"/>
                  </a:cubicBezTo>
                  <a:cubicBezTo>
                    <a:pt x="307" y="34"/>
                    <a:pt x="306" y="31"/>
                    <a:pt x="303" y="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226" name="Freeform 77">
              <a:extLst>
                <a:ext uri="{FF2B5EF4-FFF2-40B4-BE49-F238E27FC236}">
                  <a16:creationId xmlns:a16="http://schemas.microsoft.com/office/drawing/2014/main" id="{BFA6EDF0-56B7-4B67-AB42-04E54FC95979}"/>
                </a:ext>
              </a:extLst>
            </p:cNvPr>
            <p:cNvSpPr>
              <a:spLocks/>
            </p:cNvSpPr>
            <p:nvPr/>
          </p:nvSpPr>
          <p:spPr bwMode="auto">
            <a:xfrm>
              <a:off x="531813" y="4394200"/>
              <a:ext cx="1150938" cy="506413"/>
            </a:xfrm>
            <a:custGeom>
              <a:avLst/>
              <a:gdLst>
                <a:gd name="T0" fmla="*/ 5 w 307"/>
                <a:gd name="T1" fmla="*/ 106 h 135"/>
                <a:gd name="T2" fmla="*/ 35 w 307"/>
                <a:gd name="T3" fmla="*/ 121 h 135"/>
                <a:gd name="T4" fmla="*/ 45 w 307"/>
                <a:gd name="T5" fmla="*/ 118 h 135"/>
                <a:gd name="T6" fmla="*/ 49 w 307"/>
                <a:gd name="T7" fmla="*/ 112 h 135"/>
                <a:gd name="T8" fmla="*/ 60 w 307"/>
                <a:gd name="T9" fmla="*/ 95 h 135"/>
                <a:gd name="T10" fmla="*/ 68 w 307"/>
                <a:gd name="T11" fmla="*/ 86 h 135"/>
                <a:gd name="T12" fmla="*/ 84 w 307"/>
                <a:gd name="T13" fmla="*/ 72 h 135"/>
                <a:gd name="T14" fmla="*/ 94 w 307"/>
                <a:gd name="T15" fmla="*/ 66 h 135"/>
                <a:gd name="T16" fmla="*/ 106 w 307"/>
                <a:gd name="T17" fmla="*/ 60 h 135"/>
                <a:gd name="T18" fmla="*/ 123 w 307"/>
                <a:gd name="T19" fmla="*/ 54 h 135"/>
                <a:gd name="T20" fmla="*/ 138 w 307"/>
                <a:gd name="T21" fmla="*/ 51 h 135"/>
                <a:gd name="T22" fmla="*/ 153 w 307"/>
                <a:gd name="T23" fmla="*/ 50 h 135"/>
                <a:gd name="T24" fmla="*/ 166 w 307"/>
                <a:gd name="T25" fmla="*/ 51 h 135"/>
                <a:gd name="T26" fmla="*/ 178 w 307"/>
                <a:gd name="T27" fmla="*/ 53 h 135"/>
                <a:gd name="T28" fmla="*/ 190 w 307"/>
                <a:gd name="T29" fmla="*/ 57 h 135"/>
                <a:gd name="T30" fmla="*/ 201 w 307"/>
                <a:gd name="T31" fmla="*/ 61 h 135"/>
                <a:gd name="T32" fmla="*/ 176 w 307"/>
                <a:gd name="T33" fmla="*/ 84 h 135"/>
                <a:gd name="T34" fmla="*/ 175 w 307"/>
                <a:gd name="T35" fmla="*/ 99 h 135"/>
                <a:gd name="T36" fmla="*/ 180 w 307"/>
                <a:gd name="T37" fmla="*/ 102 h 135"/>
                <a:gd name="T38" fmla="*/ 182 w 307"/>
                <a:gd name="T39" fmla="*/ 103 h 135"/>
                <a:gd name="T40" fmla="*/ 187 w 307"/>
                <a:gd name="T41" fmla="*/ 104 h 135"/>
                <a:gd name="T42" fmla="*/ 262 w 307"/>
                <a:gd name="T43" fmla="*/ 125 h 135"/>
                <a:gd name="T44" fmla="*/ 289 w 307"/>
                <a:gd name="T45" fmla="*/ 132 h 135"/>
                <a:gd name="T46" fmla="*/ 298 w 307"/>
                <a:gd name="T47" fmla="*/ 93 h 135"/>
                <a:gd name="T48" fmla="*/ 293 w 307"/>
                <a:gd name="T49" fmla="*/ 74 h 135"/>
                <a:gd name="T50" fmla="*/ 274 w 307"/>
                <a:gd name="T51" fmla="*/ 7 h 135"/>
                <a:gd name="T52" fmla="*/ 274 w 307"/>
                <a:gd name="T53" fmla="*/ 7 h 135"/>
                <a:gd name="T54" fmla="*/ 261 w 307"/>
                <a:gd name="T55" fmla="*/ 1 h 135"/>
                <a:gd name="T56" fmla="*/ 259 w 307"/>
                <a:gd name="T57" fmla="*/ 2 h 135"/>
                <a:gd name="T58" fmla="*/ 256 w 307"/>
                <a:gd name="T59" fmla="*/ 4 h 135"/>
                <a:gd name="T60" fmla="*/ 253 w 307"/>
                <a:gd name="T61" fmla="*/ 7 h 135"/>
                <a:gd name="T62" fmla="*/ 242 w 307"/>
                <a:gd name="T63" fmla="*/ 25 h 135"/>
                <a:gd name="T64" fmla="*/ 219 w 307"/>
                <a:gd name="T65" fmla="*/ 13 h 135"/>
                <a:gd name="T66" fmla="*/ 204 w 307"/>
                <a:gd name="T67" fmla="*/ 8 h 135"/>
                <a:gd name="T68" fmla="*/ 187 w 307"/>
                <a:gd name="T69" fmla="*/ 3 h 135"/>
                <a:gd name="T70" fmla="*/ 171 w 307"/>
                <a:gd name="T71" fmla="*/ 1 h 135"/>
                <a:gd name="T72" fmla="*/ 153 w 307"/>
                <a:gd name="T73" fmla="*/ 0 h 135"/>
                <a:gd name="T74" fmla="*/ 153 w 307"/>
                <a:gd name="T75" fmla="*/ 0 h 135"/>
                <a:gd name="T76" fmla="*/ 134 w 307"/>
                <a:gd name="T77" fmla="*/ 1 h 135"/>
                <a:gd name="T78" fmla="*/ 119 w 307"/>
                <a:gd name="T79" fmla="*/ 3 h 135"/>
                <a:gd name="T80" fmla="*/ 1 w 307"/>
                <a:gd name="T81" fmla="*/ 95 h 135"/>
                <a:gd name="T82" fmla="*/ 0 w 307"/>
                <a:gd name="T83"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7" h="135">
                  <a:moveTo>
                    <a:pt x="5" y="105"/>
                  </a:moveTo>
                  <a:cubicBezTo>
                    <a:pt x="5" y="105"/>
                    <a:pt x="5" y="106"/>
                    <a:pt x="5" y="106"/>
                  </a:cubicBezTo>
                  <a:cubicBezTo>
                    <a:pt x="34" y="121"/>
                    <a:pt x="34" y="121"/>
                    <a:pt x="34" y="121"/>
                  </a:cubicBezTo>
                  <a:cubicBezTo>
                    <a:pt x="35" y="121"/>
                    <a:pt x="35" y="121"/>
                    <a:pt x="35" y="121"/>
                  </a:cubicBezTo>
                  <a:cubicBezTo>
                    <a:pt x="36" y="122"/>
                    <a:pt x="37" y="122"/>
                    <a:pt x="38" y="122"/>
                  </a:cubicBezTo>
                  <a:cubicBezTo>
                    <a:pt x="41" y="122"/>
                    <a:pt x="44" y="121"/>
                    <a:pt x="45" y="118"/>
                  </a:cubicBezTo>
                  <a:cubicBezTo>
                    <a:pt x="46" y="118"/>
                    <a:pt x="46" y="117"/>
                    <a:pt x="47" y="116"/>
                  </a:cubicBezTo>
                  <a:cubicBezTo>
                    <a:pt x="47" y="115"/>
                    <a:pt x="48" y="114"/>
                    <a:pt x="49" y="112"/>
                  </a:cubicBezTo>
                  <a:cubicBezTo>
                    <a:pt x="49" y="112"/>
                    <a:pt x="49" y="112"/>
                    <a:pt x="49" y="112"/>
                  </a:cubicBezTo>
                  <a:cubicBezTo>
                    <a:pt x="52" y="106"/>
                    <a:pt x="56" y="100"/>
                    <a:pt x="60" y="95"/>
                  </a:cubicBezTo>
                  <a:cubicBezTo>
                    <a:pt x="61" y="94"/>
                    <a:pt x="61" y="94"/>
                    <a:pt x="62" y="93"/>
                  </a:cubicBezTo>
                  <a:cubicBezTo>
                    <a:pt x="64" y="90"/>
                    <a:pt x="66" y="88"/>
                    <a:pt x="68" y="86"/>
                  </a:cubicBezTo>
                  <a:cubicBezTo>
                    <a:pt x="69" y="85"/>
                    <a:pt x="70" y="84"/>
                    <a:pt x="71" y="83"/>
                  </a:cubicBezTo>
                  <a:cubicBezTo>
                    <a:pt x="75" y="79"/>
                    <a:pt x="80" y="76"/>
                    <a:pt x="84" y="72"/>
                  </a:cubicBezTo>
                  <a:cubicBezTo>
                    <a:pt x="85" y="72"/>
                    <a:pt x="86" y="71"/>
                    <a:pt x="87" y="70"/>
                  </a:cubicBezTo>
                  <a:cubicBezTo>
                    <a:pt x="89" y="69"/>
                    <a:pt x="92" y="67"/>
                    <a:pt x="94" y="66"/>
                  </a:cubicBezTo>
                  <a:cubicBezTo>
                    <a:pt x="96" y="65"/>
                    <a:pt x="98" y="64"/>
                    <a:pt x="99" y="63"/>
                  </a:cubicBezTo>
                  <a:cubicBezTo>
                    <a:pt x="102" y="62"/>
                    <a:pt x="104" y="61"/>
                    <a:pt x="106" y="60"/>
                  </a:cubicBezTo>
                  <a:cubicBezTo>
                    <a:pt x="110" y="58"/>
                    <a:pt x="114" y="57"/>
                    <a:pt x="118" y="56"/>
                  </a:cubicBezTo>
                  <a:cubicBezTo>
                    <a:pt x="120" y="55"/>
                    <a:pt x="122" y="55"/>
                    <a:pt x="123" y="54"/>
                  </a:cubicBezTo>
                  <a:cubicBezTo>
                    <a:pt x="126" y="53"/>
                    <a:pt x="129" y="53"/>
                    <a:pt x="132" y="52"/>
                  </a:cubicBezTo>
                  <a:cubicBezTo>
                    <a:pt x="134" y="52"/>
                    <a:pt x="136" y="52"/>
                    <a:pt x="138" y="51"/>
                  </a:cubicBezTo>
                  <a:cubicBezTo>
                    <a:pt x="142" y="51"/>
                    <a:pt x="147" y="50"/>
                    <a:pt x="152" y="50"/>
                  </a:cubicBezTo>
                  <a:cubicBezTo>
                    <a:pt x="152" y="50"/>
                    <a:pt x="152" y="50"/>
                    <a:pt x="153" y="50"/>
                  </a:cubicBezTo>
                  <a:cubicBezTo>
                    <a:pt x="153" y="50"/>
                    <a:pt x="154" y="50"/>
                    <a:pt x="155" y="50"/>
                  </a:cubicBezTo>
                  <a:cubicBezTo>
                    <a:pt x="158" y="50"/>
                    <a:pt x="162" y="51"/>
                    <a:pt x="166" y="51"/>
                  </a:cubicBezTo>
                  <a:cubicBezTo>
                    <a:pt x="168" y="51"/>
                    <a:pt x="170" y="52"/>
                    <a:pt x="172" y="52"/>
                  </a:cubicBezTo>
                  <a:cubicBezTo>
                    <a:pt x="174" y="52"/>
                    <a:pt x="176" y="53"/>
                    <a:pt x="178" y="53"/>
                  </a:cubicBezTo>
                  <a:cubicBezTo>
                    <a:pt x="181" y="54"/>
                    <a:pt x="183" y="54"/>
                    <a:pt x="185" y="55"/>
                  </a:cubicBezTo>
                  <a:cubicBezTo>
                    <a:pt x="187" y="55"/>
                    <a:pt x="189" y="56"/>
                    <a:pt x="190" y="57"/>
                  </a:cubicBezTo>
                  <a:cubicBezTo>
                    <a:pt x="193" y="57"/>
                    <a:pt x="195" y="58"/>
                    <a:pt x="198" y="59"/>
                  </a:cubicBezTo>
                  <a:cubicBezTo>
                    <a:pt x="199" y="60"/>
                    <a:pt x="200" y="60"/>
                    <a:pt x="201" y="61"/>
                  </a:cubicBezTo>
                  <a:cubicBezTo>
                    <a:pt x="203" y="62"/>
                    <a:pt x="205" y="63"/>
                    <a:pt x="207" y="64"/>
                  </a:cubicBezTo>
                  <a:cubicBezTo>
                    <a:pt x="190" y="78"/>
                    <a:pt x="176" y="84"/>
                    <a:pt x="176" y="84"/>
                  </a:cubicBezTo>
                  <a:cubicBezTo>
                    <a:pt x="174" y="86"/>
                    <a:pt x="173" y="88"/>
                    <a:pt x="173" y="91"/>
                  </a:cubicBezTo>
                  <a:cubicBezTo>
                    <a:pt x="173" y="94"/>
                    <a:pt x="173" y="97"/>
                    <a:pt x="175" y="99"/>
                  </a:cubicBezTo>
                  <a:cubicBezTo>
                    <a:pt x="176" y="99"/>
                    <a:pt x="176" y="100"/>
                    <a:pt x="176" y="100"/>
                  </a:cubicBezTo>
                  <a:cubicBezTo>
                    <a:pt x="177" y="101"/>
                    <a:pt x="179" y="102"/>
                    <a:pt x="180" y="102"/>
                  </a:cubicBezTo>
                  <a:cubicBezTo>
                    <a:pt x="180" y="103"/>
                    <a:pt x="180" y="103"/>
                    <a:pt x="180" y="103"/>
                  </a:cubicBezTo>
                  <a:cubicBezTo>
                    <a:pt x="182" y="103"/>
                    <a:pt x="182" y="103"/>
                    <a:pt x="182" y="103"/>
                  </a:cubicBezTo>
                  <a:cubicBezTo>
                    <a:pt x="183" y="103"/>
                    <a:pt x="183" y="103"/>
                    <a:pt x="183" y="104"/>
                  </a:cubicBezTo>
                  <a:cubicBezTo>
                    <a:pt x="187" y="104"/>
                    <a:pt x="187" y="104"/>
                    <a:pt x="187" y="104"/>
                  </a:cubicBezTo>
                  <a:cubicBezTo>
                    <a:pt x="255" y="123"/>
                    <a:pt x="255" y="123"/>
                    <a:pt x="255" y="123"/>
                  </a:cubicBezTo>
                  <a:cubicBezTo>
                    <a:pt x="262" y="125"/>
                    <a:pt x="262" y="125"/>
                    <a:pt x="262" y="125"/>
                  </a:cubicBezTo>
                  <a:cubicBezTo>
                    <a:pt x="263" y="125"/>
                    <a:pt x="263" y="125"/>
                    <a:pt x="263" y="125"/>
                  </a:cubicBezTo>
                  <a:cubicBezTo>
                    <a:pt x="289" y="132"/>
                    <a:pt x="289" y="132"/>
                    <a:pt x="289" y="132"/>
                  </a:cubicBezTo>
                  <a:cubicBezTo>
                    <a:pt x="300" y="135"/>
                    <a:pt x="307" y="128"/>
                    <a:pt x="304" y="116"/>
                  </a:cubicBezTo>
                  <a:cubicBezTo>
                    <a:pt x="298" y="93"/>
                    <a:pt x="298" y="93"/>
                    <a:pt x="298" y="93"/>
                  </a:cubicBezTo>
                  <a:cubicBezTo>
                    <a:pt x="293" y="75"/>
                    <a:pt x="293" y="75"/>
                    <a:pt x="293" y="75"/>
                  </a:cubicBezTo>
                  <a:cubicBezTo>
                    <a:pt x="293" y="74"/>
                    <a:pt x="293" y="74"/>
                    <a:pt x="293" y="74"/>
                  </a:cubicBezTo>
                  <a:cubicBezTo>
                    <a:pt x="276" y="11"/>
                    <a:pt x="276" y="11"/>
                    <a:pt x="276" y="11"/>
                  </a:cubicBezTo>
                  <a:cubicBezTo>
                    <a:pt x="275" y="10"/>
                    <a:pt x="275" y="8"/>
                    <a:pt x="274" y="7"/>
                  </a:cubicBezTo>
                  <a:cubicBezTo>
                    <a:pt x="274" y="7"/>
                    <a:pt x="274" y="7"/>
                    <a:pt x="274" y="7"/>
                  </a:cubicBezTo>
                  <a:cubicBezTo>
                    <a:pt x="274" y="7"/>
                    <a:pt x="274" y="7"/>
                    <a:pt x="274" y="7"/>
                  </a:cubicBezTo>
                  <a:cubicBezTo>
                    <a:pt x="274" y="6"/>
                    <a:pt x="273" y="5"/>
                    <a:pt x="272" y="4"/>
                  </a:cubicBezTo>
                  <a:cubicBezTo>
                    <a:pt x="269" y="1"/>
                    <a:pt x="265" y="0"/>
                    <a:pt x="261" y="1"/>
                  </a:cubicBezTo>
                  <a:cubicBezTo>
                    <a:pt x="261" y="1"/>
                    <a:pt x="261" y="1"/>
                    <a:pt x="261" y="1"/>
                  </a:cubicBezTo>
                  <a:cubicBezTo>
                    <a:pt x="260" y="1"/>
                    <a:pt x="259" y="1"/>
                    <a:pt x="259" y="2"/>
                  </a:cubicBezTo>
                  <a:cubicBezTo>
                    <a:pt x="259" y="2"/>
                    <a:pt x="258" y="2"/>
                    <a:pt x="258" y="2"/>
                  </a:cubicBezTo>
                  <a:cubicBezTo>
                    <a:pt x="257" y="2"/>
                    <a:pt x="257" y="3"/>
                    <a:pt x="256" y="4"/>
                  </a:cubicBezTo>
                  <a:cubicBezTo>
                    <a:pt x="256" y="4"/>
                    <a:pt x="255" y="4"/>
                    <a:pt x="255" y="5"/>
                  </a:cubicBezTo>
                  <a:cubicBezTo>
                    <a:pt x="254" y="5"/>
                    <a:pt x="254" y="6"/>
                    <a:pt x="253" y="7"/>
                  </a:cubicBezTo>
                  <a:cubicBezTo>
                    <a:pt x="253" y="9"/>
                    <a:pt x="253" y="9"/>
                    <a:pt x="253" y="9"/>
                  </a:cubicBezTo>
                  <a:cubicBezTo>
                    <a:pt x="252" y="10"/>
                    <a:pt x="248" y="17"/>
                    <a:pt x="242" y="25"/>
                  </a:cubicBezTo>
                  <a:cubicBezTo>
                    <a:pt x="239" y="23"/>
                    <a:pt x="236" y="22"/>
                    <a:pt x="233" y="20"/>
                  </a:cubicBezTo>
                  <a:cubicBezTo>
                    <a:pt x="229" y="18"/>
                    <a:pt x="224" y="15"/>
                    <a:pt x="219" y="13"/>
                  </a:cubicBezTo>
                  <a:cubicBezTo>
                    <a:pt x="219" y="13"/>
                    <a:pt x="218" y="13"/>
                    <a:pt x="218" y="13"/>
                  </a:cubicBezTo>
                  <a:cubicBezTo>
                    <a:pt x="214" y="11"/>
                    <a:pt x="209" y="9"/>
                    <a:pt x="204" y="8"/>
                  </a:cubicBezTo>
                  <a:cubicBezTo>
                    <a:pt x="204" y="8"/>
                    <a:pt x="203" y="7"/>
                    <a:pt x="203" y="7"/>
                  </a:cubicBezTo>
                  <a:cubicBezTo>
                    <a:pt x="197" y="6"/>
                    <a:pt x="192" y="4"/>
                    <a:pt x="187" y="3"/>
                  </a:cubicBezTo>
                  <a:cubicBezTo>
                    <a:pt x="187" y="3"/>
                    <a:pt x="186" y="3"/>
                    <a:pt x="186" y="3"/>
                  </a:cubicBezTo>
                  <a:cubicBezTo>
                    <a:pt x="181" y="2"/>
                    <a:pt x="176" y="1"/>
                    <a:pt x="171" y="1"/>
                  </a:cubicBezTo>
                  <a:cubicBezTo>
                    <a:pt x="170" y="1"/>
                    <a:pt x="169" y="1"/>
                    <a:pt x="169" y="0"/>
                  </a:cubicBezTo>
                  <a:cubicBezTo>
                    <a:pt x="163" y="0"/>
                    <a:pt x="158" y="0"/>
                    <a:pt x="153" y="0"/>
                  </a:cubicBezTo>
                  <a:cubicBezTo>
                    <a:pt x="153" y="0"/>
                    <a:pt x="153" y="0"/>
                    <a:pt x="153" y="0"/>
                  </a:cubicBezTo>
                  <a:cubicBezTo>
                    <a:pt x="153" y="0"/>
                    <a:pt x="153" y="0"/>
                    <a:pt x="153" y="0"/>
                  </a:cubicBezTo>
                  <a:cubicBezTo>
                    <a:pt x="147" y="0"/>
                    <a:pt x="142" y="0"/>
                    <a:pt x="137" y="0"/>
                  </a:cubicBezTo>
                  <a:cubicBezTo>
                    <a:pt x="136" y="1"/>
                    <a:pt x="135" y="1"/>
                    <a:pt x="134" y="1"/>
                  </a:cubicBezTo>
                  <a:cubicBezTo>
                    <a:pt x="129" y="1"/>
                    <a:pt x="124" y="2"/>
                    <a:pt x="119" y="3"/>
                  </a:cubicBezTo>
                  <a:cubicBezTo>
                    <a:pt x="119" y="3"/>
                    <a:pt x="119" y="3"/>
                    <a:pt x="119" y="3"/>
                  </a:cubicBezTo>
                  <a:cubicBezTo>
                    <a:pt x="68" y="14"/>
                    <a:pt x="25" y="47"/>
                    <a:pt x="2" y="93"/>
                  </a:cubicBezTo>
                  <a:cubicBezTo>
                    <a:pt x="1" y="94"/>
                    <a:pt x="1" y="94"/>
                    <a:pt x="1" y="95"/>
                  </a:cubicBezTo>
                  <a:cubicBezTo>
                    <a:pt x="0" y="96"/>
                    <a:pt x="0" y="96"/>
                    <a:pt x="0" y="97"/>
                  </a:cubicBezTo>
                  <a:cubicBezTo>
                    <a:pt x="0" y="97"/>
                    <a:pt x="0" y="97"/>
                    <a:pt x="0" y="98"/>
                  </a:cubicBezTo>
                  <a:cubicBezTo>
                    <a:pt x="0" y="101"/>
                    <a:pt x="2" y="104"/>
                    <a:pt x="5" y="10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grpSp>
      <p:sp>
        <p:nvSpPr>
          <p:cNvPr id="227" name="TextBox 137">
            <a:extLst>
              <a:ext uri="{FF2B5EF4-FFF2-40B4-BE49-F238E27FC236}">
                <a16:creationId xmlns:a16="http://schemas.microsoft.com/office/drawing/2014/main" id="{39A20C96-9ED7-4B6A-A6B8-BD94E9260A01}"/>
              </a:ext>
            </a:extLst>
          </p:cNvPr>
          <p:cNvSpPr txBox="1"/>
          <p:nvPr/>
        </p:nvSpPr>
        <p:spPr>
          <a:xfrm>
            <a:off x="4099193" y="5273539"/>
            <a:ext cx="1018002" cy="184666"/>
          </a:xfrm>
          <a:custGeom>
            <a:avLst/>
            <a:gdLst>
              <a:gd name="connsiteX0" fmla="*/ 0 w 772647"/>
              <a:gd name="connsiteY0" fmla="*/ 0 h 215444"/>
              <a:gd name="connsiteX1" fmla="*/ 772647 w 772647"/>
              <a:gd name="connsiteY1" fmla="*/ 0 h 215444"/>
              <a:gd name="connsiteX2" fmla="*/ 772647 w 772647"/>
              <a:gd name="connsiteY2" fmla="*/ 215444 h 215444"/>
              <a:gd name="connsiteX3" fmla="*/ 0 w 772647"/>
              <a:gd name="connsiteY3" fmla="*/ 215444 h 215444"/>
              <a:gd name="connsiteX4" fmla="*/ 0 w 772647"/>
              <a:gd name="connsiteY4" fmla="*/ 0 h 215444"/>
              <a:gd name="connsiteX0" fmla="*/ 0 w 1079237"/>
              <a:gd name="connsiteY0" fmla="*/ 0 h 215444"/>
              <a:gd name="connsiteX1" fmla="*/ 772647 w 1079237"/>
              <a:gd name="connsiteY1" fmla="*/ 0 h 215444"/>
              <a:gd name="connsiteX2" fmla="*/ 772647 w 1079237"/>
              <a:gd name="connsiteY2" fmla="*/ 215444 h 215444"/>
              <a:gd name="connsiteX3" fmla="*/ 0 w 1079237"/>
              <a:gd name="connsiteY3" fmla="*/ 215444 h 215444"/>
              <a:gd name="connsiteX4" fmla="*/ 0 w 1079237"/>
              <a:gd name="connsiteY4" fmla="*/ 0 h 21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237" h="215444">
                <a:moveTo>
                  <a:pt x="0" y="0"/>
                </a:moveTo>
                <a:lnTo>
                  <a:pt x="772647" y="0"/>
                </a:lnTo>
                <a:cubicBezTo>
                  <a:pt x="1462475" y="181062"/>
                  <a:pt x="772647" y="143629"/>
                  <a:pt x="772647" y="215444"/>
                </a:cubicBezTo>
                <a:lnTo>
                  <a:pt x="0" y="215444"/>
                </a:lnTo>
                <a:lnTo>
                  <a:pt x="0" y="0"/>
                </a:lnTo>
                <a:close/>
              </a:path>
            </a:pathLst>
          </a:cu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B5E2"/>
                </a:solidFill>
                <a:effectLst/>
                <a:uLnTx/>
                <a:uFillTx/>
                <a:latin typeface="GE Inspira Sans"/>
                <a:ea typeface="+mn-ea"/>
                <a:cs typeface="+mn-cs"/>
              </a:rPr>
              <a:t>Transients</a:t>
            </a:r>
          </a:p>
        </p:txBody>
      </p:sp>
      <p:sp>
        <p:nvSpPr>
          <p:cNvPr id="228" name="TextBox 141">
            <a:extLst>
              <a:ext uri="{FF2B5EF4-FFF2-40B4-BE49-F238E27FC236}">
                <a16:creationId xmlns:a16="http://schemas.microsoft.com/office/drawing/2014/main" id="{4E85F46D-8AD5-44EA-9BB1-0EB70128234A}"/>
              </a:ext>
            </a:extLst>
          </p:cNvPr>
          <p:cNvSpPr txBox="1"/>
          <p:nvPr/>
        </p:nvSpPr>
        <p:spPr>
          <a:xfrm>
            <a:off x="3662755" y="4791801"/>
            <a:ext cx="820508" cy="276999"/>
          </a:xfrm>
          <a:custGeom>
            <a:avLst/>
            <a:gdLst>
              <a:gd name="connsiteX0" fmla="*/ 0 w 772647"/>
              <a:gd name="connsiteY0" fmla="*/ 0 h 215444"/>
              <a:gd name="connsiteX1" fmla="*/ 772647 w 772647"/>
              <a:gd name="connsiteY1" fmla="*/ 0 h 215444"/>
              <a:gd name="connsiteX2" fmla="*/ 772647 w 772647"/>
              <a:gd name="connsiteY2" fmla="*/ 215444 h 215444"/>
              <a:gd name="connsiteX3" fmla="*/ 0 w 772647"/>
              <a:gd name="connsiteY3" fmla="*/ 215444 h 215444"/>
              <a:gd name="connsiteX4" fmla="*/ 0 w 772647"/>
              <a:gd name="connsiteY4" fmla="*/ 0 h 215444"/>
              <a:gd name="connsiteX0" fmla="*/ 0 w 1079237"/>
              <a:gd name="connsiteY0" fmla="*/ 0 h 215444"/>
              <a:gd name="connsiteX1" fmla="*/ 772647 w 1079237"/>
              <a:gd name="connsiteY1" fmla="*/ 0 h 215444"/>
              <a:gd name="connsiteX2" fmla="*/ 772647 w 1079237"/>
              <a:gd name="connsiteY2" fmla="*/ 215444 h 215444"/>
              <a:gd name="connsiteX3" fmla="*/ 0 w 1079237"/>
              <a:gd name="connsiteY3" fmla="*/ 215444 h 215444"/>
              <a:gd name="connsiteX4" fmla="*/ 0 w 1079237"/>
              <a:gd name="connsiteY4" fmla="*/ 0 h 21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237" h="215444">
                <a:moveTo>
                  <a:pt x="0" y="0"/>
                </a:moveTo>
                <a:lnTo>
                  <a:pt x="772647" y="0"/>
                </a:lnTo>
                <a:cubicBezTo>
                  <a:pt x="1462475" y="181062"/>
                  <a:pt x="772647" y="143629"/>
                  <a:pt x="772647" y="215444"/>
                </a:cubicBezTo>
                <a:lnTo>
                  <a:pt x="0" y="215444"/>
                </a:lnTo>
                <a:lnTo>
                  <a:pt x="0" y="0"/>
                </a:lnTo>
                <a:close/>
              </a:path>
            </a:pathLst>
          </a:cu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5EB8"/>
                </a:solidFill>
                <a:effectLst/>
                <a:uLnTx/>
                <a:uFillTx/>
                <a:latin typeface="GE Inspira Sans"/>
                <a:ea typeface="+mn-ea"/>
                <a:cs typeface="+mn-cs"/>
              </a:rPr>
              <a:t>Physics</a:t>
            </a:r>
          </a:p>
        </p:txBody>
      </p:sp>
      <p:sp>
        <p:nvSpPr>
          <p:cNvPr id="229" name="TextBox 142">
            <a:extLst>
              <a:ext uri="{FF2B5EF4-FFF2-40B4-BE49-F238E27FC236}">
                <a16:creationId xmlns:a16="http://schemas.microsoft.com/office/drawing/2014/main" id="{7F7ADA25-26F0-4568-8706-CE034574E1F7}"/>
              </a:ext>
            </a:extLst>
          </p:cNvPr>
          <p:cNvSpPr txBox="1"/>
          <p:nvPr/>
        </p:nvSpPr>
        <p:spPr>
          <a:xfrm>
            <a:off x="2695490" y="2750445"/>
            <a:ext cx="1281719" cy="276999"/>
          </a:xfrm>
          <a:custGeom>
            <a:avLst/>
            <a:gdLst>
              <a:gd name="connsiteX0" fmla="*/ 0 w 772647"/>
              <a:gd name="connsiteY0" fmla="*/ 0 h 215444"/>
              <a:gd name="connsiteX1" fmla="*/ 772647 w 772647"/>
              <a:gd name="connsiteY1" fmla="*/ 0 h 215444"/>
              <a:gd name="connsiteX2" fmla="*/ 772647 w 772647"/>
              <a:gd name="connsiteY2" fmla="*/ 215444 h 215444"/>
              <a:gd name="connsiteX3" fmla="*/ 0 w 772647"/>
              <a:gd name="connsiteY3" fmla="*/ 215444 h 215444"/>
              <a:gd name="connsiteX4" fmla="*/ 0 w 772647"/>
              <a:gd name="connsiteY4" fmla="*/ 0 h 215444"/>
              <a:gd name="connsiteX0" fmla="*/ 0 w 1079237"/>
              <a:gd name="connsiteY0" fmla="*/ 0 h 215444"/>
              <a:gd name="connsiteX1" fmla="*/ 772647 w 1079237"/>
              <a:gd name="connsiteY1" fmla="*/ 0 h 215444"/>
              <a:gd name="connsiteX2" fmla="*/ 772647 w 1079237"/>
              <a:gd name="connsiteY2" fmla="*/ 215444 h 215444"/>
              <a:gd name="connsiteX3" fmla="*/ 0 w 1079237"/>
              <a:gd name="connsiteY3" fmla="*/ 215444 h 215444"/>
              <a:gd name="connsiteX4" fmla="*/ 0 w 1079237"/>
              <a:gd name="connsiteY4" fmla="*/ 0 h 21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237" h="215444">
                <a:moveTo>
                  <a:pt x="0" y="0"/>
                </a:moveTo>
                <a:lnTo>
                  <a:pt x="772647" y="0"/>
                </a:lnTo>
                <a:cubicBezTo>
                  <a:pt x="1462475" y="181062"/>
                  <a:pt x="772647" y="143629"/>
                  <a:pt x="772647" y="215444"/>
                </a:cubicBezTo>
                <a:lnTo>
                  <a:pt x="0" y="215444"/>
                </a:lnTo>
                <a:lnTo>
                  <a:pt x="0" y="0"/>
                </a:lnTo>
                <a:close/>
              </a:path>
            </a:pathLst>
          </a:cu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5EB8"/>
                </a:solidFill>
                <a:effectLst/>
                <a:uLnTx/>
                <a:uFillTx/>
                <a:latin typeface="GE Inspira Sans"/>
                <a:ea typeface="+mn-ea"/>
                <a:cs typeface="+mn-cs"/>
              </a:rPr>
              <a:t>Operations</a:t>
            </a:r>
          </a:p>
        </p:txBody>
      </p:sp>
      <p:sp>
        <p:nvSpPr>
          <p:cNvPr id="230" name="Oval 143">
            <a:extLst>
              <a:ext uri="{FF2B5EF4-FFF2-40B4-BE49-F238E27FC236}">
                <a16:creationId xmlns:a16="http://schemas.microsoft.com/office/drawing/2014/main" id="{CB85D58F-A9EB-4257-A098-FAF7EE626FE6}"/>
              </a:ext>
            </a:extLst>
          </p:cNvPr>
          <p:cNvSpPr/>
          <p:nvPr/>
        </p:nvSpPr>
        <p:spPr>
          <a:xfrm>
            <a:off x="8809757" y="3452055"/>
            <a:ext cx="1508626" cy="1232567"/>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 Inspira Sans"/>
              <a:ea typeface="+mn-ea"/>
              <a:cs typeface="+mn-cs"/>
            </a:endParaRPr>
          </a:p>
        </p:txBody>
      </p:sp>
      <p:grpSp>
        <p:nvGrpSpPr>
          <p:cNvPr id="231" name="Group 144">
            <a:extLst>
              <a:ext uri="{FF2B5EF4-FFF2-40B4-BE49-F238E27FC236}">
                <a16:creationId xmlns:a16="http://schemas.microsoft.com/office/drawing/2014/main" id="{5E35D517-34C4-4F64-91B2-CDC6FD3C07CF}"/>
              </a:ext>
            </a:extLst>
          </p:cNvPr>
          <p:cNvGrpSpPr>
            <a:grpSpLocks noChangeAspect="1"/>
          </p:cNvGrpSpPr>
          <p:nvPr/>
        </p:nvGrpSpPr>
        <p:grpSpPr>
          <a:xfrm>
            <a:off x="9279459" y="3783889"/>
            <a:ext cx="564908" cy="570385"/>
            <a:chOff x="523876" y="4394200"/>
            <a:chExt cx="1158875" cy="1281560"/>
          </a:xfrm>
          <a:solidFill>
            <a:schemeClr val="bg1"/>
          </a:solidFill>
        </p:grpSpPr>
        <p:sp>
          <p:nvSpPr>
            <p:cNvPr id="232" name="Freeform 76">
              <a:extLst>
                <a:ext uri="{FF2B5EF4-FFF2-40B4-BE49-F238E27FC236}">
                  <a16:creationId xmlns:a16="http://schemas.microsoft.com/office/drawing/2014/main" id="{4048E179-55D3-4A13-831E-16E8C0E39769}"/>
                </a:ext>
              </a:extLst>
            </p:cNvPr>
            <p:cNvSpPr>
              <a:spLocks/>
            </p:cNvSpPr>
            <p:nvPr/>
          </p:nvSpPr>
          <p:spPr bwMode="auto">
            <a:xfrm>
              <a:off x="523876" y="5169347"/>
              <a:ext cx="1150938" cy="506413"/>
            </a:xfrm>
            <a:custGeom>
              <a:avLst/>
              <a:gdLst>
                <a:gd name="T0" fmla="*/ 303 w 307"/>
                <a:gd name="T1" fmla="*/ 30 h 135"/>
                <a:gd name="T2" fmla="*/ 274 w 307"/>
                <a:gd name="T3" fmla="*/ 15 h 135"/>
                <a:gd name="T4" fmla="*/ 272 w 307"/>
                <a:gd name="T5" fmla="*/ 14 h 135"/>
                <a:gd name="T6" fmla="*/ 262 w 307"/>
                <a:gd name="T7" fmla="*/ 17 h 135"/>
                <a:gd name="T8" fmla="*/ 259 w 307"/>
                <a:gd name="T9" fmla="*/ 23 h 135"/>
                <a:gd name="T10" fmla="*/ 247 w 307"/>
                <a:gd name="T11" fmla="*/ 40 h 135"/>
                <a:gd name="T12" fmla="*/ 239 w 307"/>
                <a:gd name="T13" fmla="*/ 49 h 135"/>
                <a:gd name="T14" fmla="*/ 223 w 307"/>
                <a:gd name="T15" fmla="*/ 63 h 135"/>
                <a:gd name="T16" fmla="*/ 213 w 307"/>
                <a:gd name="T17" fmla="*/ 69 h 135"/>
                <a:gd name="T18" fmla="*/ 201 w 307"/>
                <a:gd name="T19" fmla="*/ 75 h 135"/>
                <a:gd name="T20" fmla="*/ 184 w 307"/>
                <a:gd name="T21" fmla="*/ 81 h 135"/>
                <a:gd name="T22" fmla="*/ 169 w 307"/>
                <a:gd name="T23" fmla="*/ 84 h 135"/>
                <a:gd name="T24" fmla="*/ 155 w 307"/>
                <a:gd name="T25" fmla="*/ 85 h 135"/>
                <a:gd name="T26" fmla="*/ 142 w 307"/>
                <a:gd name="T27" fmla="*/ 84 h 135"/>
                <a:gd name="T28" fmla="*/ 129 w 307"/>
                <a:gd name="T29" fmla="*/ 82 h 135"/>
                <a:gd name="T30" fmla="*/ 117 w 307"/>
                <a:gd name="T31" fmla="*/ 79 h 135"/>
                <a:gd name="T32" fmla="*/ 107 w 307"/>
                <a:gd name="T33" fmla="*/ 75 h 135"/>
                <a:gd name="T34" fmla="*/ 131 w 307"/>
                <a:gd name="T35" fmla="*/ 51 h 135"/>
                <a:gd name="T36" fmla="*/ 132 w 307"/>
                <a:gd name="T37" fmla="*/ 36 h 135"/>
                <a:gd name="T38" fmla="*/ 127 w 307"/>
                <a:gd name="T39" fmla="*/ 33 h 135"/>
                <a:gd name="T40" fmla="*/ 125 w 307"/>
                <a:gd name="T41" fmla="*/ 32 h 135"/>
                <a:gd name="T42" fmla="*/ 121 w 307"/>
                <a:gd name="T43" fmla="*/ 31 h 135"/>
                <a:gd name="T44" fmla="*/ 45 w 307"/>
                <a:gd name="T45" fmla="*/ 10 h 135"/>
                <a:gd name="T46" fmla="*/ 19 w 307"/>
                <a:gd name="T47" fmla="*/ 3 h 135"/>
                <a:gd name="T48" fmla="*/ 9 w 307"/>
                <a:gd name="T49" fmla="*/ 42 h 135"/>
                <a:gd name="T50" fmla="*/ 15 w 307"/>
                <a:gd name="T51" fmla="*/ 61 h 135"/>
                <a:gd name="T52" fmla="*/ 33 w 307"/>
                <a:gd name="T53" fmla="*/ 128 h 135"/>
                <a:gd name="T54" fmla="*/ 33 w 307"/>
                <a:gd name="T55" fmla="*/ 128 h 135"/>
                <a:gd name="T56" fmla="*/ 46 w 307"/>
                <a:gd name="T57" fmla="*/ 134 h 135"/>
                <a:gd name="T58" fmla="*/ 49 w 307"/>
                <a:gd name="T59" fmla="*/ 134 h 135"/>
                <a:gd name="T60" fmla="*/ 51 w 307"/>
                <a:gd name="T61" fmla="*/ 132 h 135"/>
                <a:gd name="T62" fmla="*/ 54 w 307"/>
                <a:gd name="T63" fmla="*/ 128 h 135"/>
                <a:gd name="T64" fmla="*/ 65 w 307"/>
                <a:gd name="T65" fmla="*/ 110 h 135"/>
                <a:gd name="T66" fmla="*/ 89 w 307"/>
                <a:gd name="T67" fmla="*/ 122 h 135"/>
                <a:gd name="T68" fmla="*/ 105 w 307"/>
                <a:gd name="T69" fmla="*/ 128 h 135"/>
                <a:gd name="T70" fmla="*/ 121 w 307"/>
                <a:gd name="T71" fmla="*/ 132 h 135"/>
                <a:gd name="T72" fmla="*/ 139 w 307"/>
                <a:gd name="T73" fmla="*/ 135 h 135"/>
                <a:gd name="T74" fmla="*/ 155 w 307"/>
                <a:gd name="T75" fmla="*/ 135 h 135"/>
                <a:gd name="T76" fmla="*/ 171 w 307"/>
                <a:gd name="T77" fmla="*/ 135 h 135"/>
                <a:gd name="T78" fmla="*/ 188 w 307"/>
                <a:gd name="T79" fmla="*/ 132 h 135"/>
                <a:gd name="T80" fmla="*/ 306 w 307"/>
                <a:gd name="T81" fmla="*/ 42 h 135"/>
                <a:gd name="T82" fmla="*/ 307 w 307"/>
                <a:gd name="T83" fmla="*/ 38 h 135"/>
                <a:gd name="T84" fmla="*/ 303 w 307"/>
                <a:gd name="T85" fmla="*/ 3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7" h="135">
                  <a:moveTo>
                    <a:pt x="303" y="30"/>
                  </a:moveTo>
                  <a:cubicBezTo>
                    <a:pt x="303" y="30"/>
                    <a:pt x="303" y="30"/>
                    <a:pt x="303" y="30"/>
                  </a:cubicBezTo>
                  <a:cubicBezTo>
                    <a:pt x="302" y="30"/>
                    <a:pt x="302" y="30"/>
                    <a:pt x="302" y="30"/>
                  </a:cubicBezTo>
                  <a:cubicBezTo>
                    <a:pt x="274" y="15"/>
                    <a:pt x="274" y="15"/>
                    <a:pt x="274" y="15"/>
                  </a:cubicBezTo>
                  <a:cubicBezTo>
                    <a:pt x="272" y="14"/>
                    <a:pt x="272" y="14"/>
                    <a:pt x="272" y="14"/>
                  </a:cubicBezTo>
                  <a:cubicBezTo>
                    <a:pt x="272" y="14"/>
                    <a:pt x="272" y="14"/>
                    <a:pt x="272" y="14"/>
                  </a:cubicBezTo>
                  <a:cubicBezTo>
                    <a:pt x="271" y="13"/>
                    <a:pt x="270" y="13"/>
                    <a:pt x="269" y="13"/>
                  </a:cubicBezTo>
                  <a:cubicBezTo>
                    <a:pt x="266" y="13"/>
                    <a:pt x="264" y="15"/>
                    <a:pt x="262" y="17"/>
                  </a:cubicBezTo>
                  <a:cubicBezTo>
                    <a:pt x="262" y="18"/>
                    <a:pt x="261" y="19"/>
                    <a:pt x="261" y="19"/>
                  </a:cubicBezTo>
                  <a:cubicBezTo>
                    <a:pt x="260" y="20"/>
                    <a:pt x="259" y="22"/>
                    <a:pt x="259" y="23"/>
                  </a:cubicBezTo>
                  <a:cubicBezTo>
                    <a:pt x="258" y="23"/>
                    <a:pt x="258" y="23"/>
                    <a:pt x="258" y="23"/>
                  </a:cubicBezTo>
                  <a:cubicBezTo>
                    <a:pt x="255" y="29"/>
                    <a:pt x="251" y="35"/>
                    <a:pt x="247" y="40"/>
                  </a:cubicBezTo>
                  <a:cubicBezTo>
                    <a:pt x="246" y="41"/>
                    <a:pt x="246" y="42"/>
                    <a:pt x="245" y="42"/>
                  </a:cubicBezTo>
                  <a:cubicBezTo>
                    <a:pt x="243" y="45"/>
                    <a:pt x="241" y="47"/>
                    <a:pt x="239" y="49"/>
                  </a:cubicBezTo>
                  <a:cubicBezTo>
                    <a:pt x="238" y="50"/>
                    <a:pt x="237" y="51"/>
                    <a:pt x="236" y="52"/>
                  </a:cubicBezTo>
                  <a:cubicBezTo>
                    <a:pt x="232" y="56"/>
                    <a:pt x="228" y="59"/>
                    <a:pt x="223" y="63"/>
                  </a:cubicBezTo>
                  <a:cubicBezTo>
                    <a:pt x="222" y="63"/>
                    <a:pt x="221" y="64"/>
                    <a:pt x="220" y="65"/>
                  </a:cubicBezTo>
                  <a:cubicBezTo>
                    <a:pt x="218" y="66"/>
                    <a:pt x="216" y="68"/>
                    <a:pt x="213" y="69"/>
                  </a:cubicBezTo>
                  <a:cubicBezTo>
                    <a:pt x="212" y="70"/>
                    <a:pt x="210" y="71"/>
                    <a:pt x="208" y="72"/>
                  </a:cubicBezTo>
                  <a:cubicBezTo>
                    <a:pt x="206" y="73"/>
                    <a:pt x="204" y="74"/>
                    <a:pt x="201" y="75"/>
                  </a:cubicBezTo>
                  <a:cubicBezTo>
                    <a:pt x="197" y="77"/>
                    <a:pt x="194" y="78"/>
                    <a:pt x="190" y="79"/>
                  </a:cubicBezTo>
                  <a:cubicBezTo>
                    <a:pt x="188" y="80"/>
                    <a:pt x="186" y="80"/>
                    <a:pt x="184" y="81"/>
                  </a:cubicBezTo>
                  <a:cubicBezTo>
                    <a:pt x="181" y="82"/>
                    <a:pt x="178" y="82"/>
                    <a:pt x="175" y="83"/>
                  </a:cubicBezTo>
                  <a:cubicBezTo>
                    <a:pt x="173" y="83"/>
                    <a:pt x="171" y="84"/>
                    <a:pt x="169" y="84"/>
                  </a:cubicBezTo>
                  <a:cubicBezTo>
                    <a:pt x="165" y="84"/>
                    <a:pt x="160" y="85"/>
                    <a:pt x="156" y="85"/>
                  </a:cubicBezTo>
                  <a:cubicBezTo>
                    <a:pt x="155" y="85"/>
                    <a:pt x="155" y="85"/>
                    <a:pt x="155" y="85"/>
                  </a:cubicBezTo>
                  <a:cubicBezTo>
                    <a:pt x="154" y="85"/>
                    <a:pt x="153" y="85"/>
                    <a:pt x="153" y="85"/>
                  </a:cubicBezTo>
                  <a:cubicBezTo>
                    <a:pt x="149" y="85"/>
                    <a:pt x="145" y="84"/>
                    <a:pt x="142" y="84"/>
                  </a:cubicBezTo>
                  <a:cubicBezTo>
                    <a:pt x="140" y="84"/>
                    <a:pt x="137" y="83"/>
                    <a:pt x="135" y="83"/>
                  </a:cubicBezTo>
                  <a:cubicBezTo>
                    <a:pt x="133" y="83"/>
                    <a:pt x="131" y="82"/>
                    <a:pt x="129" y="82"/>
                  </a:cubicBezTo>
                  <a:cubicBezTo>
                    <a:pt x="127" y="81"/>
                    <a:pt x="124" y="81"/>
                    <a:pt x="122" y="80"/>
                  </a:cubicBezTo>
                  <a:cubicBezTo>
                    <a:pt x="120" y="80"/>
                    <a:pt x="119" y="79"/>
                    <a:pt x="117" y="79"/>
                  </a:cubicBezTo>
                  <a:cubicBezTo>
                    <a:pt x="115" y="78"/>
                    <a:pt x="112" y="77"/>
                    <a:pt x="110" y="76"/>
                  </a:cubicBezTo>
                  <a:cubicBezTo>
                    <a:pt x="109" y="75"/>
                    <a:pt x="108" y="75"/>
                    <a:pt x="107" y="75"/>
                  </a:cubicBezTo>
                  <a:cubicBezTo>
                    <a:pt x="105" y="74"/>
                    <a:pt x="102" y="72"/>
                    <a:pt x="100" y="71"/>
                  </a:cubicBezTo>
                  <a:cubicBezTo>
                    <a:pt x="117" y="57"/>
                    <a:pt x="131" y="51"/>
                    <a:pt x="131" y="51"/>
                  </a:cubicBezTo>
                  <a:cubicBezTo>
                    <a:pt x="133" y="49"/>
                    <a:pt x="134" y="47"/>
                    <a:pt x="134" y="44"/>
                  </a:cubicBezTo>
                  <a:cubicBezTo>
                    <a:pt x="135" y="41"/>
                    <a:pt x="134" y="38"/>
                    <a:pt x="132" y="36"/>
                  </a:cubicBezTo>
                  <a:cubicBezTo>
                    <a:pt x="132" y="36"/>
                    <a:pt x="131" y="35"/>
                    <a:pt x="131" y="35"/>
                  </a:cubicBezTo>
                  <a:cubicBezTo>
                    <a:pt x="130" y="34"/>
                    <a:pt x="129" y="33"/>
                    <a:pt x="127" y="33"/>
                  </a:cubicBezTo>
                  <a:cubicBezTo>
                    <a:pt x="127" y="33"/>
                    <a:pt x="127" y="33"/>
                    <a:pt x="127" y="33"/>
                  </a:cubicBezTo>
                  <a:cubicBezTo>
                    <a:pt x="125" y="32"/>
                    <a:pt x="125" y="32"/>
                    <a:pt x="125" y="32"/>
                  </a:cubicBezTo>
                  <a:cubicBezTo>
                    <a:pt x="125" y="32"/>
                    <a:pt x="124" y="32"/>
                    <a:pt x="124" y="32"/>
                  </a:cubicBezTo>
                  <a:cubicBezTo>
                    <a:pt x="121" y="31"/>
                    <a:pt x="121" y="31"/>
                    <a:pt x="121" y="31"/>
                  </a:cubicBezTo>
                  <a:cubicBezTo>
                    <a:pt x="52" y="12"/>
                    <a:pt x="52" y="12"/>
                    <a:pt x="52" y="12"/>
                  </a:cubicBezTo>
                  <a:cubicBezTo>
                    <a:pt x="45" y="10"/>
                    <a:pt x="45" y="10"/>
                    <a:pt x="45" y="10"/>
                  </a:cubicBezTo>
                  <a:cubicBezTo>
                    <a:pt x="45" y="10"/>
                    <a:pt x="45" y="10"/>
                    <a:pt x="45" y="10"/>
                  </a:cubicBezTo>
                  <a:cubicBezTo>
                    <a:pt x="19" y="3"/>
                    <a:pt x="19" y="3"/>
                    <a:pt x="19" y="3"/>
                  </a:cubicBezTo>
                  <a:cubicBezTo>
                    <a:pt x="7" y="0"/>
                    <a:pt x="0" y="7"/>
                    <a:pt x="3" y="19"/>
                  </a:cubicBezTo>
                  <a:cubicBezTo>
                    <a:pt x="9" y="42"/>
                    <a:pt x="9" y="42"/>
                    <a:pt x="9" y="42"/>
                  </a:cubicBezTo>
                  <a:cubicBezTo>
                    <a:pt x="15" y="60"/>
                    <a:pt x="15" y="60"/>
                    <a:pt x="15" y="60"/>
                  </a:cubicBezTo>
                  <a:cubicBezTo>
                    <a:pt x="15" y="61"/>
                    <a:pt x="15" y="61"/>
                    <a:pt x="15" y="61"/>
                  </a:cubicBezTo>
                  <a:cubicBezTo>
                    <a:pt x="32" y="124"/>
                    <a:pt x="32" y="124"/>
                    <a:pt x="32" y="124"/>
                  </a:cubicBezTo>
                  <a:cubicBezTo>
                    <a:pt x="32" y="125"/>
                    <a:pt x="32" y="127"/>
                    <a:pt x="33" y="128"/>
                  </a:cubicBezTo>
                  <a:cubicBezTo>
                    <a:pt x="33" y="128"/>
                    <a:pt x="33" y="128"/>
                    <a:pt x="33" y="128"/>
                  </a:cubicBezTo>
                  <a:cubicBezTo>
                    <a:pt x="33" y="128"/>
                    <a:pt x="33" y="128"/>
                    <a:pt x="33" y="128"/>
                  </a:cubicBezTo>
                  <a:cubicBezTo>
                    <a:pt x="34" y="129"/>
                    <a:pt x="34" y="130"/>
                    <a:pt x="35" y="132"/>
                  </a:cubicBezTo>
                  <a:cubicBezTo>
                    <a:pt x="38" y="134"/>
                    <a:pt x="42" y="135"/>
                    <a:pt x="46" y="134"/>
                  </a:cubicBezTo>
                  <a:cubicBezTo>
                    <a:pt x="46" y="134"/>
                    <a:pt x="46" y="134"/>
                    <a:pt x="46" y="134"/>
                  </a:cubicBezTo>
                  <a:cubicBezTo>
                    <a:pt x="47" y="134"/>
                    <a:pt x="48" y="134"/>
                    <a:pt x="49" y="134"/>
                  </a:cubicBezTo>
                  <a:cubicBezTo>
                    <a:pt x="49" y="133"/>
                    <a:pt x="49" y="133"/>
                    <a:pt x="49" y="133"/>
                  </a:cubicBezTo>
                  <a:cubicBezTo>
                    <a:pt x="50" y="133"/>
                    <a:pt x="51" y="132"/>
                    <a:pt x="51" y="132"/>
                  </a:cubicBezTo>
                  <a:cubicBezTo>
                    <a:pt x="52" y="131"/>
                    <a:pt x="52" y="131"/>
                    <a:pt x="52" y="131"/>
                  </a:cubicBezTo>
                  <a:cubicBezTo>
                    <a:pt x="53" y="130"/>
                    <a:pt x="54" y="129"/>
                    <a:pt x="54" y="128"/>
                  </a:cubicBezTo>
                  <a:cubicBezTo>
                    <a:pt x="55" y="126"/>
                    <a:pt x="55" y="126"/>
                    <a:pt x="54" y="127"/>
                  </a:cubicBezTo>
                  <a:cubicBezTo>
                    <a:pt x="55" y="126"/>
                    <a:pt x="59" y="119"/>
                    <a:pt x="65" y="110"/>
                  </a:cubicBezTo>
                  <a:cubicBezTo>
                    <a:pt x="72" y="114"/>
                    <a:pt x="80" y="118"/>
                    <a:pt x="88" y="122"/>
                  </a:cubicBezTo>
                  <a:cubicBezTo>
                    <a:pt x="89" y="122"/>
                    <a:pt x="89" y="122"/>
                    <a:pt x="89" y="122"/>
                  </a:cubicBezTo>
                  <a:cubicBezTo>
                    <a:pt x="94" y="124"/>
                    <a:pt x="99" y="126"/>
                    <a:pt x="103" y="127"/>
                  </a:cubicBezTo>
                  <a:cubicBezTo>
                    <a:pt x="104" y="128"/>
                    <a:pt x="104" y="128"/>
                    <a:pt x="105" y="128"/>
                  </a:cubicBezTo>
                  <a:cubicBezTo>
                    <a:pt x="110" y="129"/>
                    <a:pt x="115" y="131"/>
                    <a:pt x="121" y="132"/>
                  </a:cubicBezTo>
                  <a:cubicBezTo>
                    <a:pt x="121" y="132"/>
                    <a:pt x="121" y="132"/>
                    <a:pt x="121" y="132"/>
                  </a:cubicBezTo>
                  <a:cubicBezTo>
                    <a:pt x="126" y="133"/>
                    <a:pt x="131" y="134"/>
                    <a:pt x="136" y="134"/>
                  </a:cubicBezTo>
                  <a:cubicBezTo>
                    <a:pt x="137" y="134"/>
                    <a:pt x="138" y="135"/>
                    <a:pt x="139" y="135"/>
                  </a:cubicBezTo>
                  <a:cubicBezTo>
                    <a:pt x="144" y="135"/>
                    <a:pt x="149" y="135"/>
                    <a:pt x="155" y="135"/>
                  </a:cubicBezTo>
                  <a:cubicBezTo>
                    <a:pt x="155" y="135"/>
                    <a:pt x="155" y="135"/>
                    <a:pt x="155" y="135"/>
                  </a:cubicBezTo>
                  <a:cubicBezTo>
                    <a:pt x="155" y="135"/>
                    <a:pt x="155" y="135"/>
                    <a:pt x="155" y="135"/>
                  </a:cubicBezTo>
                  <a:cubicBezTo>
                    <a:pt x="160" y="135"/>
                    <a:pt x="165" y="135"/>
                    <a:pt x="171" y="135"/>
                  </a:cubicBezTo>
                  <a:cubicBezTo>
                    <a:pt x="172" y="135"/>
                    <a:pt x="172" y="134"/>
                    <a:pt x="173" y="134"/>
                  </a:cubicBezTo>
                  <a:cubicBezTo>
                    <a:pt x="178" y="134"/>
                    <a:pt x="183" y="133"/>
                    <a:pt x="188" y="132"/>
                  </a:cubicBezTo>
                  <a:cubicBezTo>
                    <a:pt x="188" y="132"/>
                    <a:pt x="189" y="132"/>
                    <a:pt x="189" y="132"/>
                  </a:cubicBezTo>
                  <a:cubicBezTo>
                    <a:pt x="240" y="122"/>
                    <a:pt x="283" y="88"/>
                    <a:pt x="306" y="42"/>
                  </a:cubicBezTo>
                  <a:cubicBezTo>
                    <a:pt x="306" y="42"/>
                    <a:pt x="307" y="41"/>
                    <a:pt x="307" y="40"/>
                  </a:cubicBezTo>
                  <a:cubicBezTo>
                    <a:pt x="307" y="40"/>
                    <a:pt x="307" y="39"/>
                    <a:pt x="307" y="38"/>
                  </a:cubicBezTo>
                  <a:cubicBezTo>
                    <a:pt x="307" y="38"/>
                    <a:pt x="307" y="38"/>
                    <a:pt x="307" y="37"/>
                  </a:cubicBezTo>
                  <a:cubicBezTo>
                    <a:pt x="307" y="34"/>
                    <a:pt x="306" y="31"/>
                    <a:pt x="303" y="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sp>
          <p:nvSpPr>
            <p:cNvPr id="233" name="Freeform 77">
              <a:extLst>
                <a:ext uri="{FF2B5EF4-FFF2-40B4-BE49-F238E27FC236}">
                  <a16:creationId xmlns:a16="http://schemas.microsoft.com/office/drawing/2014/main" id="{3BD0D735-E372-4FD7-9011-909771AF2C02}"/>
                </a:ext>
              </a:extLst>
            </p:cNvPr>
            <p:cNvSpPr>
              <a:spLocks/>
            </p:cNvSpPr>
            <p:nvPr/>
          </p:nvSpPr>
          <p:spPr bwMode="auto">
            <a:xfrm>
              <a:off x="531813" y="4394200"/>
              <a:ext cx="1150938" cy="506413"/>
            </a:xfrm>
            <a:custGeom>
              <a:avLst/>
              <a:gdLst>
                <a:gd name="T0" fmla="*/ 5 w 307"/>
                <a:gd name="T1" fmla="*/ 106 h 135"/>
                <a:gd name="T2" fmla="*/ 35 w 307"/>
                <a:gd name="T3" fmla="*/ 121 h 135"/>
                <a:gd name="T4" fmla="*/ 45 w 307"/>
                <a:gd name="T5" fmla="*/ 118 h 135"/>
                <a:gd name="T6" fmla="*/ 49 w 307"/>
                <a:gd name="T7" fmla="*/ 112 h 135"/>
                <a:gd name="T8" fmla="*/ 60 w 307"/>
                <a:gd name="T9" fmla="*/ 95 h 135"/>
                <a:gd name="T10" fmla="*/ 68 w 307"/>
                <a:gd name="T11" fmla="*/ 86 h 135"/>
                <a:gd name="T12" fmla="*/ 84 w 307"/>
                <a:gd name="T13" fmla="*/ 72 h 135"/>
                <a:gd name="T14" fmla="*/ 94 w 307"/>
                <a:gd name="T15" fmla="*/ 66 h 135"/>
                <a:gd name="T16" fmla="*/ 106 w 307"/>
                <a:gd name="T17" fmla="*/ 60 h 135"/>
                <a:gd name="T18" fmla="*/ 123 w 307"/>
                <a:gd name="T19" fmla="*/ 54 h 135"/>
                <a:gd name="T20" fmla="*/ 138 w 307"/>
                <a:gd name="T21" fmla="*/ 51 h 135"/>
                <a:gd name="T22" fmla="*/ 153 w 307"/>
                <a:gd name="T23" fmla="*/ 50 h 135"/>
                <a:gd name="T24" fmla="*/ 166 w 307"/>
                <a:gd name="T25" fmla="*/ 51 h 135"/>
                <a:gd name="T26" fmla="*/ 178 w 307"/>
                <a:gd name="T27" fmla="*/ 53 h 135"/>
                <a:gd name="T28" fmla="*/ 190 w 307"/>
                <a:gd name="T29" fmla="*/ 57 h 135"/>
                <a:gd name="T30" fmla="*/ 201 w 307"/>
                <a:gd name="T31" fmla="*/ 61 h 135"/>
                <a:gd name="T32" fmla="*/ 176 w 307"/>
                <a:gd name="T33" fmla="*/ 84 h 135"/>
                <a:gd name="T34" fmla="*/ 175 w 307"/>
                <a:gd name="T35" fmla="*/ 99 h 135"/>
                <a:gd name="T36" fmla="*/ 180 w 307"/>
                <a:gd name="T37" fmla="*/ 102 h 135"/>
                <a:gd name="T38" fmla="*/ 182 w 307"/>
                <a:gd name="T39" fmla="*/ 103 h 135"/>
                <a:gd name="T40" fmla="*/ 187 w 307"/>
                <a:gd name="T41" fmla="*/ 104 h 135"/>
                <a:gd name="T42" fmla="*/ 262 w 307"/>
                <a:gd name="T43" fmla="*/ 125 h 135"/>
                <a:gd name="T44" fmla="*/ 289 w 307"/>
                <a:gd name="T45" fmla="*/ 132 h 135"/>
                <a:gd name="T46" fmla="*/ 298 w 307"/>
                <a:gd name="T47" fmla="*/ 93 h 135"/>
                <a:gd name="T48" fmla="*/ 293 w 307"/>
                <a:gd name="T49" fmla="*/ 74 h 135"/>
                <a:gd name="T50" fmla="*/ 274 w 307"/>
                <a:gd name="T51" fmla="*/ 7 h 135"/>
                <a:gd name="T52" fmla="*/ 274 w 307"/>
                <a:gd name="T53" fmla="*/ 7 h 135"/>
                <a:gd name="T54" fmla="*/ 261 w 307"/>
                <a:gd name="T55" fmla="*/ 1 h 135"/>
                <a:gd name="T56" fmla="*/ 259 w 307"/>
                <a:gd name="T57" fmla="*/ 2 h 135"/>
                <a:gd name="T58" fmla="*/ 256 w 307"/>
                <a:gd name="T59" fmla="*/ 4 h 135"/>
                <a:gd name="T60" fmla="*/ 253 w 307"/>
                <a:gd name="T61" fmla="*/ 7 h 135"/>
                <a:gd name="T62" fmla="*/ 242 w 307"/>
                <a:gd name="T63" fmla="*/ 25 h 135"/>
                <a:gd name="T64" fmla="*/ 219 w 307"/>
                <a:gd name="T65" fmla="*/ 13 h 135"/>
                <a:gd name="T66" fmla="*/ 204 w 307"/>
                <a:gd name="T67" fmla="*/ 8 h 135"/>
                <a:gd name="T68" fmla="*/ 187 w 307"/>
                <a:gd name="T69" fmla="*/ 3 h 135"/>
                <a:gd name="T70" fmla="*/ 171 w 307"/>
                <a:gd name="T71" fmla="*/ 1 h 135"/>
                <a:gd name="T72" fmla="*/ 153 w 307"/>
                <a:gd name="T73" fmla="*/ 0 h 135"/>
                <a:gd name="T74" fmla="*/ 153 w 307"/>
                <a:gd name="T75" fmla="*/ 0 h 135"/>
                <a:gd name="T76" fmla="*/ 134 w 307"/>
                <a:gd name="T77" fmla="*/ 1 h 135"/>
                <a:gd name="T78" fmla="*/ 119 w 307"/>
                <a:gd name="T79" fmla="*/ 3 h 135"/>
                <a:gd name="T80" fmla="*/ 1 w 307"/>
                <a:gd name="T81" fmla="*/ 95 h 135"/>
                <a:gd name="T82" fmla="*/ 0 w 307"/>
                <a:gd name="T83" fmla="*/ 9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7" h="135">
                  <a:moveTo>
                    <a:pt x="5" y="105"/>
                  </a:moveTo>
                  <a:cubicBezTo>
                    <a:pt x="5" y="105"/>
                    <a:pt x="5" y="106"/>
                    <a:pt x="5" y="106"/>
                  </a:cubicBezTo>
                  <a:cubicBezTo>
                    <a:pt x="34" y="121"/>
                    <a:pt x="34" y="121"/>
                    <a:pt x="34" y="121"/>
                  </a:cubicBezTo>
                  <a:cubicBezTo>
                    <a:pt x="35" y="121"/>
                    <a:pt x="35" y="121"/>
                    <a:pt x="35" y="121"/>
                  </a:cubicBezTo>
                  <a:cubicBezTo>
                    <a:pt x="36" y="122"/>
                    <a:pt x="37" y="122"/>
                    <a:pt x="38" y="122"/>
                  </a:cubicBezTo>
                  <a:cubicBezTo>
                    <a:pt x="41" y="122"/>
                    <a:pt x="44" y="121"/>
                    <a:pt x="45" y="118"/>
                  </a:cubicBezTo>
                  <a:cubicBezTo>
                    <a:pt x="46" y="118"/>
                    <a:pt x="46" y="117"/>
                    <a:pt x="47" y="116"/>
                  </a:cubicBezTo>
                  <a:cubicBezTo>
                    <a:pt x="47" y="115"/>
                    <a:pt x="48" y="114"/>
                    <a:pt x="49" y="112"/>
                  </a:cubicBezTo>
                  <a:cubicBezTo>
                    <a:pt x="49" y="112"/>
                    <a:pt x="49" y="112"/>
                    <a:pt x="49" y="112"/>
                  </a:cubicBezTo>
                  <a:cubicBezTo>
                    <a:pt x="52" y="106"/>
                    <a:pt x="56" y="100"/>
                    <a:pt x="60" y="95"/>
                  </a:cubicBezTo>
                  <a:cubicBezTo>
                    <a:pt x="61" y="94"/>
                    <a:pt x="61" y="94"/>
                    <a:pt x="62" y="93"/>
                  </a:cubicBezTo>
                  <a:cubicBezTo>
                    <a:pt x="64" y="90"/>
                    <a:pt x="66" y="88"/>
                    <a:pt x="68" y="86"/>
                  </a:cubicBezTo>
                  <a:cubicBezTo>
                    <a:pt x="69" y="85"/>
                    <a:pt x="70" y="84"/>
                    <a:pt x="71" y="83"/>
                  </a:cubicBezTo>
                  <a:cubicBezTo>
                    <a:pt x="75" y="79"/>
                    <a:pt x="80" y="76"/>
                    <a:pt x="84" y="72"/>
                  </a:cubicBezTo>
                  <a:cubicBezTo>
                    <a:pt x="85" y="72"/>
                    <a:pt x="86" y="71"/>
                    <a:pt x="87" y="70"/>
                  </a:cubicBezTo>
                  <a:cubicBezTo>
                    <a:pt x="89" y="69"/>
                    <a:pt x="92" y="67"/>
                    <a:pt x="94" y="66"/>
                  </a:cubicBezTo>
                  <a:cubicBezTo>
                    <a:pt x="96" y="65"/>
                    <a:pt x="98" y="64"/>
                    <a:pt x="99" y="63"/>
                  </a:cubicBezTo>
                  <a:cubicBezTo>
                    <a:pt x="102" y="62"/>
                    <a:pt x="104" y="61"/>
                    <a:pt x="106" y="60"/>
                  </a:cubicBezTo>
                  <a:cubicBezTo>
                    <a:pt x="110" y="58"/>
                    <a:pt x="114" y="57"/>
                    <a:pt x="118" y="56"/>
                  </a:cubicBezTo>
                  <a:cubicBezTo>
                    <a:pt x="120" y="55"/>
                    <a:pt x="122" y="55"/>
                    <a:pt x="123" y="54"/>
                  </a:cubicBezTo>
                  <a:cubicBezTo>
                    <a:pt x="126" y="53"/>
                    <a:pt x="129" y="53"/>
                    <a:pt x="132" y="52"/>
                  </a:cubicBezTo>
                  <a:cubicBezTo>
                    <a:pt x="134" y="52"/>
                    <a:pt x="136" y="52"/>
                    <a:pt x="138" y="51"/>
                  </a:cubicBezTo>
                  <a:cubicBezTo>
                    <a:pt x="142" y="51"/>
                    <a:pt x="147" y="50"/>
                    <a:pt x="152" y="50"/>
                  </a:cubicBezTo>
                  <a:cubicBezTo>
                    <a:pt x="152" y="50"/>
                    <a:pt x="152" y="50"/>
                    <a:pt x="153" y="50"/>
                  </a:cubicBezTo>
                  <a:cubicBezTo>
                    <a:pt x="153" y="50"/>
                    <a:pt x="154" y="50"/>
                    <a:pt x="155" y="50"/>
                  </a:cubicBezTo>
                  <a:cubicBezTo>
                    <a:pt x="158" y="50"/>
                    <a:pt x="162" y="51"/>
                    <a:pt x="166" y="51"/>
                  </a:cubicBezTo>
                  <a:cubicBezTo>
                    <a:pt x="168" y="51"/>
                    <a:pt x="170" y="52"/>
                    <a:pt x="172" y="52"/>
                  </a:cubicBezTo>
                  <a:cubicBezTo>
                    <a:pt x="174" y="52"/>
                    <a:pt x="176" y="53"/>
                    <a:pt x="178" y="53"/>
                  </a:cubicBezTo>
                  <a:cubicBezTo>
                    <a:pt x="181" y="54"/>
                    <a:pt x="183" y="54"/>
                    <a:pt x="185" y="55"/>
                  </a:cubicBezTo>
                  <a:cubicBezTo>
                    <a:pt x="187" y="55"/>
                    <a:pt x="189" y="56"/>
                    <a:pt x="190" y="57"/>
                  </a:cubicBezTo>
                  <a:cubicBezTo>
                    <a:pt x="193" y="57"/>
                    <a:pt x="195" y="58"/>
                    <a:pt x="198" y="59"/>
                  </a:cubicBezTo>
                  <a:cubicBezTo>
                    <a:pt x="199" y="60"/>
                    <a:pt x="200" y="60"/>
                    <a:pt x="201" y="61"/>
                  </a:cubicBezTo>
                  <a:cubicBezTo>
                    <a:pt x="203" y="62"/>
                    <a:pt x="205" y="63"/>
                    <a:pt x="207" y="64"/>
                  </a:cubicBezTo>
                  <a:cubicBezTo>
                    <a:pt x="190" y="78"/>
                    <a:pt x="176" y="84"/>
                    <a:pt x="176" y="84"/>
                  </a:cubicBezTo>
                  <a:cubicBezTo>
                    <a:pt x="174" y="86"/>
                    <a:pt x="173" y="88"/>
                    <a:pt x="173" y="91"/>
                  </a:cubicBezTo>
                  <a:cubicBezTo>
                    <a:pt x="173" y="94"/>
                    <a:pt x="173" y="97"/>
                    <a:pt x="175" y="99"/>
                  </a:cubicBezTo>
                  <a:cubicBezTo>
                    <a:pt x="176" y="99"/>
                    <a:pt x="176" y="100"/>
                    <a:pt x="176" y="100"/>
                  </a:cubicBezTo>
                  <a:cubicBezTo>
                    <a:pt x="177" y="101"/>
                    <a:pt x="179" y="102"/>
                    <a:pt x="180" y="102"/>
                  </a:cubicBezTo>
                  <a:cubicBezTo>
                    <a:pt x="180" y="103"/>
                    <a:pt x="180" y="103"/>
                    <a:pt x="180" y="103"/>
                  </a:cubicBezTo>
                  <a:cubicBezTo>
                    <a:pt x="182" y="103"/>
                    <a:pt x="182" y="103"/>
                    <a:pt x="182" y="103"/>
                  </a:cubicBezTo>
                  <a:cubicBezTo>
                    <a:pt x="183" y="103"/>
                    <a:pt x="183" y="103"/>
                    <a:pt x="183" y="104"/>
                  </a:cubicBezTo>
                  <a:cubicBezTo>
                    <a:pt x="187" y="104"/>
                    <a:pt x="187" y="104"/>
                    <a:pt x="187" y="104"/>
                  </a:cubicBezTo>
                  <a:cubicBezTo>
                    <a:pt x="255" y="123"/>
                    <a:pt x="255" y="123"/>
                    <a:pt x="255" y="123"/>
                  </a:cubicBezTo>
                  <a:cubicBezTo>
                    <a:pt x="262" y="125"/>
                    <a:pt x="262" y="125"/>
                    <a:pt x="262" y="125"/>
                  </a:cubicBezTo>
                  <a:cubicBezTo>
                    <a:pt x="263" y="125"/>
                    <a:pt x="263" y="125"/>
                    <a:pt x="263" y="125"/>
                  </a:cubicBezTo>
                  <a:cubicBezTo>
                    <a:pt x="289" y="132"/>
                    <a:pt x="289" y="132"/>
                    <a:pt x="289" y="132"/>
                  </a:cubicBezTo>
                  <a:cubicBezTo>
                    <a:pt x="300" y="135"/>
                    <a:pt x="307" y="128"/>
                    <a:pt x="304" y="116"/>
                  </a:cubicBezTo>
                  <a:cubicBezTo>
                    <a:pt x="298" y="93"/>
                    <a:pt x="298" y="93"/>
                    <a:pt x="298" y="93"/>
                  </a:cubicBezTo>
                  <a:cubicBezTo>
                    <a:pt x="293" y="75"/>
                    <a:pt x="293" y="75"/>
                    <a:pt x="293" y="75"/>
                  </a:cubicBezTo>
                  <a:cubicBezTo>
                    <a:pt x="293" y="74"/>
                    <a:pt x="293" y="74"/>
                    <a:pt x="293" y="74"/>
                  </a:cubicBezTo>
                  <a:cubicBezTo>
                    <a:pt x="276" y="11"/>
                    <a:pt x="276" y="11"/>
                    <a:pt x="276" y="11"/>
                  </a:cubicBezTo>
                  <a:cubicBezTo>
                    <a:pt x="275" y="10"/>
                    <a:pt x="275" y="8"/>
                    <a:pt x="274" y="7"/>
                  </a:cubicBezTo>
                  <a:cubicBezTo>
                    <a:pt x="274" y="7"/>
                    <a:pt x="274" y="7"/>
                    <a:pt x="274" y="7"/>
                  </a:cubicBezTo>
                  <a:cubicBezTo>
                    <a:pt x="274" y="7"/>
                    <a:pt x="274" y="7"/>
                    <a:pt x="274" y="7"/>
                  </a:cubicBezTo>
                  <a:cubicBezTo>
                    <a:pt x="274" y="6"/>
                    <a:pt x="273" y="5"/>
                    <a:pt x="272" y="4"/>
                  </a:cubicBezTo>
                  <a:cubicBezTo>
                    <a:pt x="269" y="1"/>
                    <a:pt x="265" y="0"/>
                    <a:pt x="261" y="1"/>
                  </a:cubicBezTo>
                  <a:cubicBezTo>
                    <a:pt x="261" y="1"/>
                    <a:pt x="261" y="1"/>
                    <a:pt x="261" y="1"/>
                  </a:cubicBezTo>
                  <a:cubicBezTo>
                    <a:pt x="260" y="1"/>
                    <a:pt x="259" y="1"/>
                    <a:pt x="259" y="2"/>
                  </a:cubicBezTo>
                  <a:cubicBezTo>
                    <a:pt x="259" y="2"/>
                    <a:pt x="258" y="2"/>
                    <a:pt x="258" y="2"/>
                  </a:cubicBezTo>
                  <a:cubicBezTo>
                    <a:pt x="257" y="2"/>
                    <a:pt x="257" y="3"/>
                    <a:pt x="256" y="4"/>
                  </a:cubicBezTo>
                  <a:cubicBezTo>
                    <a:pt x="256" y="4"/>
                    <a:pt x="255" y="4"/>
                    <a:pt x="255" y="5"/>
                  </a:cubicBezTo>
                  <a:cubicBezTo>
                    <a:pt x="254" y="5"/>
                    <a:pt x="254" y="6"/>
                    <a:pt x="253" y="7"/>
                  </a:cubicBezTo>
                  <a:cubicBezTo>
                    <a:pt x="253" y="9"/>
                    <a:pt x="253" y="9"/>
                    <a:pt x="253" y="9"/>
                  </a:cubicBezTo>
                  <a:cubicBezTo>
                    <a:pt x="252" y="10"/>
                    <a:pt x="248" y="17"/>
                    <a:pt x="242" y="25"/>
                  </a:cubicBezTo>
                  <a:cubicBezTo>
                    <a:pt x="239" y="23"/>
                    <a:pt x="236" y="22"/>
                    <a:pt x="233" y="20"/>
                  </a:cubicBezTo>
                  <a:cubicBezTo>
                    <a:pt x="229" y="18"/>
                    <a:pt x="224" y="15"/>
                    <a:pt x="219" y="13"/>
                  </a:cubicBezTo>
                  <a:cubicBezTo>
                    <a:pt x="219" y="13"/>
                    <a:pt x="218" y="13"/>
                    <a:pt x="218" y="13"/>
                  </a:cubicBezTo>
                  <a:cubicBezTo>
                    <a:pt x="214" y="11"/>
                    <a:pt x="209" y="9"/>
                    <a:pt x="204" y="8"/>
                  </a:cubicBezTo>
                  <a:cubicBezTo>
                    <a:pt x="204" y="8"/>
                    <a:pt x="203" y="7"/>
                    <a:pt x="203" y="7"/>
                  </a:cubicBezTo>
                  <a:cubicBezTo>
                    <a:pt x="197" y="6"/>
                    <a:pt x="192" y="4"/>
                    <a:pt x="187" y="3"/>
                  </a:cubicBezTo>
                  <a:cubicBezTo>
                    <a:pt x="187" y="3"/>
                    <a:pt x="186" y="3"/>
                    <a:pt x="186" y="3"/>
                  </a:cubicBezTo>
                  <a:cubicBezTo>
                    <a:pt x="181" y="2"/>
                    <a:pt x="176" y="1"/>
                    <a:pt x="171" y="1"/>
                  </a:cubicBezTo>
                  <a:cubicBezTo>
                    <a:pt x="170" y="1"/>
                    <a:pt x="169" y="1"/>
                    <a:pt x="169" y="0"/>
                  </a:cubicBezTo>
                  <a:cubicBezTo>
                    <a:pt x="163" y="0"/>
                    <a:pt x="158" y="0"/>
                    <a:pt x="153" y="0"/>
                  </a:cubicBezTo>
                  <a:cubicBezTo>
                    <a:pt x="153" y="0"/>
                    <a:pt x="153" y="0"/>
                    <a:pt x="153" y="0"/>
                  </a:cubicBezTo>
                  <a:cubicBezTo>
                    <a:pt x="153" y="0"/>
                    <a:pt x="153" y="0"/>
                    <a:pt x="153" y="0"/>
                  </a:cubicBezTo>
                  <a:cubicBezTo>
                    <a:pt x="147" y="0"/>
                    <a:pt x="142" y="0"/>
                    <a:pt x="137" y="0"/>
                  </a:cubicBezTo>
                  <a:cubicBezTo>
                    <a:pt x="136" y="1"/>
                    <a:pt x="135" y="1"/>
                    <a:pt x="134" y="1"/>
                  </a:cubicBezTo>
                  <a:cubicBezTo>
                    <a:pt x="129" y="1"/>
                    <a:pt x="124" y="2"/>
                    <a:pt x="119" y="3"/>
                  </a:cubicBezTo>
                  <a:cubicBezTo>
                    <a:pt x="119" y="3"/>
                    <a:pt x="119" y="3"/>
                    <a:pt x="119" y="3"/>
                  </a:cubicBezTo>
                  <a:cubicBezTo>
                    <a:pt x="68" y="14"/>
                    <a:pt x="25" y="47"/>
                    <a:pt x="2" y="93"/>
                  </a:cubicBezTo>
                  <a:cubicBezTo>
                    <a:pt x="1" y="94"/>
                    <a:pt x="1" y="94"/>
                    <a:pt x="1" y="95"/>
                  </a:cubicBezTo>
                  <a:cubicBezTo>
                    <a:pt x="0" y="96"/>
                    <a:pt x="0" y="96"/>
                    <a:pt x="0" y="97"/>
                  </a:cubicBezTo>
                  <a:cubicBezTo>
                    <a:pt x="0" y="97"/>
                    <a:pt x="0" y="97"/>
                    <a:pt x="0" y="98"/>
                  </a:cubicBezTo>
                  <a:cubicBezTo>
                    <a:pt x="0" y="101"/>
                    <a:pt x="2" y="104"/>
                    <a:pt x="5" y="10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66A"/>
                </a:solidFill>
                <a:effectLst/>
                <a:uLnTx/>
                <a:uFillTx/>
                <a:latin typeface="GE Inspira Sans"/>
                <a:ea typeface="+mn-ea"/>
                <a:cs typeface="+mn-cs"/>
              </a:endParaRPr>
            </a:p>
          </p:txBody>
        </p:sp>
      </p:grpSp>
      <p:sp>
        <p:nvSpPr>
          <p:cNvPr id="234" name="TextBox 147">
            <a:extLst>
              <a:ext uri="{FF2B5EF4-FFF2-40B4-BE49-F238E27FC236}">
                <a16:creationId xmlns:a16="http://schemas.microsoft.com/office/drawing/2014/main" id="{B0C6658A-69CD-48DC-8592-988EB0014AFD}"/>
              </a:ext>
            </a:extLst>
          </p:cNvPr>
          <p:cNvSpPr txBox="1"/>
          <p:nvPr/>
        </p:nvSpPr>
        <p:spPr>
          <a:xfrm>
            <a:off x="9174626" y="4412816"/>
            <a:ext cx="820508" cy="276999"/>
          </a:xfrm>
          <a:custGeom>
            <a:avLst/>
            <a:gdLst>
              <a:gd name="connsiteX0" fmla="*/ 0 w 772647"/>
              <a:gd name="connsiteY0" fmla="*/ 0 h 215444"/>
              <a:gd name="connsiteX1" fmla="*/ 772647 w 772647"/>
              <a:gd name="connsiteY1" fmla="*/ 0 h 215444"/>
              <a:gd name="connsiteX2" fmla="*/ 772647 w 772647"/>
              <a:gd name="connsiteY2" fmla="*/ 215444 h 215444"/>
              <a:gd name="connsiteX3" fmla="*/ 0 w 772647"/>
              <a:gd name="connsiteY3" fmla="*/ 215444 h 215444"/>
              <a:gd name="connsiteX4" fmla="*/ 0 w 772647"/>
              <a:gd name="connsiteY4" fmla="*/ 0 h 215444"/>
              <a:gd name="connsiteX0" fmla="*/ 0 w 1079237"/>
              <a:gd name="connsiteY0" fmla="*/ 0 h 215444"/>
              <a:gd name="connsiteX1" fmla="*/ 772647 w 1079237"/>
              <a:gd name="connsiteY1" fmla="*/ 0 h 215444"/>
              <a:gd name="connsiteX2" fmla="*/ 772647 w 1079237"/>
              <a:gd name="connsiteY2" fmla="*/ 215444 h 215444"/>
              <a:gd name="connsiteX3" fmla="*/ 0 w 1079237"/>
              <a:gd name="connsiteY3" fmla="*/ 215444 h 215444"/>
              <a:gd name="connsiteX4" fmla="*/ 0 w 1079237"/>
              <a:gd name="connsiteY4" fmla="*/ 0 h 21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237" h="215444">
                <a:moveTo>
                  <a:pt x="0" y="0"/>
                </a:moveTo>
                <a:lnTo>
                  <a:pt x="772647" y="0"/>
                </a:lnTo>
                <a:cubicBezTo>
                  <a:pt x="1462475" y="181062"/>
                  <a:pt x="772647" y="143629"/>
                  <a:pt x="772647" y="215444"/>
                </a:cubicBezTo>
                <a:lnTo>
                  <a:pt x="0" y="215444"/>
                </a:lnTo>
                <a:lnTo>
                  <a:pt x="0" y="0"/>
                </a:lnTo>
                <a:close/>
              </a:path>
            </a:pathLst>
          </a:cu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5EB8"/>
                </a:solidFill>
                <a:effectLst/>
                <a:uLnTx/>
                <a:uFillTx/>
                <a:latin typeface="GE Inspira Sans"/>
                <a:ea typeface="+mn-ea"/>
                <a:cs typeface="+mn-cs"/>
              </a:rPr>
              <a:t>Physics</a:t>
            </a:r>
          </a:p>
        </p:txBody>
      </p:sp>
      <p:sp>
        <p:nvSpPr>
          <p:cNvPr id="235" name="TextBox 148">
            <a:extLst>
              <a:ext uri="{FF2B5EF4-FFF2-40B4-BE49-F238E27FC236}">
                <a16:creationId xmlns:a16="http://schemas.microsoft.com/office/drawing/2014/main" id="{58125E56-3F5F-4A7F-BAE7-2E409397F547}"/>
              </a:ext>
            </a:extLst>
          </p:cNvPr>
          <p:cNvSpPr txBox="1"/>
          <p:nvPr/>
        </p:nvSpPr>
        <p:spPr>
          <a:xfrm>
            <a:off x="8944021" y="3494300"/>
            <a:ext cx="1281719" cy="276999"/>
          </a:xfrm>
          <a:custGeom>
            <a:avLst/>
            <a:gdLst>
              <a:gd name="connsiteX0" fmla="*/ 0 w 772647"/>
              <a:gd name="connsiteY0" fmla="*/ 0 h 215444"/>
              <a:gd name="connsiteX1" fmla="*/ 772647 w 772647"/>
              <a:gd name="connsiteY1" fmla="*/ 0 h 215444"/>
              <a:gd name="connsiteX2" fmla="*/ 772647 w 772647"/>
              <a:gd name="connsiteY2" fmla="*/ 215444 h 215444"/>
              <a:gd name="connsiteX3" fmla="*/ 0 w 772647"/>
              <a:gd name="connsiteY3" fmla="*/ 215444 h 215444"/>
              <a:gd name="connsiteX4" fmla="*/ 0 w 772647"/>
              <a:gd name="connsiteY4" fmla="*/ 0 h 215444"/>
              <a:gd name="connsiteX0" fmla="*/ 0 w 1079237"/>
              <a:gd name="connsiteY0" fmla="*/ 0 h 215444"/>
              <a:gd name="connsiteX1" fmla="*/ 772647 w 1079237"/>
              <a:gd name="connsiteY1" fmla="*/ 0 h 215444"/>
              <a:gd name="connsiteX2" fmla="*/ 772647 w 1079237"/>
              <a:gd name="connsiteY2" fmla="*/ 215444 h 215444"/>
              <a:gd name="connsiteX3" fmla="*/ 0 w 1079237"/>
              <a:gd name="connsiteY3" fmla="*/ 215444 h 215444"/>
              <a:gd name="connsiteX4" fmla="*/ 0 w 1079237"/>
              <a:gd name="connsiteY4" fmla="*/ 0 h 21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237" h="215444">
                <a:moveTo>
                  <a:pt x="0" y="0"/>
                </a:moveTo>
                <a:lnTo>
                  <a:pt x="772647" y="0"/>
                </a:lnTo>
                <a:cubicBezTo>
                  <a:pt x="1462475" y="181062"/>
                  <a:pt x="772647" y="143629"/>
                  <a:pt x="772647" y="215444"/>
                </a:cubicBezTo>
                <a:lnTo>
                  <a:pt x="0" y="215444"/>
                </a:lnTo>
                <a:lnTo>
                  <a:pt x="0" y="0"/>
                </a:lnTo>
                <a:close/>
              </a:path>
            </a:pathLst>
          </a:cu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5EB8"/>
                </a:solidFill>
                <a:effectLst/>
                <a:uLnTx/>
                <a:uFillTx/>
                <a:latin typeface="GE Inspira Sans"/>
                <a:ea typeface="+mn-ea"/>
                <a:cs typeface="+mn-cs"/>
              </a:rPr>
              <a:t>Operations</a:t>
            </a:r>
          </a:p>
        </p:txBody>
      </p:sp>
      <p:sp>
        <p:nvSpPr>
          <p:cNvPr id="236" name="object 130">
            <a:extLst>
              <a:ext uri="{FF2B5EF4-FFF2-40B4-BE49-F238E27FC236}">
                <a16:creationId xmlns:a16="http://schemas.microsoft.com/office/drawing/2014/main" id="{4B9BC1DB-BC89-459C-B745-66708F7150C7}"/>
              </a:ext>
            </a:extLst>
          </p:cNvPr>
          <p:cNvSpPr txBox="1"/>
          <p:nvPr/>
        </p:nvSpPr>
        <p:spPr>
          <a:xfrm rot="20400000">
            <a:off x="3161917" y="1725362"/>
            <a:ext cx="1858886" cy="259686"/>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600" b="0"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06 </a:t>
            </a:r>
            <a:r>
              <a:rPr kumimoji="0" lang="en-US" sz="1600" b="1"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California </a:t>
            </a:r>
            <a:r>
              <a:rPr kumimoji="0" lang="en-US" sz="1600" b="0"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15</a:t>
            </a:r>
            <a:r>
              <a:rPr kumimoji="0" sz="1600" b="0"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a:t>
            </a:r>
          </a:p>
        </p:txBody>
      </p:sp>
      <p:sp>
        <p:nvSpPr>
          <p:cNvPr id="237" name="object 130">
            <a:extLst>
              <a:ext uri="{FF2B5EF4-FFF2-40B4-BE49-F238E27FC236}">
                <a16:creationId xmlns:a16="http://schemas.microsoft.com/office/drawing/2014/main" id="{758BF85F-C5E0-4858-BEAD-91E550A982C4}"/>
              </a:ext>
            </a:extLst>
          </p:cNvPr>
          <p:cNvSpPr txBox="1"/>
          <p:nvPr/>
        </p:nvSpPr>
        <p:spPr>
          <a:xfrm rot="20400000">
            <a:off x="3740930" y="1817379"/>
            <a:ext cx="2544953" cy="259686"/>
          </a:xfrm>
          <a:prstGeom prst="rect">
            <a:avLst/>
          </a:prstGeom>
          <a:noFill/>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600" b="0"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09-‘14</a:t>
            </a:r>
            <a:r>
              <a:rPr kumimoji="0" lang="en-US" sz="1600" b="1"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 WESTERN US </a:t>
            </a:r>
            <a:r>
              <a:rPr kumimoji="0" lang="en-US" sz="1600" b="0"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33</a:t>
            </a:r>
            <a:r>
              <a:rPr kumimoji="0" sz="1600" b="0" i="0" u="none" strike="noStrike" kern="1200" cap="none" spc="0" normalizeH="0" baseline="0" noProof="0" dirty="0">
                <a:ln>
                  <a:noFill/>
                </a:ln>
                <a:solidFill>
                  <a:srgbClr val="00B5E2"/>
                </a:solidFill>
                <a:effectLst/>
                <a:uLnTx/>
                <a:uFillTx/>
                <a:latin typeface="GE Inspira Sans" panose="020B0503060000000003" pitchFamily="34" charset="0"/>
                <a:ea typeface="+mn-ea"/>
                <a:cs typeface="GE Inspira Sans"/>
              </a:rPr>
              <a:t>%</a:t>
            </a:r>
          </a:p>
        </p:txBody>
      </p:sp>
      <p:sp>
        <p:nvSpPr>
          <p:cNvPr id="238" name="TextBox 149">
            <a:extLst>
              <a:ext uri="{FF2B5EF4-FFF2-40B4-BE49-F238E27FC236}">
                <a16:creationId xmlns:a16="http://schemas.microsoft.com/office/drawing/2014/main" id="{A0A2D65C-BD73-459A-8C25-578403454538}"/>
              </a:ext>
            </a:extLst>
          </p:cNvPr>
          <p:cNvSpPr txBox="1"/>
          <p:nvPr/>
        </p:nvSpPr>
        <p:spPr>
          <a:xfrm>
            <a:off x="3005197" y="5259379"/>
            <a:ext cx="1018002" cy="184666"/>
          </a:xfrm>
          <a:custGeom>
            <a:avLst/>
            <a:gdLst>
              <a:gd name="connsiteX0" fmla="*/ 0 w 772647"/>
              <a:gd name="connsiteY0" fmla="*/ 0 h 215444"/>
              <a:gd name="connsiteX1" fmla="*/ 772647 w 772647"/>
              <a:gd name="connsiteY1" fmla="*/ 0 h 215444"/>
              <a:gd name="connsiteX2" fmla="*/ 772647 w 772647"/>
              <a:gd name="connsiteY2" fmla="*/ 215444 h 215444"/>
              <a:gd name="connsiteX3" fmla="*/ 0 w 772647"/>
              <a:gd name="connsiteY3" fmla="*/ 215444 h 215444"/>
              <a:gd name="connsiteX4" fmla="*/ 0 w 772647"/>
              <a:gd name="connsiteY4" fmla="*/ 0 h 215444"/>
              <a:gd name="connsiteX0" fmla="*/ 0 w 1079237"/>
              <a:gd name="connsiteY0" fmla="*/ 0 h 215444"/>
              <a:gd name="connsiteX1" fmla="*/ 772647 w 1079237"/>
              <a:gd name="connsiteY1" fmla="*/ 0 h 215444"/>
              <a:gd name="connsiteX2" fmla="*/ 772647 w 1079237"/>
              <a:gd name="connsiteY2" fmla="*/ 215444 h 215444"/>
              <a:gd name="connsiteX3" fmla="*/ 0 w 1079237"/>
              <a:gd name="connsiteY3" fmla="*/ 215444 h 215444"/>
              <a:gd name="connsiteX4" fmla="*/ 0 w 1079237"/>
              <a:gd name="connsiteY4" fmla="*/ 0 h 21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237" h="215444">
                <a:moveTo>
                  <a:pt x="0" y="0"/>
                </a:moveTo>
                <a:lnTo>
                  <a:pt x="772647" y="0"/>
                </a:lnTo>
                <a:cubicBezTo>
                  <a:pt x="1462475" y="181062"/>
                  <a:pt x="772647" y="143629"/>
                  <a:pt x="772647" y="215444"/>
                </a:cubicBezTo>
                <a:lnTo>
                  <a:pt x="0" y="215444"/>
                </a:lnTo>
                <a:lnTo>
                  <a:pt x="0" y="0"/>
                </a:lnTo>
                <a:close/>
              </a:path>
            </a:pathLst>
          </a:cu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B5E2"/>
                </a:solidFill>
                <a:effectLst/>
                <a:uLnTx/>
                <a:uFillTx/>
                <a:latin typeface="GE Inspira Sans"/>
                <a:ea typeface="+mn-ea"/>
                <a:cs typeface="+mn-cs"/>
              </a:rPr>
              <a:t>Dynamics</a:t>
            </a:r>
          </a:p>
        </p:txBody>
      </p:sp>
      <p:sp>
        <p:nvSpPr>
          <p:cNvPr id="118" name="TextBox 21">
            <a:extLst>
              <a:ext uri="{FF2B5EF4-FFF2-40B4-BE49-F238E27FC236}">
                <a16:creationId xmlns:a16="http://schemas.microsoft.com/office/drawing/2014/main" id="{3C85940D-BF20-4B0D-A165-379CDE69F80C}"/>
              </a:ext>
            </a:extLst>
          </p:cNvPr>
          <p:cNvSpPr txBox="1"/>
          <p:nvPr/>
        </p:nvSpPr>
        <p:spPr>
          <a:xfrm>
            <a:off x="3621867" y="6581438"/>
            <a:ext cx="5765074" cy="247839"/>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GE Inspira Sans"/>
                <a:ea typeface="+mn-ea"/>
                <a:cs typeface="+mn-cs"/>
              </a:rPr>
              <a:t>© 2021 General Electric Company. </a:t>
            </a:r>
          </a:p>
        </p:txBody>
      </p:sp>
    </p:spTree>
    <p:extLst>
      <p:ext uri="{BB962C8B-B14F-4D97-AF65-F5344CB8AC3E}">
        <p14:creationId xmlns:p14="http://schemas.microsoft.com/office/powerpoint/2010/main" val="27395386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097029E-DC8B-4B41-BC77-0D364C1995DA}"/>
              </a:ext>
            </a:extLst>
          </p:cNvPr>
          <p:cNvSpPr/>
          <p:nvPr/>
        </p:nvSpPr>
        <p:spPr>
          <a:xfrm>
            <a:off x="-1" y="3691347"/>
            <a:ext cx="12191998" cy="6068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 Inspira Sans"/>
              <a:ea typeface="+mn-ea"/>
              <a:cs typeface="+mn-cs"/>
            </a:endParaRPr>
          </a:p>
        </p:txBody>
      </p:sp>
      <p:sp>
        <p:nvSpPr>
          <p:cNvPr id="115" name="Rectangle 114">
            <a:extLst>
              <a:ext uri="{FF2B5EF4-FFF2-40B4-BE49-F238E27FC236}">
                <a16:creationId xmlns:a16="http://schemas.microsoft.com/office/drawing/2014/main" id="{70EAE3BC-813F-4049-BD21-BAEC138D14B6}"/>
              </a:ext>
            </a:extLst>
          </p:cNvPr>
          <p:cNvSpPr/>
          <p:nvPr/>
        </p:nvSpPr>
        <p:spPr>
          <a:xfrm>
            <a:off x="-1" y="4290069"/>
            <a:ext cx="12191998" cy="60689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 Inspira Sans"/>
              <a:ea typeface="+mn-ea"/>
              <a:cs typeface="+mn-cs"/>
            </a:endParaRPr>
          </a:p>
        </p:txBody>
      </p:sp>
      <p:sp>
        <p:nvSpPr>
          <p:cNvPr id="116" name="Rectangle 115">
            <a:extLst>
              <a:ext uri="{FF2B5EF4-FFF2-40B4-BE49-F238E27FC236}">
                <a16:creationId xmlns:a16="http://schemas.microsoft.com/office/drawing/2014/main" id="{1221B0F8-D796-40C4-8072-34B66C475C75}"/>
              </a:ext>
            </a:extLst>
          </p:cNvPr>
          <p:cNvSpPr/>
          <p:nvPr/>
        </p:nvSpPr>
        <p:spPr>
          <a:xfrm>
            <a:off x="7686" y="4913904"/>
            <a:ext cx="12191998" cy="19641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 Inspira Sans"/>
              <a:ea typeface="+mn-ea"/>
              <a:cs typeface="+mn-cs"/>
            </a:endParaRPr>
          </a:p>
        </p:txBody>
      </p:sp>
      <p:sp>
        <p:nvSpPr>
          <p:cNvPr id="24" name="Rectangle 23">
            <a:extLst>
              <a:ext uri="{FF2B5EF4-FFF2-40B4-BE49-F238E27FC236}">
                <a16:creationId xmlns:a16="http://schemas.microsoft.com/office/drawing/2014/main" id="{DB8BF689-FF6A-4C7B-8EC6-19D57F8FE07B}"/>
              </a:ext>
            </a:extLst>
          </p:cNvPr>
          <p:cNvSpPr/>
          <p:nvPr/>
        </p:nvSpPr>
        <p:spPr>
          <a:xfrm>
            <a:off x="1" y="1323753"/>
            <a:ext cx="12192000" cy="79073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 Inspira Sans"/>
              <a:ea typeface="+mn-ea"/>
              <a:cs typeface="+mn-cs"/>
            </a:endParaRPr>
          </a:p>
        </p:txBody>
      </p:sp>
      <p:sp>
        <p:nvSpPr>
          <p:cNvPr id="19" name="Rectangle: Rounded Corners 18">
            <a:extLst>
              <a:ext uri="{FF2B5EF4-FFF2-40B4-BE49-F238E27FC236}">
                <a16:creationId xmlns:a16="http://schemas.microsoft.com/office/drawing/2014/main" id="{AE33E66F-209D-497E-A1DE-646E9433563B}"/>
              </a:ext>
            </a:extLst>
          </p:cNvPr>
          <p:cNvSpPr/>
          <p:nvPr/>
        </p:nvSpPr>
        <p:spPr>
          <a:xfrm>
            <a:off x="8347771" y="-191309"/>
            <a:ext cx="1883092" cy="1248143"/>
          </a:xfrm>
          <a:prstGeom prst="roundRect">
            <a:avLst>
              <a:gd name="adj" fmla="val 0"/>
            </a:avLst>
          </a:prstGeom>
          <a:solidFill>
            <a:schemeClr val="accent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C2340"/>
              </a:solidFill>
              <a:effectLst/>
              <a:uLnTx/>
              <a:uFillTx/>
              <a:latin typeface="GE Inspira Sans"/>
              <a:ea typeface="+mn-ea"/>
              <a:cs typeface="+mn-cs"/>
            </a:endParaRPr>
          </a:p>
        </p:txBody>
      </p:sp>
      <p:grpSp>
        <p:nvGrpSpPr>
          <p:cNvPr id="82" name="Group 81">
            <a:extLst>
              <a:ext uri="{FF2B5EF4-FFF2-40B4-BE49-F238E27FC236}">
                <a16:creationId xmlns:a16="http://schemas.microsoft.com/office/drawing/2014/main" id="{B4DBD0A6-F248-4906-A43E-EF4DDD886B8F}"/>
              </a:ext>
            </a:extLst>
          </p:cNvPr>
          <p:cNvGrpSpPr/>
          <p:nvPr/>
        </p:nvGrpSpPr>
        <p:grpSpPr>
          <a:xfrm>
            <a:off x="9937855" y="4413643"/>
            <a:ext cx="369109" cy="359749"/>
            <a:chOff x="4693175" y="5018808"/>
            <a:chExt cx="1439863" cy="1403350"/>
          </a:xfrm>
          <a:solidFill>
            <a:schemeClr val="bg1"/>
          </a:solidFill>
        </p:grpSpPr>
        <p:sp>
          <p:nvSpPr>
            <p:cNvPr id="83" name="Freeform 62">
              <a:extLst>
                <a:ext uri="{FF2B5EF4-FFF2-40B4-BE49-F238E27FC236}">
                  <a16:creationId xmlns:a16="http://schemas.microsoft.com/office/drawing/2014/main" id="{E10317D3-F364-4C0A-AE00-055F982A2F77}"/>
                </a:ext>
              </a:extLst>
            </p:cNvPr>
            <p:cNvSpPr>
              <a:spLocks noChangeAspect="1"/>
            </p:cNvSpPr>
            <p:nvPr/>
          </p:nvSpPr>
          <p:spPr bwMode="auto">
            <a:xfrm>
              <a:off x="5197242" y="5186550"/>
              <a:ext cx="469055" cy="537697"/>
            </a:xfrm>
            <a:custGeom>
              <a:avLst/>
              <a:gdLst>
                <a:gd name="T0" fmla="*/ 327 w 330"/>
                <a:gd name="T1" fmla="*/ 135 h 378"/>
                <a:gd name="T2" fmla="*/ 314 w 330"/>
                <a:gd name="T3" fmla="*/ 128 h 378"/>
                <a:gd name="T4" fmla="*/ 159 w 330"/>
                <a:gd name="T5" fmla="*/ 128 h 378"/>
                <a:gd name="T6" fmla="*/ 235 w 330"/>
                <a:gd name="T7" fmla="*/ 22 h 378"/>
                <a:gd name="T8" fmla="*/ 237 w 330"/>
                <a:gd name="T9" fmla="*/ 7 h 378"/>
                <a:gd name="T10" fmla="*/ 224 w 330"/>
                <a:gd name="T11" fmla="*/ 0 h 378"/>
                <a:gd name="T12" fmla="*/ 129 w 330"/>
                <a:gd name="T13" fmla="*/ 0 h 378"/>
                <a:gd name="T14" fmla="*/ 107 w 330"/>
                <a:gd name="T15" fmla="*/ 12 h 378"/>
                <a:gd name="T16" fmla="*/ 4 w 330"/>
                <a:gd name="T17" fmla="*/ 184 h 378"/>
                <a:gd name="T18" fmla="*/ 3 w 330"/>
                <a:gd name="T19" fmla="*/ 199 h 378"/>
                <a:gd name="T20" fmla="*/ 16 w 330"/>
                <a:gd name="T21" fmla="*/ 206 h 378"/>
                <a:gd name="T22" fmla="*/ 189 w 330"/>
                <a:gd name="T23" fmla="*/ 206 h 378"/>
                <a:gd name="T24" fmla="*/ 105 w 330"/>
                <a:gd name="T25" fmla="*/ 356 h 378"/>
                <a:gd name="T26" fmla="*/ 105 w 330"/>
                <a:gd name="T27" fmla="*/ 371 h 378"/>
                <a:gd name="T28" fmla="*/ 118 w 330"/>
                <a:gd name="T29" fmla="*/ 378 h 378"/>
                <a:gd name="T30" fmla="*/ 123 w 330"/>
                <a:gd name="T31" fmla="*/ 378 h 378"/>
                <a:gd name="T32" fmla="*/ 145 w 330"/>
                <a:gd name="T33" fmla="*/ 367 h 378"/>
                <a:gd name="T34" fmla="*/ 324 w 330"/>
                <a:gd name="T35" fmla="*/ 150 h 378"/>
                <a:gd name="T36" fmla="*/ 327 w 330"/>
                <a:gd name="T37" fmla="*/ 135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78">
                  <a:moveTo>
                    <a:pt x="327" y="135"/>
                  </a:moveTo>
                  <a:cubicBezTo>
                    <a:pt x="326" y="133"/>
                    <a:pt x="322" y="128"/>
                    <a:pt x="314" y="128"/>
                  </a:cubicBezTo>
                  <a:cubicBezTo>
                    <a:pt x="159" y="128"/>
                    <a:pt x="159" y="128"/>
                    <a:pt x="159" y="128"/>
                  </a:cubicBezTo>
                  <a:cubicBezTo>
                    <a:pt x="235" y="22"/>
                    <a:pt x="235" y="22"/>
                    <a:pt x="235" y="22"/>
                  </a:cubicBezTo>
                  <a:cubicBezTo>
                    <a:pt x="239" y="17"/>
                    <a:pt x="239" y="12"/>
                    <a:pt x="237" y="7"/>
                  </a:cubicBezTo>
                  <a:cubicBezTo>
                    <a:pt x="235" y="3"/>
                    <a:pt x="230" y="0"/>
                    <a:pt x="224" y="0"/>
                  </a:cubicBezTo>
                  <a:cubicBezTo>
                    <a:pt x="129" y="0"/>
                    <a:pt x="129" y="0"/>
                    <a:pt x="129" y="0"/>
                  </a:cubicBezTo>
                  <a:cubicBezTo>
                    <a:pt x="120" y="0"/>
                    <a:pt x="111" y="5"/>
                    <a:pt x="107" y="12"/>
                  </a:cubicBezTo>
                  <a:cubicBezTo>
                    <a:pt x="4" y="184"/>
                    <a:pt x="4" y="184"/>
                    <a:pt x="4" y="184"/>
                  </a:cubicBezTo>
                  <a:cubicBezTo>
                    <a:pt x="1" y="189"/>
                    <a:pt x="0" y="195"/>
                    <a:pt x="3" y="199"/>
                  </a:cubicBezTo>
                  <a:cubicBezTo>
                    <a:pt x="5" y="204"/>
                    <a:pt x="10" y="206"/>
                    <a:pt x="16" y="206"/>
                  </a:cubicBezTo>
                  <a:cubicBezTo>
                    <a:pt x="189" y="206"/>
                    <a:pt x="189" y="206"/>
                    <a:pt x="189" y="206"/>
                  </a:cubicBezTo>
                  <a:cubicBezTo>
                    <a:pt x="105" y="356"/>
                    <a:pt x="105" y="356"/>
                    <a:pt x="105" y="356"/>
                  </a:cubicBezTo>
                  <a:cubicBezTo>
                    <a:pt x="102" y="361"/>
                    <a:pt x="102" y="367"/>
                    <a:pt x="105" y="371"/>
                  </a:cubicBezTo>
                  <a:cubicBezTo>
                    <a:pt x="107" y="375"/>
                    <a:pt x="112" y="378"/>
                    <a:pt x="118" y="378"/>
                  </a:cubicBezTo>
                  <a:cubicBezTo>
                    <a:pt x="123" y="378"/>
                    <a:pt x="123" y="378"/>
                    <a:pt x="123" y="378"/>
                  </a:cubicBezTo>
                  <a:cubicBezTo>
                    <a:pt x="131" y="378"/>
                    <a:pt x="140" y="373"/>
                    <a:pt x="145" y="367"/>
                  </a:cubicBezTo>
                  <a:cubicBezTo>
                    <a:pt x="324" y="150"/>
                    <a:pt x="324" y="150"/>
                    <a:pt x="324" y="150"/>
                  </a:cubicBezTo>
                  <a:cubicBezTo>
                    <a:pt x="330" y="143"/>
                    <a:pt x="328" y="137"/>
                    <a:pt x="327" y="13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C2340"/>
                </a:solidFill>
                <a:effectLst/>
                <a:uLnTx/>
                <a:uFillTx/>
                <a:latin typeface="GE Inspira Sans"/>
                <a:ea typeface="+mn-ea"/>
                <a:cs typeface="+mn-cs"/>
              </a:endParaRPr>
            </a:p>
          </p:txBody>
        </p:sp>
        <p:grpSp>
          <p:nvGrpSpPr>
            <p:cNvPr id="84" name="Group 83">
              <a:extLst>
                <a:ext uri="{FF2B5EF4-FFF2-40B4-BE49-F238E27FC236}">
                  <a16:creationId xmlns:a16="http://schemas.microsoft.com/office/drawing/2014/main" id="{4EAA2B85-CAB4-463D-ADAA-87F0508A704D}"/>
                </a:ext>
              </a:extLst>
            </p:cNvPr>
            <p:cNvGrpSpPr>
              <a:grpSpLocks noChangeAspect="1"/>
            </p:cNvGrpSpPr>
            <p:nvPr/>
          </p:nvGrpSpPr>
          <p:grpSpPr>
            <a:xfrm>
              <a:off x="4693175" y="5018808"/>
              <a:ext cx="1439863" cy="1403350"/>
              <a:chOff x="6880226" y="782638"/>
              <a:chExt cx="1439863" cy="1403350"/>
            </a:xfrm>
            <a:grpFill/>
          </p:grpSpPr>
          <p:sp>
            <p:nvSpPr>
              <p:cNvPr id="85" name="Freeform 70">
                <a:extLst>
                  <a:ext uri="{FF2B5EF4-FFF2-40B4-BE49-F238E27FC236}">
                    <a16:creationId xmlns:a16="http://schemas.microsoft.com/office/drawing/2014/main" id="{563D9901-A2F8-4467-8D12-E7B13A27B9C5}"/>
                  </a:ext>
                </a:extLst>
              </p:cNvPr>
              <p:cNvSpPr>
                <a:spLocks/>
              </p:cNvSpPr>
              <p:nvPr/>
            </p:nvSpPr>
            <p:spPr bwMode="auto">
              <a:xfrm>
                <a:off x="7175501" y="1949450"/>
                <a:ext cx="847725" cy="236538"/>
              </a:xfrm>
              <a:custGeom>
                <a:avLst/>
                <a:gdLst>
                  <a:gd name="T0" fmla="*/ 218 w 226"/>
                  <a:gd name="T1" fmla="*/ 34 h 63"/>
                  <a:gd name="T2" fmla="*/ 159 w 226"/>
                  <a:gd name="T3" fmla="*/ 27 h 63"/>
                  <a:gd name="T4" fmla="*/ 151 w 226"/>
                  <a:gd name="T5" fmla="*/ 18 h 63"/>
                  <a:gd name="T6" fmla="*/ 151 w 226"/>
                  <a:gd name="T7" fmla="*/ 0 h 63"/>
                  <a:gd name="T8" fmla="*/ 76 w 226"/>
                  <a:gd name="T9" fmla="*/ 0 h 63"/>
                  <a:gd name="T10" fmla="*/ 76 w 226"/>
                  <a:gd name="T11" fmla="*/ 18 h 63"/>
                  <a:gd name="T12" fmla="*/ 68 w 226"/>
                  <a:gd name="T13" fmla="*/ 27 h 63"/>
                  <a:gd name="T14" fmla="*/ 8 w 226"/>
                  <a:gd name="T15" fmla="*/ 34 h 63"/>
                  <a:gd name="T16" fmla="*/ 0 w 226"/>
                  <a:gd name="T17" fmla="*/ 42 h 63"/>
                  <a:gd name="T18" fmla="*/ 0 w 226"/>
                  <a:gd name="T19" fmla="*/ 56 h 63"/>
                  <a:gd name="T20" fmla="*/ 8 w 226"/>
                  <a:gd name="T21" fmla="*/ 62 h 63"/>
                  <a:gd name="T22" fmla="*/ 113 w 226"/>
                  <a:gd name="T23" fmla="*/ 53 h 63"/>
                  <a:gd name="T24" fmla="*/ 218 w 226"/>
                  <a:gd name="T25" fmla="*/ 62 h 63"/>
                  <a:gd name="T26" fmla="*/ 226 w 226"/>
                  <a:gd name="T27" fmla="*/ 56 h 63"/>
                  <a:gd name="T28" fmla="*/ 226 w 226"/>
                  <a:gd name="T29" fmla="*/ 42 h 63"/>
                  <a:gd name="T30" fmla="*/ 218 w 226"/>
                  <a:gd name="T31"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6" h="63">
                    <a:moveTo>
                      <a:pt x="218" y="34"/>
                    </a:moveTo>
                    <a:cubicBezTo>
                      <a:pt x="159" y="27"/>
                      <a:pt x="159" y="27"/>
                      <a:pt x="159" y="27"/>
                    </a:cubicBezTo>
                    <a:cubicBezTo>
                      <a:pt x="154" y="27"/>
                      <a:pt x="151" y="23"/>
                      <a:pt x="151" y="18"/>
                    </a:cubicBezTo>
                    <a:cubicBezTo>
                      <a:pt x="151" y="0"/>
                      <a:pt x="151" y="0"/>
                      <a:pt x="151" y="0"/>
                    </a:cubicBezTo>
                    <a:cubicBezTo>
                      <a:pt x="76" y="0"/>
                      <a:pt x="76" y="0"/>
                      <a:pt x="76" y="0"/>
                    </a:cubicBezTo>
                    <a:cubicBezTo>
                      <a:pt x="76" y="18"/>
                      <a:pt x="76" y="18"/>
                      <a:pt x="76" y="18"/>
                    </a:cubicBezTo>
                    <a:cubicBezTo>
                      <a:pt x="76" y="23"/>
                      <a:pt x="72" y="27"/>
                      <a:pt x="68" y="27"/>
                    </a:cubicBezTo>
                    <a:cubicBezTo>
                      <a:pt x="8" y="34"/>
                      <a:pt x="8" y="34"/>
                      <a:pt x="8" y="34"/>
                    </a:cubicBezTo>
                    <a:cubicBezTo>
                      <a:pt x="4" y="34"/>
                      <a:pt x="0" y="38"/>
                      <a:pt x="0" y="42"/>
                    </a:cubicBezTo>
                    <a:cubicBezTo>
                      <a:pt x="0" y="56"/>
                      <a:pt x="0" y="56"/>
                      <a:pt x="0" y="56"/>
                    </a:cubicBezTo>
                    <a:cubicBezTo>
                      <a:pt x="0" y="61"/>
                      <a:pt x="4" y="63"/>
                      <a:pt x="8" y="62"/>
                    </a:cubicBezTo>
                    <a:cubicBezTo>
                      <a:pt x="8" y="62"/>
                      <a:pt x="50" y="53"/>
                      <a:pt x="113" y="53"/>
                    </a:cubicBezTo>
                    <a:cubicBezTo>
                      <a:pt x="176" y="53"/>
                      <a:pt x="218" y="62"/>
                      <a:pt x="218" y="62"/>
                    </a:cubicBezTo>
                    <a:cubicBezTo>
                      <a:pt x="223" y="63"/>
                      <a:pt x="226" y="61"/>
                      <a:pt x="226" y="56"/>
                    </a:cubicBezTo>
                    <a:cubicBezTo>
                      <a:pt x="226" y="42"/>
                      <a:pt x="226" y="42"/>
                      <a:pt x="226" y="42"/>
                    </a:cubicBezTo>
                    <a:cubicBezTo>
                      <a:pt x="226" y="38"/>
                      <a:pt x="223" y="34"/>
                      <a:pt x="218" y="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C2340"/>
                  </a:solidFill>
                  <a:effectLst/>
                  <a:uLnTx/>
                  <a:uFillTx/>
                  <a:latin typeface="GE Inspira Sans"/>
                  <a:ea typeface="+mn-ea"/>
                  <a:cs typeface="+mn-cs"/>
                </a:endParaRPr>
              </a:p>
            </p:txBody>
          </p:sp>
          <p:sp>
            <p:nvSpPr>
              <p:cNvPr id="86" name="Freeform 71">
                <a:extLst>
                  <a:ext uri="{FF2B5EF4-FFF2-40B4-BE49-F238E27FC236}">
                    <a16:creationId xmlns:a16="http://schemas.microsoft.com/office/drawing/2014/main" id="{1EDBAA16-1D55-47BA-926C-046E5ED6D7A7}"/>
                  </a:ext>
                </a:extLst>
              </p:cNvPr>
              <p:cNvSpPr>
                <a:spLocks noEditPoints="1"/>
              </p:cNvSpPr>
              <p:nvPr/>
            </p:nvSpPr>
            <p:spPr bwMode="auto">
              <a:xfrm>
                <a:off x="6880226" y="782638"/>
                <a:ext cx="1439863" cy="1076325"/>
              </a:xfrm>
              <a:custGeom>
                <a:avLst/>
                <a:gdLst>
                  <a:gd name="T0" fmla="*/ 365 w 384"/>
                  <a:gd name="T1" fmla="*/ 13 h 287"/>
                  <a:gd name="T2" fmla="*/ 349 w 384"/>
                  <a:gd name="T3" fmla="*/ 0 h 287"/>
                  <a:gd name="T4" fmla="*/ 295 w 384"/>
                  <a:gd name="T5" fmla="*/ 0 h 287"/>
                  <a:gd name="T6" fmla="*/ 51 w 384"/>
                  <a:gd name="T7" fmla="*/ 0 h 287"/>
                  <a:gd name="T8" fmla="*/ 35 w 384"/>
                  <a:gd name="T9" fmla="*/ 0 h 287"/>
                  <a:gd name="T10" fmla="*/ 19 w 384"/>
                  <a:gd name="T11" fmla="*/ 13 h 287"/>
                  <a:gd name="T12" fmla="*/ 0 w 384"/>
                  <a:gd name="T13" fmla="*/ 144 h 287"/>
                  <a:gd name="T14" fmla="*/ 19 w 384"/>
                  <a:gd name="T15" fmla="*/ 275 h 287"/>
                  <a:gd name="T16" fmla="*/ 35 w 384"/>
                  <a:gd name="T17" fmla="*/ 287 h 287"/>
                  <a:gd name="T18" fmla="*/ 51 w 384"/>
                  <a:gd name="T19" fmla="*/ 287 h 287"/>
                  <a:gd name="T20" fmla="*/ 295 w 384"/>
                  <a:gd name="T21" fmla="*/ 287 h 287"/>
                  <a:gd name="T22" fmla="*/ 349 w 384"/>
                  <a:gd name="T23" fmla="*/ 287 h 287"/>
                  <a:gd name="T24" fmla="*/ 365 w 384"/>
                  <a:gd name="T25" fmla="*/ 275 h 287"/>
                  <a:gd name="T26" fmla="*/ 384 w 384"/>
                  <a:gd name="T27" fmla="*/ 144 h 287"/>
                  <a:gd name="T28" fmla="*/ 365 w 384"/>
                  <a:gd name="T29" fmla="*/ 13 h 287"/>
                  <a:gd name="T30" fmla="*/ 43 w 384"/>
                  <a:gd name="T31" fmla="*/ 28 h 287"/>
                  <a:gd name="T32" fmla="*/ 51 w 384"/>
                  <a:gd name="T33" fmla="*/ 28 h 287"/>
                  <a:gd name="T34" fmla="*/ 295 w 384"/>
                  <a:gd name="T35" fmla="*/ 28 h 287"/>
                  <a:gd name="T36" fmla="*/ 342 w 384"/>
                  <a:gd name="T37" fmla="*/ 28 h 287"/>
                  <a:gd name="T38" fmla="*/ 356 w 384"/>
                  <a:gd name="T39" fmla="*/ 144 h 287"/>
                  <a:gd name="T40" fmla="*/ 354 w 384"/>
                  <a:gd name="T41" fmla="*/ 201 h 287"/>
                  <a:gd name="T42" fmla="*/ 31 w 384"/>
                  <a:gd name="T43" fmla="*/ 201 h 287"/>
                  <a:gd name="T44" fmla="*/ 28 w 384"/>
                  <a:gd name="T45" fmla="*/ 144 h 287"/>
                  <a:gd name="T46" fmla="*/ 43 w 384"/>
                  <a:gd name="T47" fmla="*/ 28 h 287"/>
                  <a:gd name="T48" fmla="*/ 236 w 384"/>
                  <a:gd name="T49" fmla="*/ 245 h 287"/>
                  <a:gd name="T50" fmla="*/ 256 w 384"/>
                  <a:gd name="T51" fmla="*/ 226 h 287"/>
                  <a:gd name="T52" fmla="*/ 275 w 384"/>
                  <a:gd name="T53" fmla="*/ 245 h 287"/>
                  <a:gd name="T54" fmla="*/ 256 w 384"/>
                  <a:gd name="T55" fmla="*/ 264 h 287"/>
                  <a:gd name="T56" fmla="*/ 236 w 384"/>
                  <a:gd name="T57" fmla="*/ 245 h 287"/>
                  <a:gd name="T58" fmla="*/ 319 w 384"/>
                  <a:gd name="T59" fmla="*/ 264 h 287"/>
                  <a:gd name="T60" fmla="*/ 300 w 384"/>
                  <a:gd name="T61" fmla="*/ 245 h 287"/>
                  <a:gd name="T62" fmla="*/ 319 w 384"/>
                  <a:gd name="T63" fmla="*/ 226 h 287"/>
                  <a:gd name="T64" fmla="*/ 339 w 384"/>
                  <a:gd name="T65" fmla="*/ 245 h 287"/>
                  <a:gd name="T66" fmla="*/ 319 w 384"/>
                  <a:gd name="T67" fmla="*/ 26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 h="287">
                    <a:moveTo>
                      <a:pt x="365" y="13"/>
                    </a:moveTo>
                    <a:cubicBezTo>
                      <a:pt x="364" y="9"/>
                      <a:pt x="359" y="0"/>
                      <a:pt x="349" y="0"/>
                    </a:cubicBezTo>
                    <a:cubicBezTo>
                      <a:pt x="295" y="0"/>
                      <a:pt x="295" y="0"/>
                      <a:pt x="295" y="0"/>
                    </a:cubicBezTo>
                    <a:cubicBezTo>
                      <a:pt x="51" y="0"/>
                      <a:pt x="51" y="0"/>
                      <a:pt x="51" y="0"/>
                    </a:cubicBezTo>
                    <a:cubicBezTo>
                      <a:pt x="35" y="0"/>
                      <a:pt x="35" y="0"/>
                      <a:pt x="35" y="0"/>
                    </a:cubicBezTo>
                    <a:cubicBezTo>
                      <a:pt x="26" y="0"/>
                      <a:pt x="21" y="9"/>
                      <a:pt x="19" y="13"/>
                    </a:cubicBezTo>
                    <a:cubicBezTo>
                      <a:pt x="16" y="17"/>
                      <a:pt x="0" y="51"/>
                      <a:pt x="0" y="144"/>
                    </a:cubicBezTo>
                    <a:cubicBezTo>
                      <a:pt x="0" y="237"/>
                      <a:pt x="16" y="270"/>
                      <a:pt x="19" y="275"/>
                    </a:cubicBezTo>
                    <a:cubicBezTo>
                      <a:pt x="21" y="278"/>
                      <a:pt x="26" y="287"/>
                      <a:pt x="35" y="287"/>
                    </a:cubicBezTo>
                    <a:cubicBezTo>
                      <a:pt x="51" y="287"/>
                      <a:pt x="51" y="287"/>
                      <a:pt x="51" y="287"/>
                    </a:cubicBezTo>
                    <a:cubicBezTo>
                      <a:pt x="295" y="287"/>
                      <a:pt x="295" y="287"/>
                      <a:pt x="295" y="287"/>
                    </a:cubicBezTo>
                    <a:cubicBezTo>
                      <a:pt x="349" y="287"/>
                      <a:pt x="349" y="287"/>
                      <a:pt x="349" y="287"/>
                    </a:cubicBezTo>
                    <a:cubicBezTo>
                      <a:pt x="359" y="287"/>
                      <a:pt x="364" y="278"/>
                      <a:pt x="365" y="275"/>
                    </a:cubicBezTo>
                    <a:cubicBezTo>
                      <a:pt x="368" y="270"/>
                      <a:pt x="384" y="237"/>
                      <a:pt x="384" y="144"/>
                    </a:cubicBezTo>
                    <a:cubicBezTo>
                      <a:pt x="384" y="51"/>
                      <a:pt x="368" y="17"/>
                      <a:pt x="365" y="13"/>
                    </a:cubicBezTo>
                    <a:close/>
                    <a:moveTo>
                      <a:pt x="43" y="28"/>
                    </a:moveTo>
                    <a:cubicBezTo>
                      <a:pt x="51" y="28"/>
                      <a:pt x="51" y="28"/>
                      <a:pt x="51" y="28"/>
                    </a:cubicBezTo>
                    <a:cubicBezTo>
                      <a:pt x="295" y="28"/>
                      <a:pt x="295" y="28"/>
                      <a:pt x="295" y="28"/>
                    </a:cubicBezTo>
                    <a:cubicBezTo>
                      <a:pt x="342" y="28"/>
                      <a:pt x="342" y="28"/>
                      <a:pt x="342" y="28"/>
                    </a:cubicBezTo>
                    <a:cubicBezTo>
                      <a:pt x="345" y="36"/>
                      <a:pt x="356" y="68"/>
                      <a:pt x="356" y="144"/>
                    </a:cubicBezTo>
                    <a:cubicBezTo>
                      <a:pt x="356" y="167"/>
                      <a:pt x="355" y="185"/>
                      <a:pt x="354" y="201"/>
                    </a:cubicBezTo>
                    <a:cubicBezTo>
                      <a:pt x="31" y="201"/>
                      <a:pt x="31" y="201"/>
                      <a:pt x="31" y="201"/>
                    </a:cubicBezTo>
                    <a:cubicBezTo>
                      <a:pt x="29" y="185"/>
                      <a:pt x="28" y="167"/>
                      <a:pt x="28" y="144"/>
                    </a:cubicBezTo>
                    <a:cubicBezTo>
                      <a:pt x="28" y="68"/>
                      <a:pt x="40" y="35"/>
                      <a:pt x="43" y="28"/>
                    </a:cubicBezTo>
                    <a:close/>
                    <a:moveTo>
                      <a:pt x="236" y="245"/>
                    </a:moveTo>
                    <a:cubicBezTo>
                      <a:pt x="236" y="235"/>
                      <a:pt x="245" y="226"/>
                      <a:pt x="256" y="226"/>
                    </a:cubicBezTo>
                    <a:cubicBezTo>
                      <a:pt x="266" y="226"/>
                      <a:pt x="275" y="235"/>
                      <a:pt x="275" y="245"/>
                    </a:cubicBezTo>
                    <a:cubicBezTo>
                      <a:pt x="275" y="256"/>
                      <a:pt x="266" y="264"/>
                      <a:pt x="256" y="264"/>
                    </a:cubicBezTo>
                    <a:cubicBezTo>
                      <a:pt x="245" y="264"/>
                      <a:pt x="236" y="256"/>
                      <a:pt x="236" y="245"/>
                    </a:cubicBezTo>
                    <a:close/>
                    <a:moveTo>
                      <a:pt x="319" y="264"/>
                    </a:moveTo>
                    <a:cubicBezTo>
                      <a:pt x="309" y="264"/>
                      <a:pt x="300" y="256"/>
                      <a:pt x="300" y="245"/>
                    </a:cubicBezTo>
                    <a:cubicBezTo>
                      <a:pt x="300" y="235"/>
                      <a:pt x="309" y="226"/>
                      <a:pt x="319" y="226"/>
                    </a:cubicBezTo>
                    <a:cubicBezTo>
                      <a:pt x="330" y="226"/>
                      <a:pt x="339" y="235"/>
                      <a:pt x="339" y="245"/>
                    </a:cubicBezTo>
                    <a:cubicBezTo>
                      <a:pt x="339" y="256"/>
                      <a:pt x="330" y="264"/>
                      <a:pt x="319" y="2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C2340"/>
                  </a:solidFill>
                  <a:effectLst/>
                  <a:uLnTx/>
                  <a:uFillTx/>
                  <a:latin typeface="GE Inspira Sans"/>
                  <a:ea typeface="+mn-ea"/>
                  <a:cs typeface="+mn-cs"/>
                </a:endParaRPr>
              </a:p>
            </p:txBody>
          </p:sp>
        </p:grpSp>
      </p:grpSp>
      <p:sp>
        <p:nvSpPr>
          <p:cNvPr id="87" name="TextBox 86">
            <a:extLst>
              <a:ext uri="{FF2B5EF4-FFF2-40B4-BE49-F238E27FC236}">
                <a16:creationId xmlns:a16="http://schemas.microsoft.com/office/drawing/2014/main" id="{C264FE32-3C00-4ECE-A9F4-E49AB143D9B0}"/>
              </a:ext>
            </a:extLst>
          </p:cNvPr>
          <p:cNvSpPr txBox="1"/>
          <p:nvPr/>
        </p:nvSpPr>
        <p:spPr>
          <a:xfrm>
            <a:off x="10485461" y="4362685"/>
            <a:ext cx="1526503"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GE Inspira Sans"/>
                <a:ea typeface="+mn-ea"/>
                <a:cs typeface="+mn-cs"/>
              </a:rPr>
              <a:t>Power flo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CBE8"/>
                </a:solidFill>
                <a:effectLst/>
                <a:uLnTx/>
                <a:uFillTx/>
                <a:latin typeface="GE Inspira Sans"/>
                <a:ea typeface="+mn-ea"/>
                <a:cs typeface="+mn-cs"/>
              </a:rPr>
              <a:t>GE PSLF*</a:t>
            </a:r>
          </a:p>
        </p:txBody>
      </p:sp>
      <p:sp>
        <p:nvSpPr>
          <p:cNvPr id="70" name="TextBox 69">
            <a:extLst>
              <a:ext uri="{FF2B5EF4-FFF2-40B4-BE49-F238E27FC236}">
                <a16:creationId xmlns:a16="http://schemas.microsoft.com/office/drawing/2014/main" id="{17557705-FDB3-4404-A3DC-18251BE9453A}"/>
              </a:ext>
            </a:extLst>
          </p:cNvPr>
          <p:cNvSpPr txBox="1"/>
          <p:nvPr/>
        </p:nvSpPr>
        <p:spPr>
          <a:xfrm>
            <a:off x="6300199" y="4362685"/>
            <a:ext cx="1314782"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GE Inspira Sans"/>
                <a:ea typeface="+mn-ea"/>
                <a:cs typeface="+mn-cs"/>
              </a:rPr>
              <a:t>Ener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CBE8"/>
                </a:solidFill>
                <a:effectLst/>
                <a:uLnTx/>
                <a:uFillTx/>
                <a:latin typeface="GE Inspira Sans"/>
                <a:ea typeface="+mn-ea"/>
                <a:cs typeface="+mn-cs"/>
              </a:rPr>
              <a:t>GE MAPS*</a:t>
            </a:r>
          </a:p>
        </p:txBody>
      </p:sp>
      <p:grpSp>
        <p:nvGrpSpPr>
          <p:cNvPr id="4" name="Group 3">
            <a:extLst>
              <a:ext uri="{FF2B5EF4-FFF2-40B4-BE49-F238E27FC236}">
                <a16:creationId xmlns:a16="http://schemas.microsoft.com/office/drawing/2014/main" id="{D2C787D0-EDC3-4DCD-A022-6927E52476FF}"/>
              </a:ext>
            </a:extLst>
          </p:cNvPr>
          <p:cNvGrpSpPr/>
          <p:nvPr/>
        </p:nvGrpSpPr>
        <p:grpSpPr>
          <a:xfrm>
            <a:off x="5615276" y="4393673"/>
            <a:ext cx="410085" cy="399686"/>
            <a:chOff x="5734574" y="4348002"/>
            <a:chExt cx="729500" cy="711001"/>
          </a:xfrm>
        </p:grpSpPr>
        <p:grpSp>
          <p:nvGrpSpPr>
            <p:cNvPr id="67" name="Group 66">
              <a:extLst>
                <a:ext uri="{FF2B5EF4-FFF2-40B4-BE49-F238E27FC236}">
                  <a16:creationId xmlns:a16="http://schemas.microsoft.com/office/drawing/2014/main" id="{9D31AD39-DFC1-4C12-8813-0D2EE02AA5C9}"/>
                </a:ext>
              </a:extLst>
            </p:cNvPr>
            <p:cNvGrpSpPr>
              <a:grpSpLocks noChangeAspect="1"/>
            </p:cNvGrpSpPr>
            <p:nvPr/>
          </p:nvGrpSpPr>
          <p:grpSpPr>
            <a:xfrm>
              <a:off x="5734574" y="4348002"/>
              <a:ext cx="729500" cy="711001"/>
              <a:chOff x="6880226" y="782638"/>
              <a:chExt cx="1439863" cy="1403350"/>
            </a:xfrm>
            <a:solidFill>
              <a:schemeClr val="bg1"/>
            </a:solidFill>
          </p:grpSpPr>
          <p:sp>
            <p:nvSpPr>
              <p:cNvPr id="68" name="Freeform 70">
                <a:extLst>
                  <a:ext uri="{FF2B5EF4-FFF2-40B4-BE49-F238E27FC236}">
                    <a16:creationId xmlns:a16="http://schemas.microsoft.com/office/drawing/2014/main" id="{86040747-EEC3-4962-9655-C6086F633FF6}"/>
                  </a:ext>
                </a:extLst>
              </p:cNvPr>
              <p:cNvSpPr>
                <a:spLocks/>
              </p:cNvSpPr>
              <p:nvPr/>
            </p:nvSpPr>
            <p:spPr bwMode="auto">
              <a:xfrm>
                <a:off x="7175501" y="1949450"/>
                <a:ext cx="847725" cy="236538"/>
              </a:xfrm>
              <a:custGeom>
                <a:avLst/>
                <a:gdLst>
                  <a:gd name="T0" fmla="*/ 218 w 226"/>
                  <a:gd name="T1" fmla="*/ 34 h 63"/>
                  <a:gd name="T2" fmla="*/ 159 w 226"/>
                  <a:gd name="T3" fmla="*/ 27 h 63"/>
                  <a:gd name="T4" fmla="*/ 151 w 226"/>
                  <a:gd name="T5" fmla="*/ 18 h 63"/>
                  <a:gd name="T6" fmla="*/ 151 w 226"/>
                  <a:gd name="T7" fmla="*/ 0 h 63"/>
                  <a:gd name="T8" fmla="*/ 76 w 226"/>
                  <a:gd name="T9" fmla="*/ 0 h 63"/>
                  <a:gd name="T10" fmla="*/ 76 w 226"/>
                  <a:gd name="T11" fmla="*/ 18 h 63"/>
                  <a:gd name="T12" fmla="*/ 68 w 226"/>
                  <a:gd name="T13" fmla="*/ 27 h 63"/>
                  <a:gd name="T14" fmla="*/ 8 w 226"/>
                  <a:gd name="T15" fmla="*/ 34 h 63"/>
                  <a:gd name="T16" fmla="*/ 0 w 226"/>
                  <a:gd name="T17" fmla="*/ 42 h 63"/>
                  <a:gd name="T18" fmla="*/ 0 w 226"/>
                  <a:gd name="T19" fmla="*/ 56 h 63"/>
                  <a:gd name="T20" fmla="*/ 8 w 226"/>
                  <a:gd name="T21" fmla="*/ 62 h 63"/>
                  <a:gd name="T22" fmla="*/ 113 w 226"/>
                  <a:gd name="T23" fmla="*/ 53 h 63"/>
                  <a:gd name="T24" fmla="*/ 218 w 226"/>
                  <a:gd name="T25" fmla="*/ 62 h 63"/>
                  <a:gd name="T26" fmla="*/ 226 w 226"/>
                  <a:gd name="T27" fmla="*/ 56 h 63"/>
                  <a:gd name="T28" fmla="*/ 226 w 226"/>
                  <a:gd name="T29" fmla="*/ 42 h 63"/>
                  <a:gd name="T30" fmla="*/ 218 w 226"/>
                  <a:gd name="T31"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6" h="63">
                    <a:moveTo>
                      <a:pt x="218" y="34"/>
                    </a:moveTo>
                    <a:cubicBezTo>
                      <a:pt x="159" y="27"/>
                      <a:pt x="159" y="27"/>
                      <a:pt x="159" y="27"/>
                    </a:cubicBezTo>
                    <a:cubicBezTo>
                      <a:pt x="154" y="27"/>
                      <a:pt x="151" y="23"/>
                      <a:pt x="151" y="18"/>
                    </a:cubicBezTo>
                    <a:cubicBezTo>
                      <a:pt x="151" y="0"/>
                      <a:pt x="151" y="0"/>
                      <a:pt x="151" y="0"/>
                    </a:cubicBezTo>
                    <a:cubicBezTo>
                      <a:pt x="76" y="0"/>
                      <a:pt x="76" y="0"/>
                      <a:pt x="76" y="0"/>
                    </a:cubicBezTo>
                    <a:cubicBezTo>
                      <a:pt x="76" y="18"/>
                      <a:pt x="76" y="18"/>
                      <a:pt x="76" y="18"/>
                    </a:cubicBezTo>
                    <a:cubicBezTo>
                      <a:pt x="76" y="23"/>
                      <a:pt x="72" y="27"/>
                      <a:pt x="68" y="27"/>
                    </a:cubicBezTo>
                    <a:cubicBezTo>
                      <a:pt x="8" y="34"/>
                      <a:pt x="8" y="34"/>
                      <a:pt x="8" y="34"/>
                    </a:cubicBezTo>
                    <a:cubicBezTo>
                      <a:pt x="4" y="34"/>
                      <a:pt x="0" y="38"/>
                      <a:pt x="0" y="42"/>
                    </a:cubicBezTo>
                    <a:cubicBezTo>
                      <a:pt x="0" y="56"/>
                      <a:pt x="0" y="56"/>
                      <a:pt x="0" y="56"/>
                    </a:cubicBezTo>
                    <a:cubicBezTo>
                      <a:pt x="0" y="61"/>
                      <a:pt x="4" y="63"/>
                      <a:pt x="8" y="62"/>
                    </a:cubicBezTo>
                    <a:cubicBezTo>
                      <a:pt x="8" y="62"/>
                      <a:pt x="50" y="53"/>
                      <a:pt x="113" y="53"/>
                    </a:cubicBezTo>
                    <a:cubicBezTo>
                      <a:pt x="176" y="53"/>
                      <a:pt x="218" y="62"/>
                      <a:pt x="218" y="62"/>
                    </a:cubicBezTo>
                    <a:cubicBezTo>
                      <a:pt x="223" y="63"/>
                      <a:pt x="226" y="61"/>
                      <a:pt x="226" y="56"/>
                    </a:cubicBezTo>
                    <a:cubicBezTo>
                      <a:pt x="226" y="42"/>
                      <a:pt x="226" y="42"/>
                      <a:pt x="226" y="42"/>
                    </a:cubicBezTo>
                    <a:cubicBezTo>
                      <a:pt x="226" y="38"/>
                      <a:pt x="223" y="34"/>
                      <a:pt x="218" y="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C2340"/>
                  </a:solidFill>
                  <a:effectLst/>
                  <a:uLnTx/>
                  <a:uFillTx/>
                  <a:latin typeface="GE Inspira Sans"/>
                  <a:ea typeface="+mn-ea"/>
                  <a:cs typeface="+mn-cs"/>
                </a:endParaRPr>
              </a:p>
            </p:txBody>
          </p:sp>
          <p:sp>
            <p:nvSpPr>
              <p:cNvPr id="69" name="Freeform 71">
                <a:extLst>
                  <a:ext uri="{FF2B5EF4-FFF2-40B4-BE49-F238E27FC236}">
                    <a16:creationId xmlns:a16="http://schemas.microsoft.com/office/drawing/2014/main" id="{BCB682BA-42AA-482E-B6AB-AD1A2B54EC71}"/>
                  </a:ext>
                </a:extLst>
              </p:cNvPr>
              <p:cNvSpPr>
                <a:spLocks noEditPoints="1"/>
              </p:cNvSpPr>
              <p:nvPr/>
            </p:nvSpPr>
            <p:spPr bwMode="auto">
              <a:xfrm>
                <a:off x="6880226" y="782638"/>
                <a:ext cx="1439863" cy="1076325"/>
              </a:xfrm>
              <a:custGeom>
                <a:avLst/>
                <a:gdLst>
                  <a:gd name="T0" fmla="*/ 365 w 384"/>
                  <a:gd name="T1" fmla="*/ 13 h 287"/>
                  <a:gd name="T2" fmla="*/ 349 w 384"/>
                  <a:gd name="T3" fmla="*/ 0 h 287"/>
                  <a:gd name="T4" fmla="*/ 295 w 384"/>
                  <a:gd name="T5" fmla="*/ 0 h 287"/>
                  <a:gd name="T6" fmla="*/ 51 w 384"/>
                  <a:gd name="T7" fmla="*/ 0 h 287"/>
                  <a:gd name="T8" fmla="*/ 35 w 384"/>
                  <a:gd name="T9" fmla="*/ 0 h 287"/>
                  <a:gd name="T10" fmla="*/ 19 w 384"/>
                  <a:gd name="T11" fmla="*/ 13 h 287"/>
                  <a:gd name="T12" fmla="*/ 0 w 384"/>
                  <a:gd name="T13" fmla="*/ 144 h 287"/>
                  <a:gd name="T14" fmla="*/ 19 w 384"/>
                  <a:gd name="T15" fmla="*/ 275 h 287"/>
                  <a:gd name="T16" fmla="*/ 35 w 384"/>
                  <a:gd name="T17" fmla="*/ 287 h 287"/>
                  <a:gd name="T18" fmla="*/ 51 w 384"/>
                  <a:gd name="T19" fmla="*/ 287 h 287"/>
                  <a:gd name="T20" fmla="*/ 295 w 384"/>
                  <a:gd name="T21" fmla="*/ 287 h 287"/>
                  <a:gd name="T22" fmla="*/ 349 w 384"/>
                  <a:gd name="T23" fmla="*/ 287 h 287"/>
                  <a:gd name="T24" fmla="*/ 365 w 384"/>
                  <a:gd name="T25" fmla="*/ 275 h 287"/>
                  <a:gd name="T26" fmla="*/ 384 w 384"/>
                  <a:gd name="T27" fmla="*/ 144 h 287"/>
                  <a:gd name="T28" fmla="*/ 365 w 384"/>
                  <a:gd name="T29" fmla="*/ 13 h 287"/>
                  <a:gd name="T30" fmla="*/ 43 w 384"/>
                  <a:gd name="T31" fmla="*/ 28 h 287"/>
                  <a:gd name="T32" fmla="*/ 51 w 384"/>
                  <a:gd name="T33" fmla="*/ 28 h 287"/>
                  <a:gd name="T34" fmla="*/ 295 w 384"/>
                  <a:gd name="T35" fmla="*/ 28 h 287"/>
                  <a:gd name="T36" fmla="*/ 342 w 384"/>
                  <a:gd name="T37" fmla="*/ 28 h 287"/>
                  <a:gd name="T38" fmla="*/ 356 w 384"/>
                  <a:gd name="T39" fmla="*/ 144 h 287"/>
                  <a:gd name="T40" fmla="*/ 354 w 384"/>
                  <a:gd name="T41" fmla="*/ 201 h 287"/>
                  <a:gd name="T42" fmla="*/ 31 w 384"/>
                  <a:gd name="T43" fmla="*/ 201 h 287"/>
                  <a:gd name="T44" fmla="*/ 28 w 384"/>
                  <a:gd name="T45" fmla="*/ 144 h 287"/>
                  <a:gd name="T46" fmla="*/ 43 w 384"/>
                  <a:gd name="T47" fmla="*/ 28 h 287"/>
                  <a:gd name="T48" fmla="*/ 236 w 384"/>
                  <a:gd name="T49" fmla="*/ 245 h 287"/>
                  <a:gd name="T50" fmla="*/ 256 w 384"/>
                  <a:gd name="T51" fmla="*/ 226 h 287"/>
                  <a:gd name="T52" fmla="*/ 275 w 384"/>
                  <a:gd name="T53" fmla="*/ 245 h 287"/>
                  <a:gd name="T54" fmla="*/ 256 w 384"/>
                  <a:gd name="T55" fmla="*/ 264 h 287"/>
                  <a:gd name="T56" fmla="*/ 236 w 384"/>
                  <a:gd name="T57" fmla="*/ 245 h 287"/>
                  <a:gd name="T58" fmla="*/ 319 w 384"/>
                  <a:gd name="T59" fmla="*/ 264 h 287"/>
                  <a:gd name="T60" fmla="*/ 300 w 384"/>
                  <a:gd name="T61" fmla="*/ 245 h 287"/>
                  <a:gd name="T62" fmla="*/ 319 w 384"/>
                  <a:gd name="T63" fmla="*/ 226 h 287"/>
                  <a:gd name="T64" fmla="*/ 339 w 384"/>
                  <a:gd name="T65" fmla="*/ 245 h 287"/>
                  <a:gd name="T66" fmla="*/ 319 w 384"/>
                  <a:gd name="T67" fmla="*/ 26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 h="287">
                    <a:moveTo>
                      <a:pt x="365" y="13"/>
                    </a:moveTo>
                    <a:cubicBezTo>
                      <a:pt x="364" y="9"/>
                      <a:pt x="359" y="0"/>
                      <a:pt x="349" y="0"/>
                    </a:cubicBezTo>
                    <a:cubicBezTo>
                      <a:pt x="295" y="0"/>
                      <a:pt x="295" y="0"/>
                      <a:pt x="295" y="0"/>
                    </a:cubicBezTo>
                    <a:cubicBezTo>
                      <a:pt x="51" y="0"/>
                      <a:pt x="51" y="0"/>
                      <a:pt x="51" y="0"/>
                    </a:cubicBezTo>
                    <a:cubicBezTo>
                      <a:pt x="35" y="0"/>
                      <a:pt x="35" y="0"/>
                      <a:pt x="35" y="0"/>
                    </a:cubicBezTo>
                    <a:cubicBezTo>
                      <a:pt x="26" y="0"/>
                      <a:pt x="21" y="9"/>
                      <a:pt x="19" y="13"/>
                    </a:cubicBezTo>
                    <a:cubicBezTo>
                      <a:pt x="16" y="17"/>
                      <a:pt x="0" y="51"/>
                      <a:pt x="0" y="144"/>
                    </a:cubicBezTo>
                    <a:cubicBezTo>
                      <a:pt x="0" y="237"/>
                      <a:pt x="16" y="270"/>
                      <a:pt x="19" y="275"/>
                    </a:cubicBezTo>
                    <a:cubicBezTo>
                      <a:pt x="21" y="278"/>
                      <a:pt x="26" y="287"/>
                      <a:pt x="35" y="287"/>
                    </a:cubicBezTo>
                    <a:cubicBezTo>
                      <a:pt x="51" y="287"/>
                      <a:pt x="51" y="287"/>
                      <a:pt x="51" y="287"/>
                    </a:cubicBezTo>
                    <a:cubicBezTo>
                      <a:pt x="295" y="287"/>
                      <a:pt x="295" y="287"/>
                      <a:pt x="295" y="287"/>
                    </a:cubicBezTo>
                    <a:cubicBezTo>
                      <a:pt x="349" y="287"/>
                      <a:pt x="349" y="287"/>
                      <a:pt x="349" y="287"/>
                    </a:cubicBezTo>
                    <a:cubicBezTo>
                      <a:pt x="359" y="287"/>
                      <a:pt x="364" y="278"/>
                      <a:pt x="365" y="275"/>
                    </a:cubicBezTo>
                    <a:cubicBezTo>
                      <a:pt x="368" y="270"/>
                      <a:pt x="384" y="237"/>
                      <a:pt x="384" y="144"/>
                    </a:cubicBezTo>
                    <a:cubicBezTo>
                      <a:pt x="384" y="51"/>
                      <a:pt x="368" y="17"/>
                      <a:pt x="365" y="13"/>
                    </a:cubicBezTo>
                    <a:close/>
                    <a:moveTo>
                      <a:pt x="43" y="28"/>
                    </a:moveTo>
                    <a:cubicBezTo>
                      <a:pt x="51" y="28"/>
                      <a:pt x="51" y="28"/>
                      <a:pt x="51" y="28"/>
                    </a:cubicBezTo>
                    <a:cubicBezTo>
                      <a:pt x="295" y="28"/>
                      <a:pt x="295" y="28"/>
                      <a:pt x="295" y="28"/>
                    </a:cubicBezTo>
                    <a:cubicBezTo>
                      <a:pt x="342" y="28"/>
                      <a:pt x="342" y="28"/>
                      <a:pt x="342" y="28"/>
                    </a:cubicBezTo>
                    <a:cubicBezTo>
                      <a:pt x="345" y="36"/>
                      <a:pt x="356" y="68"/>
                      <a:pt x="356" y="144"/>
                    </a:cubicBezTo>
                    <a:cubicBezTo>
                      <a:pt x="356" y="167"/>
                      <a:pt x="355" y="185"/>
                      <a:pt x="354" y="201"/>
                    </a:cubicBezTo>
                    <a:cubicBezTo>
                      <a:pt x="31" y="201"/>
                      <a:pt x="31" y="201"/>
                      <a:pt x="31" y="201"/>
                    </a:cubicBezTo>
                    <a:cubicBezTo>
                      <a:pt x="29" y="185"/>
                      <a:pt x="28" y="167"/>
                      <a:pt x="28" y="144"/>
                    </a:cubicBezTo>
                    <a:cubicBezTo>
                      <a:pt x="28" y="68"/>
                      <a:pt x="40" y="35"/>
                      <a:pt x="43" y="28"/>
                    </a:cubicBezTo>
                    <a:close/>
                    <a:moveTo>
                      <a:pt x="236" y="245"/>
                    </a:moveTo>
                    <a:cubicBezTo>
                      <a:pt x="236" y="235"/>
                      <a:pt x="245" y="226"/>
                      <a:pt x="256" y="226"/>
                    </a:cubicBezTo>
                    <a:cubicBezTo>
                      <a:pt x="266" y="226"/>
                      <a:pt x="275" y="235"/>
                      <a:pt x="275" y="245"/>
                    </a:cubicBezTo>
                    <a:cubicBezTo>
                      <a:pt x="275" y="256"/>
                      <a:pt x="266" y="264"/>
                      <a:pt x="256" y="264"/>
                    </a:cubicBezTo>
                    <a:cubicBezTo>
                      <a:pt x="245" y="264"/>
                      <a:pt x="236" y="256"/>
                      <a:pt x="236" y="245"/>
                    </a:cubicBezTo>
                    <a:close/>
                    <a:moveTo>
                      <a:pt x="319" y="264"/>
                    </a:moveTo>
                    <a:cubicBezTo>
                      <a:pt x="309" y="264"/>
                      <a:pt x="300" y="256"/>
                      <a:pt x="300" y="245"/>
                    </a:cubicBezTo>
                    <a:cubicBezTo>
                      <a:pt x="300" y="235"/>
                      <a:pt x="309" y="226"/>
                      <a:pt x="319" y="226"/>
                    </a:cubicBezTo>
                    <a:cubicBezTo>
                      <a:pt x="330" y="226"/>
                      <a:pt x="339" y="235"/>
                      <a:pt x="339" y="245"/>
                    </a:cubicBezTo>
                    <a:cubicBezTo>
                      <a:pt x="339" y="256"/>
                      <a:pt x="330" y="264"/>
                      <a:pt x="319" y="2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C2340"/>
                  </a:solidFill>
                  <a:effectLst/>
                  <a:uLnTx/>
                  <a:uFillTx/>
                  <a:latin typeface="GE Inspira Sans"/>
                  <a:ea typeface="+mn-ea"/>
                  <a:cs typeface="+mn-cs"/>
                </a:endParaRPr>
              </a:p>
            </p:txBody>
          </p:sp>
        </p:grpSp>
        <p:sp>
          <p:nvSpPr>
            <p:cNvPr id="109" name="Freeform 19">
              <a:extLst>
                <a:ext uri="{FF2B5EF4-FFF2-40B4-BE49-F238E27FC236}">
                  <a16:creationId xmlns:a16="http://schemas.microsoft.com/office/drawing/2014/main" id="{BDA53B09-D2E4-46E6-9239-DFFC568878B6}"/>
                </a:ext>
              </a:extLst>
            </p:cNvPr>
            <p:cNvSpPr>
              <a:spLocks noEditPoints="1"/>
            </p:cNvSpPr>
            <p:nvPr/>
          </p:nvSpPr>
          <p:spPr bwMode="auto">
            <a:xfrm>
              <a:off x="6028830" y="4427936"/>
              <a:ext cx="146837" cy="265022"/>
            </a:xfrm>
            <a:custGeom>
              <a:avLst/>
              <a:gdLst>
                <a:gd name="T0" fmla="*/ 205 w 347"/>
                <a:gd name="T1" fmla="*/ 271 h 633"/>
                <a:gd name="T2" fmla="*/ 205 w 347"/>
                <a:gd name="T3" fmla="*/ 140 h 633"/>
                <a:gd name="T4" fmla="*/ 254 w 347"/>
                <a:gd name="T5" fmla="*/ 166 h 633"/>
                <a:gd name="T6" fmla="*/ 286 w 347"/>
                <a:gd name="T7" fmla="*/ 184 h 633"/>
                <a:gd name="T8" fmla="*/ 332 w 347"/>
                <a:gd name="T9" fmla="*/ 137 h 633"/>
                <a:gd name="T10" fmla="*/ 309 w 347"/>
                <a:gd name="T11" fmla="*/ 99 h 633"/>
                <a:gd name="T12" fmla="*/ 205 w 347"/>
                <a:gd name="T13" fmla="*/ 57 h 633"/>
                <a:gd name="T14" fmla="*/ 205 w 347"/>
                <a:gd name="T15" fmla="*/ 38 h 633"/>
                <a:gd name="T16" fmla="*/ 172 w 347"/>
                <a:gd name="T17" fmla="*/ 0 h 633"/>
                <a:gd name="T18" fmla="*/ 137 w 347"/>
                <a:gd name="T19" fmla="*/ 38 h 633"/>
                <a:gd name="T20" fmla="*/ 137 w 347"/>
                <a:gd name="T21" fmla="*/ 58 h 633"/>
                <a:gd name="T22" fmla="*/ 0 w 347"/>
                <a:gd name="T23" fmla="*/ 200 h 633"/>
                <a:gd name="T24" fmla="*/ 137 w 347"/>
                <a:gd name="T25" fmla="*/ 347 h 633"/>
                <a:gd name="T26" fmla="*/ 137 w 347"/>
                <a:gd name="T27" fmla="*/ 490 h 633"/>
                <a:gd name="T28" fmla="*/ 75 w 347"/>
                <a:gd name="T29" fmla="*/ 461 h 633"/>
                <a:gd name="T30" fmla="*/ 44 w 347"/>
                <a:gd name="T31" fmla="*/ 446 h 633"/>
                <a:gd name="T32" fmla="*/ 2 w 347"/>
                <a:gd name="T33" fmla="*/ 490 h 633"/>
                <a:gd name="T34" fmla="*/ 14 w 347"/>
                <a:gd name="T35" fmla="*/ 520 h 633"/>
                <a:gd name="T36" fmla="*/ 137 w 347"/>
                <a:gd name="T37" fmla="*/ 571 h 633"/>
                <a:gd name="T38" fmla="*/ 137 w 347"/>
                <a:gd name="T39" fmla="*/ 593 h 633"/>
                <a:gd name="T40" fmla="*/ 171 w 347"/>
                <a:gd name="T41" fmla="*/ 633 h 633"/>
                <a:gd name="T42" fmla="*/ 205 w 347"/>
                <a:gd name="T43" fmla="*/ 593 h 633"/>
                <a:gd name="T44" fmla="*/ 205 w 347"/>
                <a:gd name="T45" fmla="*/ 571 h 633"/>
                <a:gd name="T46" fmla="*/ 347 w 347"/>
                <a:gd name="T47" fmla="*/ 426 h 633"/>
                <a:gd name="T48" fmla="*/ 205 w 347"/>
                <a:gd name="T49" fmla="*/ 271 h 633"/>
                <a:gd name="T50" fmla="*/ 137 w 347"/>
                <a:gd name="T51" fmla="*/ 251 h 633"/>
                <a:gd name="T52" fmla="*/ 94 w 347"/>
                <a:gd name="T53" fmla="*/ 195 h 633"/>
                <a:gd name="T54" fmla="*/ 137 w 347"/>
                <a:gd name="T55" fmla="*/ 140 h 633"/>
                <a:gd name="T56" fmla="*/ 137 w 347"/>
                <a:gd name="T57" fmla="*/ 251 h 633"/>
                <a:gd name="T58" fmla="*/ 205 w 347"/>
                <a:gd name="T59" fmla="*/ 490 h 633"/>
                <a:gd name="T60" fmla="*/ 205 w 347"/>
                <a:gd name="T61" fmla="*/ 366 h 633"/>
                <a:gd name="T62" fmla="*/ 255 w 347"/>
                <a:gd name="T63" fmla="*/ 430 h 633"/>
                <a:gd name="T64" fmla="*/ 205 w 347"/>
                <a:gd name="T65" fmla="*/ 49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7" h="633">
                  <a:moveTo>
                    <a:pt x="205" y="271"/>
                  </a:moveTo>
                  <a:cubicBezTo>
                    <a:pt x="205" y="140"/>
                    <a:pt x="205" y="140"/>
                    <a:pt x="205" y="140"/>
                  </a:cubicBezTo>
                  <a:cubicBezTo>
                    <a:pt x="222" y="142"/>
                    <a:pt x="239" y="151"/>
                    <a:pt x="254" y="166"/>
                  </a:cubicBezTo>
                  <a:cubicBezTo>
                    <a:pt x="265" y="176"/>
                    <a:pt x="272" y="184"/>
                    <a:pt x="286" y="184"/>
                  </a:cubicBezTo>
                  <a:cubicBezTo>
                    <a:pt x="307" y="184"/>
                    <a:pt x="332" y="158"/>
                    <a:pt x="332" y="137"/>
                  </a:cubicBezTo>
                  <a:cubicBezTo>
                    <a:pt x="332" y="124"/>
                    <a:pt x="322" y="111"/>
                    <a:pt x="309" y="99"/>
                  </a:cubicBezTo>
                  <a:cubicBezTo>
                    <a:pt x="286" y="80"/>
                    <a:pt x="246" y="61"/>
                    <a:pt x="205" y="57"/>
                  </a:cubicBezTo>
                  <a:cubicBezTo>
                    <a:pt x="205" y="38"/>
                    <a:pt x="205" y="38"/>
                    <a:pt x="205" y="38"/>
                  </a:cubicBezTo>
                  <a:cubicBezTo>
                    <a:pt x="205" y="10"/>
                    <a:pt x="197" y="0"/>
                    <a:pt x="172" y="0"/>
                  </a:cubicBezTo>
                  <a:cubicBezTo>
                    <a:pt x="147" y="0"/>
                    <a:pt x="137" y="10"/>
                    <a:pt x="137" y="38"/>
                  </a:cubicBezTo>
                  <a:cubicBezTo>
                    <a:pt x="137" y="58"/>
                    <a:pt x="137" y="58"/>
                    <a:pt x="137" y="58"/>
                  </a:cubicBezTo>
                  <a:cubicBezTo>
                    <a:pt x="55" y="68"/>
                    <a:pt x="0" y="124"/>
                    <a:pt x="0" y="200"/>
                  </a:cubicBezTo>
                  <a:cubicBezTo>
                    <a:pt x="0" y="290"/>
                    <a:pt x="66" y="327"/>
                    <a:pt x="137" y="347"/>
                  </a:cubicBezTo>
                  <a:cubicBezTo>
                    <a:pt x="137" y="490"/>
                    <a:pt x="137" y="490"/>
                    <a:pt x="137" y="490"/>
                  </a:cubicBezTo>
                  <a:cubicBezTo>
                    <a:pt x="111" y="487"/>
                    <a:pt x="87" y="471"/>
                    <a:pt x="75" y="461"/>
                  </a:cubicBezTo>
                  <a:cubicBezTo>
                    <a:pt x="65" y="452"/>
                    <a:pt x="57" y="446"/>
                    <a:pt x="44" y="446"/>
                  </a:cubicBezTo>
                  <a:cubicBezTo>
                    <a:pt x="20" y="446"/>
                    <a:pt x="2" y="473"/>
                    <a:pt x="2" y="490"/>
                  </a:cubicBezTo>
                  <a:cubicBezTo>
                    <a:pt x="2" y="500"/>
                    <a:pt x="4" y="509"/>
                    <a:pt x="14" y="520"/>
                  </a:cubicBezTo>
                  <a:cubicBezTo>
                    <a:pt x="43" y="549"/>
                    <a:pt x="88" y="565"/>
                    <a:pt x="137" y="571"/>
                  </a:cubicBezTo>
                  <a:cubicBezTo>
                    <a:pt x="137" y="593"/>
                    <a:pt x="137" y="593"/>
                    <a:pt x="137" y="593"/>
                  </a:cubicBezTo>
                  <a:cubicBezTo>
                    <a:pt x="137" y="624"/>
                    <a:pt x="143" y="633"/>
                    <a:pt x="171" y="633"/>
                  </a:cubicBezTo>
                  <a:cubicBezTo>
                    <a:pt x="201" y="633"/>
                    <a:pt x="205" y="622"/>
                    <a:pt x="205" y="593"/>
                  </a:cubicBezTo>
                  <a:cubicBezTo>
                    <a:pt x="205" y="571"/>
                    <a:pt x="205" y="571"/>
                    <a:pt x="205" y="571"/>
                  </a:cubicBezTo>
                  <a:cubicBezTo>
                    <a:pt x="294" y="565"/>
                    <a:pt x="347" y="504"/>
                    <a:pt x="347" y="426"/>
                  </a:cubicBezTo>
                  <a:cubicBezTo>
                    <a:pt x="347" y="340"/>
                    <a:pt x="280" y="295"/>
                    <a:pt x="205" y="271"/>
                  </a:cubicBezTo>
                  <a:moveTo>
                    <a:pt x="137" y="251"/>
                  </a:moveTo>
                  <a:cubicBezTo>
                    <a:pt x="108" y="242"/>
                    <a:pt x="94" y="226"/>
                    <a:pt x="94" y="195"/>
                  </a:cubicBezTo>
                  <a:cubicBezTo>
                    <a:pt x="94" y="157"/>
                    <a:pt x="118" y="143"/>
                    <a:pt x="137" y="140"/>
                  </a:cubicBezTo>
                  <a:lnTo>
                    <a:pt x="137" y="251"/>
                  </a:lnTo>
                  <a:close/>
                  <a:moveTo>
                    <a:pt x="205" y="490"/>
                  </a:moveTo>
                  <a:cubicBezTo>
                    <a:pt x="205" y="366"/>
                    <a:pt x="205" y="366"/>
                    <a:pt x="205" y="366"/>
                  </a:cubicBezTo>
                  <a:cubicBezTo>
                    <a:pt x="242" y="378"/>
                    <a:pt x="255" y="404"/>
                    <a:pt x="255" y="430"/>
                  </a:cubicBezTo>
                  <a:cubicBezTo>
                    <a:pt x="255" y="465"/>
                    <a:pt x="231" y="487"/>
                    <a:pt x="205" y="49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C2340"/>
                </a:solidFill>
                <a:effectLst/>
                <a:uLnTx/>
                <a:uFillTx/>
                <a:latin typeface="GE Inspira Sans"/>
                <a:ea typeface="+mn-ea"/>
                <a:cs typeface="+mn-cs"/>
              </a:endParaRPr>
            </a:p>
          </p:txBody>
        </p:sp>
        <p:sp>
          <p:nvSpPr>
            <p:cNvPr id="110" name="Freeform 18">
              <a:extLst>
                <a:ext uri="{FF2B5EF4-FFF2-40B4-BE49-F238E27FC236}">
                  <a16:creationId xmlns:a16="http://schemas.microsoft.com/office/drawing/2014/main" id="{77337D53-E90C-487B-93AF-9633A235B135}"/>
                </a:ext>
              </a:extLst>
            </p:cNvPr>
            <p:cNvSpPr>
              <a:spLocks/>
            </p:cNvSpPr>
            <p:nvPr/>
          </p:nvSpPr>
          <p:spPr bwMode="auto">
            <a:xfrm>
              <a:off x="6229663" y="4546128"/>
              <a:ext cx="98195" cy="133265"/>
            </a:xfrm>
            <a:custGeom>
              <a:avLst/>
              <a:gdLst>
                <a:gd name="T0" fmla="*/ 188 w 277"/>
                <a:gd name="T1" fmla="*/ 63 h 378"/>
                <a:gd name="T2" fmla="*/ 226 w 277"/>
                <a:gd name="T3" fmla="*/ 73 h 378"/>
                <a:gd name="T4" fmla="*/ 247 w 277"/>
                <a:gd name="T5" fmla="*/ 80 h 378"/>
                <a:gd name="T6" fmla="*/ 277 w 277"/>
                <a:gd name="T7" fmla="*/ 42 h 378"/>
                <a:gd name="T8" fmla="*/ 254 w 277"/>
                <a:gd name="T9" fmla="*/ 14 h 378"/>
                <a:gd name="T10" fmla="*/ 187 w 277"/>
                <a:gd name="T11" fmla="*/ 0 h 378"/>
                <a:gd name="T12" fmla="*/ 48 w 277"/>
                <a:gd name="T13" fmla="*/ 121 h 378"/>
                <a:gd name="T14" fmla="*/ 34 w 277"/>
                <a:gd name="T15" fmla="*/ 121 h 378"/>
                <a:gd name="T16" fmla="*/ 0 w 277"/>
                <a:gd name="T17" fmla="*/ 147 h 378"/>
                <a:gd name="T18" fmla="*/ 34 w 277"/>
                <a:gd name="T19" fmla="*/ 174 h 378"/>
                <a:gd name="T20" fmla="*/ 42 w 277"/>
                <a:gd name="T21" fmla="*/ 174 h 378"/>
                <a:gd name="T22" fmla="*/ 42 w 277"/>
                <a:gd name="T23" fmla="*/ 191 h 378"/>
                <a:gd name="T24" fmla="*/ 42 w 277"/>
                <a:gd name="T25" fmla="*/ 209 h 378"/>
                <a:gd name="T26" fmla="*/ 34 w 277"/>
                <a:gd name="T27" fmla="*/ 209 h 378"/>
                <a:gd name="T28" fmla="*/ 0 w 277"/>
                <a:gd name="T29" fmla="*/ 235 h 378"/>
                <a:gd name="T30" fmla="*/ 34 w 277"/>
                <a:gd name="T31" fmla="*/ 262 h 378"/>
                <a:gd name="T32" fmla="*/ 47 w 277"/>
                <a:gd name="T33" fmla="*/ 262 h 378"/>
                <a:gd name="T34" fmla="*/ 177 w 277"/>
                <a:gd name="T35" fmla="*/ 378 h 378"/>
                <a:gd name="T36" fmla="*/ 252 w 277"/>
                <a:gd name="T37" fmla="*/ 360 h 378"/>
                <a:gd name="T38" fmla="*/ 275 w 277"/>
                <a:gd name="T39" fmla="*/ 331 h 378"/>
                <a:gd name="T40" fmla="*/ 249 w 277"/>
                <a:gd name="T41" fmla="*/ 295 h 378"/>
                <a:gd name="T42" fmla="*/ 222 w 277"/>
                <a:gd name="T43" fmla="*/ 305 h 378"/>
                <a:gd name="T44" fmla="*/ 181 w 277"/>
                <a:gd name="T45" fmla="*/ 314 h 378"/>
                <a:gd name="T46" fmla="*/ 122 w 277"/>
                <a:gd name="T47" fmla="*/ 262 h 378"/>
                <a:gd name="T48" fmla="*/ 187 w 277"/>
                <a:gd name="T49" fmla="*/ 262 h 378"/>
                <a:gd name="T50" fmla="*/ 221 w 277"/>
                <a:gd name="T51" fmla="*/ 235 h 378"/>
                <a:gd name="T52" fmla="*/ 187 w 277"/>
                <a:gd name="T53" fmla="*/ 209 h 378"/>
                <a:gd name="T54" fmla="*/ 115 w 277"/>
                <a:gd name="T55" fmla="*/ 209 h 378"/>
                <a:gd name="T56" fmla="*/ 115 w 277"/>
                <a:gd name="T57" fmla="*/ 192 h 378"/>
                <a:gd name="T58" fmla="*/ 115 w 277"/>
                <a:gd name="T59" fmla="*/ 174 h 378"/>
                <a:gd name="T60" fmla="*/ 205 w 277"/>
                <a:gd name="T61" fmla="*/ 174 h 378"/>
                <a:gd name="T62" fmla="*/ 239 w 277"/>
                <a:gd name="T63" fmla="*/ 147 h 378"/>
                <a:gd name="T64" fmla="*/ 205 w 277"/>
                <a:gd name="T65" fmla="*/ 121 h 378"/>
                <a:gd name="T66" fmla="*/ 122 w 277"/>
                <a:gd name="T67" fmla="*/ 121 h 378"/>
                <a:gd name="T68" fmla="*/ 188 w 277"/>
                <a:gd name="T69" fmla="*/ 63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378">
                  <a:moveTo>
                    <a:pt x="188" y="63"/>
                  </a:moveTo>
                  <a:cubicBezTo>
                    <a:pt x="205" y="63"/>
                    <a:pt x="215" y="67"/>
                    <a:pt x="226" y="73"/>
                  </a:cubicBezTo>
                  <a:cubicBezTo>
                    <a:pt x="234" y="78"/>
                    <a:pt x="240" y="80"/>
                    <a:pt x="247" y="80"/>
                  </a:cubicBezTo>
                  <a:cubicBezTo>
                    <a:pt x="260" y="80"/>
                    <a:pt x="277" y="62"/>
                    <a:pt x="277" y="42"/>
                  </a:cubicBezTo>
                  <a:cubicBezTo>
                    <a:pt x="277" y="30"/>
                    <a:pt x="268" y="21"/>
                    <a:pt x="254" y="14"/>
                  </a:cubicBezTo>
                  <a:cubicBezTo>
                    <a:pt x="234" y="4"/>
                    <a:pt x="215" y="0"/>
                    <a:pt x="187" y="0"/>
                  </a:cubicBezTo>
                  <a:cubicBezTo>
                    <a:pt x="108" y="0"/>
                    <a:pt x="64" y="46"/>
                    <a:pt x="48" y="121"/>
                  </a:cubicBezTo>
                  <a:cubicBezTo>
                    <a:pt x="34" y="121"/>
                    <a:pt x="34" y="121"/>
                    <a:pt x="34" y="121"/>
                  </a:cubicBezTo>
                  <a:cubicBezTo>
                    <a:pt x="12" y="121"/>
                    <a:pt x="0" y="125"/>
                    <a:pt x="0" y="147"/>
                  </a:cubicBezTo>
                  <a:cubicBezTo>
                    <a:pt x="0" y="169"/>
                    <a:pt x="12" y="174"/>
                    <a:pt x="34" y="174"/>
                  </a:cubicBezTo>
                  <a:cubicBezTo>
                    <a:pt x="42" y="174"/>
                    <a:pt x="42" y="174"/>
                    <a:pt x="42" y="174"/>
                  </a:cubicBezTo>
                  <a:cubicBezTo>
                    <a:pt x="42" y="179"/>
                    <a:pt x="42" y="185"/>
                    <a:pt x="42" y="191"/>
                  </a:cubicBezTo>
                  <a:cubicBezTo>
                    <a:pt x="42" y="197"/>
                    <a:pt x="42" y="203"/>
                    <a:pt x="42" y="209"/>
                  </a:cubicBezTo>
                  <a:cubicBezTo>
                    <a:pt x="34" y="209"/>
                    <a:pt x="34" y="209"/>
                    <a:pt x="34" y="209"/>
                  </a:cubicBezTo>
                  <a:cubicBezTo>
                    <a:pt x="12" y="209"/>
                    <a:pt x="0" y="213"/>
                    <a:pt x="0" y="235"/>
                  </a:cubicBezTo>
                  <a:cubicBezTo>
                    <a:pt x="0" y="257"/>
                    <a:pt x="12" y="262"/>
                    <a:pt x="34" y="262"/>
                  </a:cubicBezTo>
                  <a:cubicBezTo>
                    <a:pt x="47" y="262"/>
                    <a:pt x="47" y="262"/>
                    <a:pt x="47" y="262"/>
                  </a:cubicBezTo>
                  <a:cubicBezTo>
                    <a:pt x="62" y="343"/>
                    <a:pt x="106" y="378"/>
                    <a:pt x="177" y="378"/>
                  </a:cubicBezTo>
                  <a:cubicBezTo>
                    <a:pt x="209" y="378"/>
                    <a:pt x="234" y="371"/>
                    <a:pt x="252" y="360"/>
                  </a:cubicBezTo>
                  <a:cubicBezTo>
                    <a:pt x="265" y="351"/>
                    <a:pt x="275" y="344"/>
                    <a:pt x="275" y="331"/>
                  </a:cubicBezTo>
                  <a:cubicBezTo>
                    <a:pt x="275" y="317"/>
                    <a:pt x="264" y="295"/>
                    <a:pt x="249" y="295"/>
                  </a:cubicBezTo>
                  <a:cubicBezTo>
                    <a:pt x="241" y="295"/>
                    <a:pt x="237" y="298"/>
                    <a:pt x="222" y="305"/>
                  </a:cubicBezTo>
                  <a:cubicBezTo>
                    <a:pt x="213" y="309"/>
                    <a:pt x="200" y="314"/>
                    <a:pt x="181" y="314"/>
                  </a:cubicBezTo>
                  <a:cubicBezTo>
                    <a:pt x="150" y="314"/>
                    <a:pt x="131" y="300"/>
                    <a:pt x="122" y="262"/>
                  </a:cubicBezTo>
                  <a:cubicBezTo>
                    <a:pt x="187" y="262"/>
                    <a:pt x="187" y="262"/>
                    <a:pt x="187" y="262"/>
                  </a:cubicBezTo>
                  <a:cubicBezTo>
                    <a:pt x="208" y="262"/>
                    <a:pt x="221" y="257"/>
                    <a:pt x="221" y="235"/>
                  </a:cubicBezTo>
                  <a:cubicBezTo>
                    <a:pt x="221" y="213"/>
                    <a:pt x="208" y="209"/>
                    <a:pt x="187" y="209"/>
                  </a:cubicBezTo>
                  <a:cubicBezTo>
                    <a:pt x="115" y="209"/>
                    <a:pt x="115" y="209"/>
                    <a:pt x="115" y="209"/>
                  </a:cubicBezTo>
                  <a:cubicBezTo>
                    <a:pt x="115" y="205"/>
                    <a:pt x="115" y="199"/>
                    <a:pt x="115" y="192"/>
                  </a:cubicBezTo>
                  <a:cubicBezTo>
                    <a:pt x="115" y="186"/>
                    <a:pt x="115" y="179"/>
                    <a:pt x="115" y="174"/>
                  </a:cubicBezTo>
                  <a:cubicBezTo>
                    <a:pt x="205" y="174"/>
                    <a:pt x="205" y="174"/>
                    <a:pt x="205" y="174"/>
                  </a:cubicBezTo>
                  <a:cubicBezTo>
                    <a:pt x="226" y="174"/>
                    <a:pt x="239" y="169"/>
                    <a:pt x="239" y="147"/>
                  </a:cubicBezTo>
                  <a:cubicBezTo>
                    <a:pt x="239" y="125"/>
                    <a:pt x="226" y="121"/>
                    <a:pt x="205" y="121"/>
                  </a:cubicBezTo>
                  <a:cubicBezTo>
                    <a:pt x="122" y="121"/>
                    <a:pt x="122" y="121"/>
                    <a:pt x="122" y="121"/>
                  </a:cubicBezTo>
                  <a:cubicBezTo>
                    <a:pt x="133" y="78"/>
                    <a:pt x="156" y="63"/>
                    <a:pt x="188" y="6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C2340"/>
                </a:solidFill>
                <a:effectLst/>
                <a:uLnTx/>
                <a:uFillTx/>
                <a:latin typeface="GE Inspira Sans"/>
                <a:ea typeface="+mn-ea"/>
                <a:cs typeface="+mn-cs"/>
              </a:endParaRPr>
            </a:p>
          </p:txBody>
        </p:sp>
        <p:sp>
          <p:nvSpPr>
            <p:cNvPr id="111" name="Freeform 20">
              <a:extLst>
                <a:ext uri="{FF2B5EF4-FFF2-40B4-BE49-F238E27FC236}">
                  <a16:creationId xmlns:a16="http://schemas.microsoft.com/office/drawing/2014/main" id="{AB434271-22B5-461D-9469-3E8D23F4B7A3}"/>
                </a:ext>
              </a:extLst>
            </p:cNvPr>
            <p:cNvSpPr>
              <a:spLocks/>
            </p:cNvSpPr>
            <p:nvPr/>
          </p:nvSpPr>
          <p:spPr bwMode="auto">
            <a:xfrm>
              <a:off x="5892414" y="4446507"/>
              <a:ext cx="100370" cy="149732"/>
            </a:xfrm>
            <a:custGeom>
              <a:avLst/>
              <a:gdLst>
                <a:gd name="T0" fmla="*/ 221 w 347"/>
                <a:gd name="T1" fmla="*/ 474 h 517"/>
                <a:gd name="T2" fmla="*/ 221 w 347"/>
                <a:gd name="T3" fmla="*/ 424 h 517"/>
                <a:gd name="T4" fmla="*/ 299 w 347"/>
                <a:gd name="T5" fmla="*/ 424 h 517"/>
                <a:gd name="T6" fmla="*/ 345 w 347"/>
                <a:gd name="T7" fmla="*/ 388 h 517"/>
                <a:gd name="T8" fmla="*/ 299 w 347"/>
                <a:gd name="T9" fmla="*/ 352 h 517"/>
                <a:gd name="T10" fmla="*/ 221 w 347"/>
                <a:gd name="T11" fmla="*/ 352 h 517"/>
                <a:gd name="T12" fmla="*/ 221 w 347"/>
                <a:gd name="T13" fmla="*/ 304 h 517"/>
                <a:gd name="T14" fmla="*/ 299 w 347"/>
                <a:gd name="T15" fmla="*/ 304 h 517"/>
                <a:gd name="T16" fmla="*/ 345 w 347"/>
                <a:gd name="T17" fmla="*/ 267 h 517"/>
                <a:gd name="T18" fmla="*/ 299 w 347"/>
                <a:gd name="T19" fmla="*/ 232 h 517"/>
                <a:gd name="T20" fmla="*/ 263 w 347"/>
                <a:gd name="T21" fmla="*/ 232 h 517"/>
                <a:gd name="T22" fmla="*/ 347 w 347"/>
                <a:gd name="T23" fmla="*/ 45 h 517"/>
                <a:gd name="T24" fmla="*/ 298 w 347"/>
                <a:gd name="T25" fmla="*/ 0 h 517"/>
                <a:gd name="T26" fmla="*/ 252 w 347"/>
                <a:gd name="T27" fmla="*/ 44 h 517"/>
                <a:gd name="T28" fmla="*/ 172 w 347"/>
                <a:gd name="T29" fmla="*/ 215 h 517"/>
                <a:gd name="T30" fmla="*/ 96 w 347"/>
                <a:gd name="T31" fmla="*/ 37 h 517"/>
                <a:gd name="T32" fmla="*/ 51 w 347"/>
                <a:gd name="T33" fmla="*/ 0 h 517"/>
                <a:gd name="T34" fmla="*/ 0 w 347"/>
                <a:gd name="T35" fmla="*/ 44 h 517"/>
                <a:gd name="T36" fmla="*/ 78 w 347"/>
                <a:gd name="T37" fmla="*/ 232 h 517"/>
                <a:gd name="T38" fmla="*/ 46 w 347"/>
                <a:gd name="T39" fmla="*/ 232 h 517"/>
                <a:gd name="T40" fmla="*/ 0 w 347"/>
                <a:gd name="T41" fmla="*/ 267 h 517"/>
                <a:gd name="T42" fmla="*/ 46 w 347"/>
                <a:gd name="T43" fmla="*/ 304 h 517"/>
                <a:gd name="T44" fmla="*/ 119 w 347"/>
                <a:gd name="T45" fmla="*/ 304 h 517"/>
                <a:gd name="T46" fmla="*/ 119 w 347"/>
                <a:gd name="T47" fmla="*/ 352 h 517"/>
                <a:gd name="T48" fmla="*/ 46 w 347"/>
                <a:gd name="T49" fmla="*/ 352 h 517"/>
                <a:gd name="T50" fmla="*/ 0 w 347"/>
                <a:gd name="T51" fmla="*/ 388 h 517"/>
                <a:gd name="T52" fmla="*/ 46 w 347"/>
                <a:gd name="T53" fmla="*/ 424 h 517"/>
                <a:gd name="T54" fmla="*/ 119 w 347"/>
                <a:gd name="T55" fmla="*/ 424 h 517"/>
                <a:gd name="T56" fmla="*/ 119 w 347"/>
                <a:gd name="T57" fmla="*/ 474 h 517"/>
                <a:gd name="T58" fmla="*/ 168 w 347"/>
                <a:gd name="T59" fmla="*/ 517 h 517"/>
                <a:gd name="T60" fmla="*/ 221 w 347"/>
                <a:gd name="T61" fmla="*/ 474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7" h="517">
                  <a:moveTo>
                    <a:pt x="221" y="474"/>
                  </a:moveTo>
                  <a:cubicBezTo>
                    <a:pt x="221" y="424"/>
                    <a:pt x="221" y="424"/>
                    <a:pt x="221" y="424"/>
                  </a:cubicBezTo>
                  <a:cubicBezTo>
                    <a:pt x="299" y="424"/>
                    <a:pt x="299" y="424"/>
                    <a:pt x="299" y="424"/>
                  </a:cubicBezTo>
                  <a:cubicBezTo>
                    <a:pt x="328" y="424"/>
                    <a:pt x="345" y="418"/>
                    <a:pt x="345" y="388"/>
                  </a:cubicBezTo>
                  <a:cubicBezTo>
                    <a:pt x="345" y="357"/>
                    <a:pt x="328" y="352"/>
                    <a:pt x="299" y="352"/>
                  </a:cubicBezTo>
                  <a:cubicBezTo>
                    <a:pt x="221" y="352"/>
                    <a:pt x="221" y="352"/>
                    <a:pt x="221" y="352"/>
                  </a:cubicBezTo>
                  <a:cubicBezTo>
                    <a:pt x="221" y="304"/>
                    <a:pt x="221" y="304"/>
                    <a:pt x="221" y="304"/>
                  </a:cubicBezTo>
                  <a:cubicBezTo>
                    <a:pt x="299" y="304"/>
                    <a:pt x="299" y="304"/>
                    <a:pt x="299" y="304"/>
                  </a:cubicBezTo>
                  <a:cubicBezTo>
                    <a:pt x="328" y="304"/>
                    <a:pt x="345" y="298"/>
                    <a:pt x="345" y="267"/>
                  </a:cubicBezTo>
                  <a:cubicBezTo>
                    <a:pt x="345" y="237"/>
                    <a:pt x="328" y="232"/>
                    <a:pt x="299" y="232"/>
                  </a:cubicBezTo>
                  <a:cubicBezTo>
                    <a:pt x="263" y="232"/>
                    <a:pt x="263" y="232"/>
                    <a:pt x="263" y="232"/>
                  </a:cubicBezTo>
                  <a:cubicBezTo>
                    <a:pt x="316" y="160"/>
                    <a:pt x="347" y="85"/>
                    <a:pt x="347" y="45"/>
                  </a:cubicBezTo>
                  <a:cubicBezTo>
                    <a:pt x="347" y="12"/>
                    <a:pt x="332" y="0"/>
                    <a:pt x="298" y="0"/>
                  </a:cubicBezTo>
                  <a:cubicBezTo>
                    <a:pt x="265" y="0"/>
                    <a:pt x="257" y="11"/>
                    <a:pt x="252" y="44"/>
                  </a:cubicBezTo>
                  <a:cubicBezTo>
                    <a:pt x="245" y="90"/>
                    <a:pt x="216" y="158"/>
                    <a:pt x="172" y="215"/>
                  </a:cubicBezTo>
                  <a:cubicBezTo>
                    <a:pt x="129" y="153"/>
                    <a:pt x="106" y="92"/>
                    <a:pt x="96" y="37"/>
                  </a:cubicBezTo>
                  <a:cubicBezTo>
                    <a:pt x="91" y="10"/>
                    <a:pt x="83" y="0"/>
                    <a:pt x="51" y="0"/>
                  </a:cubicBezTo>
                  <a:cubicBezTo>
                    <a:pt x="17" y="0"/>
                    <a:pt x="0" y="8"/>
                    <a:pt x="0" y="44"/>
                  </a:cubicBezTo>
                  <a:cubicBezTo>
                    <a:pt x="0" y="86"/>
                    <a:pt x="28" y="162"/>
                    <a:pt x="78" y="232"/>
                  </a:cubicBezTo>
                  <a:cubicBezTo>
                    <a:pt x="46" y="232"/>
                    <a:pt x="46" y="232"/>
                    <a:pt x="46" y="232"/>
                  </a:cubicBezTo>
                  <a:cubicBezTo>
                    <a:pt x="16" y="232"/>
                    <a:pt x="0" y="237"/>
                    <a:pt x="0" y="267"/>
                  </a:cubicBezTo>
                  <a:cubicBezTo>
                    <a:pt x="0" y="298"/>
                    <a:pt x="16" y="304"/>
                    <a:pt x="46" y="304"/>
                  </a:cubicBezTo>
                  <a:cubicBezTo>
                    <a:pt x="119" y="304"/>
                    <a:pt x="119" y="304"/>
                    <a:pt x="119" y="304"/>
                  </a:cubicBezTo>
                  <a:cubicBezTo>
                    <a:pt x="119" y="352"/>
                    <a:pt x="119" y="352"/>
                    <a:pt x="119" y="352"/>
                  </a:cubicBezTo>
                  <a:cubicBezTo>
                    <a:pt x="46" y="352"/>
                    <a:pt x="46" y="352"/>
                    <a:pt x="46" y="352"/>
                  </a:cubicBezTo>
                  <a:cubicBezTo>
                    <a:pt x="16" y="352"/>
                    <a:pt x="0" y="357"/>
                    <a:pt x="0" y="388"/>
                  </a:cubicBezTo>
                  <a:cubicBezTo>
                    <a:pt x="0" y="418"/>
                    <a:pt x="16" y="424"/>
                    <a:pt x="46" y="424"/>
                  </a:cubicBezTo>
                  <a:cubicBezTo>
                    <a:pt x="119" y="424"/>
                    <a:pt x="119" y="424"/>
                    <a:pt x="119" y="424"/>
                  </a:cubicBezTo>
                  <a:cubicBezTo>
                    <a:pt x="119" y="474"/>
                    <a:pt x="119" y="474"/>
                    <a:pt x="119" y="474"/>
                  </a:cubicBezTo>
                  <a:cubicBezTo>
                    <a:pt x="119" y="506"/>
                    <a:pt x="134" y="517"/>
                    <a:pt x="168" y="517"/>
                  </a:cubicBezTo>
                  <a:cubicBezTo>
                    <a:pt x="201" y="517"/>
                    <a:pt x="221" y="506"/>
                    <a:pt x="221" y="4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C2340"/>
                </a:solidFill>
                <a:effectLst/>
                <a:uLnTx/>
                <a:uFillTx/>
                <a:latin typeface="GE Inspira Sans"/>
                <a:ea typeface="+mn-ea"/>
                <a:cs typeface="+mn-cs"/>
              </a:endParaRPr>
            </a:p>
          </p:txBody>
        </p:sp>
      </p:grpSp>
      <p:sp>
        <p:nvSpPr>
          <p:cNvPr id="153" name="TextBox 152">
            <a:extLst>
              <a:ext uri="{FF2B5EF4-FFF2-40B4-BE49-F238E27FC236}">
                <a16:creationId xmlns:a16="http://schemas.microsoft.com/office/drawing/2014/main" id="{21A96375-2D05-43EE-9B67-234519353051}"/>
              </a:ext>
            </a:extLst>
          </p:cNvPr>
          <p:cNvSpPr txBox="1"/>
          <p:nvPr/>
        </p:nvSpPr>
        <p:spPr>
          <a:xfrm>
            <a:off x="2742829" y="4362685"/>
            <a:ext cx="1314782"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GE Inspira Sans"/>
                <a:ea typeface="+mn-ea"/>
                <a:cs typeface="+mn-cs"/>
              </a:rPr>
              <a:t>Capac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CBE8"/>
                </a:solidFill>
                <a:effectLst/>
                <a:uLnTx/>
                <a:uFillTx/>
                <a:latin typeface="GE Inspira Sans"/>
                <a:ea typeface="+mn-ea"/>
                <a:cs typeface="+mn-cs"/>
              </a:rPr>
              <a:t>GE MARS*</a:t>
            </a:r>
          </a:p>
        </p:txBody>
      </p:sp>
      <p:grpSp>
        <p:nvGrpSpPr>
          <p:cNvPr id="21" name="Group 20">
            <a:extLst>
              <a:ext uri="{FF2B5EF4-FFF2-40B4-BE49-F238E27FC236}">
                <a16:creationId xmlns:a16="http://schemas.microsoft.com/office/drawing/2014/main" id="{A3769488-2E44-478F-BE96-30E0045C03DA}"/>
              </a:ext>
            </a:extLst>
          </p:cNvPr>
          <p:cNvGrpSpPr/>
          <p:nvPr/>
        </p:nvGrpSpPr>
        <p:grpSpPr>
          <a:xfrm rot="20700000">
            <a:off x="2119131" y="4402814"/>
            <a:ext cx="391327" cy="381404"/>
            <a:chOff x="6335993" y="4894298"/>
            <a:chExt cx="572756" cy="558232"/>
          </a:xfrm>
        </p:grpSpPr>
        <p:grpSp>
          <p:nvGrpSpPr>
            <p:cNvPr id="155" name="Group 154">
              <a:extLst>
                <a:ext uri="{FF2B5EF4-FFF2-40B4-BE49-F238E27FC236}">
                  <a16:creationId xmlns:a16="http://schemas.microsoft.com/office/drawing/2014/main" id="{2FCC4A28-EE8D-4D7E-B838-E149C241AEF2}"/>
                </a:ext>
              </a:extLst>
            </p:cNvPr>
            <p:cNvGrpSpPr>
              <a:grpSpLocks noChangeAspect="1"/>
            </p:cNvGrpSpPr>
            <p:nvPr/>
          </p:nvGrpSpPr>
          <p:grpSpPr>
            <a:xfrm rot="862242">
              <a:off x="6335993" y="4894298"/>
              <a:ext cx="572756" cy="558232"/>
              <a:chOff x="6880226" y="782638"/>
              <a:chExt cx="1439863" cy="1403350"/>
            </a:xfrm>
            <a:solidFill>
              <a:schemeClr val="bg1"/>
            </a:solidFill>
          </p:grpSpPr>
          <p:sp>
            <p:nvSpPr>
              <p:cNvPr id="156" name="Freeform 70">
                <a:extLst>
                  <a:ext uri="{FF2B5EF4-FFF2-40B4-BE49-F238E27FC236}">
                    <a16:creationId xmlns:a16="http://schemas.microsoft.com/office/drawing/2014/main" id="{22720CD6-E957-4CA5-B3FD-5F5667F7505F}"/>
                  </a:ext>
                </a:extLst>
              </p:cNvPr>
              <p:cNvSpPr>
                <a:spLocks/>
              </p:cNvSpPr>
              <p:nvPr/>
            </p:nvSpPr>
            <p:spPr bwMode="auto">
              <a:xfrm>
                <a:off x="7175501" y="1949450"/>
                <a:ext cx="847725" cy="236538"/>
              </a:xfrm>
              <a:custGeom>
                <a:avLst/>
                <a:gdLst>
                  <a:gd name="T0" fmla="*/ 218 w 226"/>
                  <a:gd name="T1" fmla="*/ 34 h 63"/>
                  <a:gd name="T2" fmla="*/ 159 w 226"/>
                  <a:gd name="T3" fmla="*/ 27 h 63"/>
                  <a:gd name="T4" fmla="*/ 151 w 226"/>
                  <a:gd name="T5" fmla="*/ 18 h 63"/>
                  <a:gd name="T6" fmla="*/ 151 w 226"/>
                  <a:gd name="T7" fmla="*/ 0 h 63"/>
                  <a:gd name="T8" fmla="*/ 76 w 226"/>
                  <a:gd name="T9" fmla="*/ 0 h 63"/>
                  <a:gd name="T10" fmla="*/ 76 w 226"/>
                  <a:gd name="T11" fmla="*/ 18 h 63"/>
                  <a:gd name="T12" fmla="*/ 68 w 226"/>
                  <a:gd name="T13" fmla="*/ 27 h 63"/>
                  <a:gd name="T14" fmla="*/ 8 w 226"/>
                  <a:gd name="T15" fmla="*/ 34 h 63"/>
                  <a:gd name="T16" fmla="*/ 0 w 226"/>
                  <a:gd name="T17" fmla="*/ 42 h 63"/>
                  <a:gd name="T18" fmla="*/ 0 w 226"/>
                  <a:gd name="T19" fmla="*/ 56 h 63"/>
                  <a:gd name="T20" fmla="*/ 8 w 226"/>
                  <a:gd name="T21" fmla="*/ 62 h 63"/>
                  <a:gd name="T22" fmla="*/ 113 w 226"/>
                  <a:gd name="T23" fmla="*/ 53 h 63"/>
                  <a:gd name="T24" fmla="*/ 218 w 226"/>
                  <a:gd name="T25" fmla="*/ 62 h 63"/>
                  <a:gd name="T26" fmla="*/ 226 w 226"/>
                  <a:gd name="T27" fmla="*/ 56 h 63"/>
                  <a:gd name="T28" fmla="*/ 226 w 226"/>
                  <a:gd name="T29" fmla="*/ 42 h 63"/>
                  <a:gd name="T30" fmla="*/ 218 w 226"/>
                  <a:gd name="T31"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6" h="63">
                    <a:moveTo>
                      <a:pt x="218" y="34"/>
                    </a:moveTo>
                    <a:cubicBezTo>
                      <a:pt x="159" y="27"/>
                      <a:pt x="159" y="27"/>
                      <a:pt x="159" y="27"/>
                    </a:cubicBezTo>
                    <a:cubicBezTo>
                      <a:pt x="154" y="27"/>
                      <a:pt x="151" y="23"/>
                      <a:pt x="151" y="18"/>
                    </a:cubicBezTo>
                    <a:cubicBezTo>
                      <a:pt x="151" y="0"/>
                      <a:pt x="151" y="0"/>
                      <a:pt x="151" y="0"/>
                    </a:cubicBezTo>
                    <a:cubicBezTo>
                      <a:pt x="76" y="0"/>
                      <a:pt x="76" y="0"/>
                      <a:pt x="76" y="0"/>
                    </a:cubicBezTo>
                    <a:cubicBezTo>
                      <a:pt x="76" y="18"/>
                      <a:pt x="76" y="18"/>
                      <a:pt x="76" y="18"/>
                    </a:cubicBezTo>
                    <a:cubicBezTo>
                      <a:pt x="76" y="23"/>
                      <a:pt x="72" y="27"/>
                      <a:pt x="68" y="27"/>
                    </a:cubicBezTo>
                    <a:cubicBezTo>
                      <a:pt x="8" y="34"/>
                      <a:pt x="8" y="34"/>
                      <a:pt x="8" y="34"/>
                    </a:cubicBezTo>
                    <a:cubicBezTo>
                      <a:pt x="4" y="34"/>
                      <a:pt x="0" y="38"/>
                      <a:pt x="0" y="42"/>
                    </a:cubicBezTo>
                    <a:cubicBezTo>
                      <a:pt x="0" y="56"/>
                      <a:pt x="0" y="56"/>
                      <a:pt x="0" y="56"/>
                    </a:cubicBezTo>
                    <a:cubicBezTo>
                      <a:pt x="0" y="61"/>
                      <a:pt x="4" y="63"/>
                      <a:pt x="8" y="62"/>
                    </a:cubicBezTo>
                    <a:cubicBezTo>
                      <a:pt x="8" y="62"/>
                      <a:pt x="50" y="53"/>
                      <a:pt x="113" y="53"/>
                    </a:cubicBezTo>
                    <a:cubicBezTo>
                      <a:pt x="176" y="53"/>
                      <a:pt x="218" y="62"/>
                      <a:pt x="218" y="62"/>
                    </a:cubicBezTo>
                    <a:cubicBezTo>
                      <a:pt x="223" y="63"/>
                      <a:pt x="226" y="61"/>
                      <a:pt x="226" y="56"/>
                    </a:cubicBezTo>
                    <a:cubicBezTo>
                      <a:pt x="226" y="42"/>
                      <a:pt x="226" y="42"/>
                      <a:pt x="226" y="42"/>
                    </a:cubicBezTo>
                    <a:cubicBezTo>
                      <a:pt x="226" y="38"/>
                      <a:pt x="223" y="34"/>
                      <a:pt x="218" y="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C2340"/>
                  </a:solidFill>
                  <a:effectLst/>
                  <a:uLnTx/>
                  <a:uFillTx/>
                  <a:latin typeface="GE Inspira Sans"/>
                  <a:ea typeface="+mn-ea"/>
                  <a:cs typeface="+mn-cs"/>
                </a:endParaRPr>
              </a:p>
            </p:txBody>
          </p:sp>
          <p:sp>
            <p:nvSpPr>
              <p:cNvPr id="157" name="Freeform 71">
                <a:extLst>
                  <a:ext uri="{FF2B5EF4-FFF2-40B4-BE49-F238E27FC236}">
                    <a16:creationId xmlns:a16="http://schemas.microsoft.com/office/drawing/2014/main" id="{F5FA4997-6E36-4FB3-97C4-E2FE1C811FE5}"/>
                  </a:ext>
                </a:extLst>
              </p:cNvPr>
              <p:cNvSpPr>
                <a:spLocks noEditPoints="1"/>
              </p:cNvSpPr>
              <p:nvPr/>
            </p:nvSpPr>
            <p:spPr bwMode="auto">
              <a:xfrm>
                <a:off x="6880226" y="782638"/>
                <a:ext cx="1439863" cy="1076325"/>
              </a:xfrm>
              <a:custGeom>
                <a:avLst/>
                <a:gdLst>
                  <a:gd name="T0" fmla="*/ 365 w 384"/>
                  <a:gd name="T1" fmla="*/ 13 h 287"/>
                  <a:gd name="T2" fmla="*/ 349 w 384"/>
                  <a:gd name="T3" fmla="*/ 0 h 287"/>
                  <a:gd name="T4" fmla="*/ 295 w 384"/>
                  <a:gd name="T5" fmla="*/ 0 h 287"/>
                  <a:gd name="T6" fmla="*/ 51 w 384"/>
                  <a:gd name="T7" fmla="*/ 0 h 287"/>
                  <a:gd name="T8" fmla="*/ 35 w 384"/>
                  <a:gd name="T9" fmla="*/ 0 h 287"/>
                  <a:gd name="T10" fmla="*/ 19 w 384"/>
                  <a:gd name="T11" fmla="*/ 13 h 287"/>
                  <a:gd name="T12" fmla="*/ 0 w 384"/>
                  <a:gd name="T13" fmla="*/ 144 h 287"/>
                  <a:gd name="T14" fmla="*/ 19 w 384"/>
                  <a:gd name="T15" fmla="*/ 275 h 287"/>
                  <a:gd name="T16" fmla="*/ 35 w 384"/>
                  <a:gd name="T17" fmla="*/ 287 h 287"/>
                  <a:gd name="T18" fmla="*/ 51 w 384"/>
                  <a:gd name="T19" fmla="*/ 287 h 287"/>
                  <a:gd name="T20" fmla="*/ 295 w 384"/>
                  <a:gd name="T21" fmla="*/ 287 h 287"/>
                  <a:gd name="T22" fmla="*/ 349 w 384"/>
                  <a:gd name="T23" fmla="*/ 287 h 287"/>
                  <a:gd name="T24" fmla="*/ 365 w 384"/>
                  <a:gd name="T25" fmla="*/ 275 h 287"/>
                  <a:gd name="T26" fmla="*/ 384 w 384"/>
                  <a:gd name="T27" fmla="*/ 144 h 287"/>
                  <a:gd name="T28" fmla="*/ 365 w 384"/>
                  <a:gd name="T29" fmla="*/ 13 h 287"/>
                  <a:gd name="T30" fmla="*/ 43 w 384"/>
                  <a:gd name="T31" fmla="*/ 28 h 287"/>
                  <a:gd name="T32" fmla="*/ 51 w 384"/>
                  <a:gd name="T33" fmla="*/ 28 h 287"/>
                  <a:gd name="T34" fmla="*/ 295 w 384"/>
                  <a:gd name="T35" fmla="*/ 28 h 287"/>
                  <a:gd name="T36" fmla="*/ 342 w 384"/>
                  <a:gd name="T37" fmla="*/ 28 h 287"/>
                  <a:gd name="T38" fmla="*/ 356 w 384"/>
                  <a:gd name="T39" fmla="*/ 144 h 287"/>
                  <a:gd name="T40" fmla="*/ 354 w 384"/>
                  <a:gd name="T41" fmla="*/ 201 h 287"/>
                  <a:gd name="T42" fmla="*/ 31 w 384"/>
                  <a:gd name="T43" fmla="*/ 201 h 287"/>
                  <a:gd name="T44" fmla="*/ 28 w 384"/>
                  <a:gd name="T45" fmla="*/ 144 h 287"/>
                  <a:gd name="T46" fmla="*/ 43 w 384"/>
                  <a:gd name="T47" fmla="*/ 28 h 287"/>
                  <a:gd name="T48" fmla="*/ 236 w 384"/>
                  <a:gd name="T49" fmla="*/ 245 h 287"/>
                  <a:gd name="T50" fmla="*/ 256 w 384"/>
                  <a:gd name="T51" fmla="*/ 226 h 287"/>
                  <a:gd name="T52" fmla="*/ 275 w 384"/>
                  <a:gd name="T53" fmla="*/ 245 h 287"/>
                  <a:gd name="T54" fmla="*/ 256 w 384"/>
                  <a:gd name="T55" fmla="*/ 264 h 287"/>
                  <a:gd name="T56" fmla="*/ 236 w 384"/>
                  <a:gd name="T57" fmla="*/ 245 h 287"/>
                  <a:gd name="T58" fmla="*/ 319 w 384"/>
                  <a:gd name="T59" fmla="*/ 264 h 287"/>
                  <a:gd name="T60" fmla="*/ 300 w 384"/>
                  <a:gd name="T61" fmla="*/ 245 h 287"/>
                  <a:gd name="T62" fmla="*/ 319 w 384"/>
                  <a:gd name="T63" fmla="*/ 226 h 287"/>
                  <a:gd name="T64" fmla="*/ 339 w 384"/>
                  <a:gd name="T65" fmla="*/ 245 h 287"/>
                  <a:gd name="T66" fmla="*/ 319 w 384"/>
                  <a:gd name="T67" fmla="*/ 26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 h="287">
                    <a:moveTo>
                      <a:pt x="365" y="13"/>
                    </a:moveTo>
                    <a:cubicBezTo>
                      <a:pt x="364" y="9"/>
                      <a:pt x="359" y="0"/>
                      <a:pt x="349" y="0"/>
                    </a:cubicBezTo>
                    <a:cubicBezTo>
                      <a:pt x="295" y="0"/>
                      <a:pt x="295" y="0"/>
                      <a:pt x="295" y="0"/>
                    </a:cubicBezTo>
                    <a:cubicBezTo>
                      <a:pt x="51" y="0"/>
                      <a:pt x="51" y="0"/>
                      <a:pt x="51" y="0"/>
                    </a:cubicBezTo>
                    <a:cubicBezTo>
                      <a:pt x="35" y="0"/>
                      <a:pt x="35" y="0"/>
                      <a:pt x="35" y="0"/>
                    </a:cubicBezTo>
                    <a:cubicBezTo>
                      <a:pt x="26" y="0"/>
                      <a:pt x="21" y="9"/>
                      <a:pt x="19" y="13"/>
                    </a:cubicBezTo>
                    <a:cubicBezTo>
                      <a:pt x="16" y="17"/>
                      <a:pt x="0" y="51"/>
                      <a:pt x="0" y="144"/>
                    </a:cubicBezTo>
                    <a:cubicBezTo>
                      <a:pt x="0" y="237"/>
                      <a:pt x="16" y="270"/>
                      <a:pt x="19" y="275"/>
                    </a:cubicBezTo>
                    <a:cubicBezTo>
                      <a:pt x="21" y="278"/>
                      <a:pt x="26" y="287"/>
                      <a:pt x="35" y="287"/>
                    </a:cubicBezTo>
                    <a:cubicBezTo>
                      <a:pt x="51" y="287"/>
                      <a:pt x="51" y="287"/>
                      <a:pt x="51" y="287"/>
                    </a:cubicBezTo>
                    <a:cubicBezTo>
                      <a:pt x="295" y="287"/>
                      <a:pt x="295" y="287"/>
                      <a:pt x="295" y="287"/>
                    </a:cubicBezTo>
                    <a:cubicBezTo>
                      <a:pt x="349" y="287"/>
                      <a:pt x="349" y="287"/>
                      <a:pt x="349" y="287"/>
                    </a:cubicBezTo>
                    <a:cubicBezTo>
                      <a:pt x="359" y="287"/>
                      <a:pt x="364" y="278"/>
                      <a:pt x="365" y="275"/>
                    </a:cubicBezTo>
                    <a:cubicBezTo>
                      <a:pt x="368" y="270"/>
                      <a:pt x="384" y="237"/>
                      <a:pt x="384" y="144"/>
                    </a:cubicBezTo>
                    <a:cubicBezTo>
                      <a:pt x="384" y="51"/>
                      <a:pt x="368" y="17"/>
                      <a:pt x="365" y="13"/>
                    </a:cubicBezTo>
                    <a:close/>
                    <a:moveTo>
                      <a:pt x="43" y="28"/>
                    </a:moveTo>
                    <a:cubicBezTo>
                      <a:pt x="51" y="28"/>
                      <a:pt x="51" y="28"/>
                      <a:pt x="51" y="28"/>
                    </a:cubicBezTo>
                    <a:cubicBezTo>
                      <a:pt x="295" y="28"/>
                      <a:pt x="295" y="28"/>
                      <a:pt x="295" y="28"/>
                    </a:cubicBezTo>
                    <a:cubicBezTo>
                      <a:pt x="342" y="28"/>
                      <a:pt x="342" y="28"/>
                      <a:pt x="342" y="28"/>
                    </a:cubicBezTo>
                    <a:cubicBezTo>
                      <a:pt x="345" y="36"/>
                      <a:pt x="356" y="68"/>
                      <a:pt x="356" y="144"/>
                    </a:cubicBezTo>
                    <a:cubicBezTo>
                      <a:pt x="356" y="167"/>
                      <a:pt x="355" y="185"/>
                      <a:pt x="354" y="201"/>
                    </a:cubicBezTo>
                    <a:cubicBezTo>
                      <a:pt x="31" y="201"/>
                      <a:pt x="31" y="201"/>
                      <a:pt x="31" y="201"/>
                    </a:cubicBezTo>
                    <a:cubicBezTo>
                      <a:pt x="29" y="185"/>
                      <a:pt x="28" y="167"/>
                      <a:pt x="28" y="144"/>
                    </a:cubicBezTo>
                    <a:cubicBezTo>
                      <a:pt x="28" y="68"/>
                      <a:pt x="40" y="35"/>
                      <a:pt x="43" y="28"/>
                    </a:cubicBezTo>
                    <a:close/>
                    <a:moveTo>
                      <a:pt x="236" y="245"/>
                    </a:moveTo>
                    <a:cubicBezTo>
                      <a:pt x="236" y="235"/>
                      <a:pt x="245" y="226"/>
                      <a:pt x="256" y="226"/>
                    </a:cubicBezTo>
                    <a:cubicBezTo>
                      <a:pt x="266" y="226"/>
                      <a:pt x="275" y="235"/>
                      <a:pt x="275" y="245"/>
                    </a:cubicBezTo>
                    <a:cubicBezTo>
                      <a:pt x="275" y="256"/>
                      <a:pt x="266" y="264"/>
                      <a:pt x="256" y="264"/>
                    </a:cubicBezTo>
                    <a:cubicBezTo>
                      <a:pt x="245" y="264"/>
                      <a:pt x="236" y="256"/>
                      <a:pt x="236" y="245"/>
                    </a:cubicBezTo>
                    <a:close/>
                    <a:moveTo>
                      <a:pt x="319" y="264"/>
                    </a:moveTo>
                    <a:cubicBezTo>
                      <a:pt x="309" y="264"/>
                      <a:pt x="300" y="256"/>
                      <a:pt x="300" y="245"/>
                    </a:cubicBezTo>
                    <a:cubicBezTo>
                      <a:pt x="300" y="235"/>
                      <a:pt x="309" y="226"/>
                      <a:pt x="319" y="226"/>
                    </a:cubicBezTo>
                    <a:cubicBezTo>
                      <a:pt x="330" y="226"/>
                      <a:pt x="339" y="235"/>
                      <a:pt x="339" y="245"/>
                    </a:cubicBezTo>
                    <a:cubicBezTo>
                      <a:pt x="339" y="256"/>
                      <a:pt x="330" y="264"/>
                      <a:pt x="319" y="2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C2340"/>
                  </a:solidFill>
                  <a:effectLst/>
                  <a:uLnTx/>
                  <a:uFillTx/>
                  <a:latin typeface="GE Inspira Sans"/>
                  <a:ea typeface="+mn-ea"/>
                  <a:cs typeface="+mn-cs"/>
                </a:endParaRPr>
              </a:p>
            </p:txBody>
          </p:sp>
        </p:grpSp>
        <p:cxnSp>
          <p:nvCxnSpPr>
            <p:cNvPr id="158" name="Straight Connector 157">
              <a:extLst>
                <a:ext uri="{FF2B5EF4-FFF2-40B4-BE49-F238E27FC236}">
                  <a16:creationId xmlns:a16="http://schemas.microsoft.com/office/drawing/2014/main" id="{5EFE2D4E-EB2F-49AC-889A-3ED487E94FEB}"/>
                </a:ext>
              </a:extLst>
            </p:cNvPr>
            <p:cNvCxnSpPr/>
            <p:nvPr/>
          </p:nvCxnSpPr>
          <p:spPr>
            <a:xfrm rot="862242">
              <a:off x="6494555" y="5003981"/>
              <a:ext cx="332822" cy="0"/>
            </a:xfrm>
            <a:prstGeom prst="line">
              <a:avLst/>
            </a:prstGeom>
            <a:ln w="285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0A13F556-CB91-4880-B7EA-D7AFC42E1659}"/>
                </a:ext>
              </a:extLst>
            </p:cNvPr>
            <p:cNvCxnSpPr/>
            <p:nvPr/>
          </p:nvCxnSpPr>
          <p:spPr>
            <a:xfrm rot="862242">
              <a:off x="6458967" y="5145035"/>
              <a:ext cx="332822" cy="0"/>
            </a:xfrm>
            <a:prstGeom prst="line">
              <a:avLst/>
            </a:prstGeom>
            <a:ln w="285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FA02C133-C182-4E20-8E1D-BE23C8266852}"/>
                </a:ext>
              </a:extLst>
            </p:cNvPr>
            <p:cNvCxnSpPr/>
            <p:nvPr/>
          </p:nvCxnSpPr>
          <p:spPr>
            <a:xfrm rot="862242">
              <a:off x="6477690" y="5071957"/>
              <a:ext cx="332822" cy="0"/>
            </a:xfrm>
            <a:prstGeom prst="line">
              <a:avLst/>
            </a:prstGeom>
            <a:ln w="2857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61" name="Oval 160">
              <a:extLst>
                <a:ext uri="{FF2B5EF4-FFF2-40B4-BE49-F238E27FC236}">
                  <a16:creationId xmlns:a16="http://schemas.microsoft.com/office/drawing/2014/main" id="{64862FDD-F599-475C-80E9-0506C3CCA45D}"/>
                </a:ext>
              </a:extLst>
            </p:cNvPr>
            <p:cNvSpPr/>
            <p:nvPr/>
          </p:nvSpPr>
          <p:spPr>
            <a:xfrm rot="862242">
              <a:off x="6704805" y="4979718"/>
              <a:ext cx="81398" cy="8139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 Inspira Sans"/>
                <a:ea typeface="+mn-ea"/>
                <a:cs typeface="+mn-cs"/>
              </a:endParaRPr>
            </a:p>
          </p:txBody>
        </p:sp>
        <p:sp>
          <p:nvSpPr>
            <p:cNvPr id="162" name="Oval 161">
              <a:extLst>
                <a:ext uri="{FF2B5EF4-FFF2-40B4-BE49-F238E27FC236}">
                  <a16:creationId xmlns:a16="http://schemas.microsoft.com/office/drawing/2014/main" id="{7621E245-13B4-429D-8611-BFAE353E4ADC}"/>
                </a:ext>
              </a:extLst>
            </p:cNvPr>
            <p:cNvSpPr/>
            <p:nvPr/>
          </p:nvSpPr>
          <p:spPr>
            <a:xfrm rot="862242">
              <a:off x="6458830" y="4994228"/>
              <a:ext cx="81398" cy="8139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 Inspira Sans"/>
                <a:ea typeface="+mn-ea"/>
                <a:cs typeface="+mn-cs"/>
              </a:endParaRPr>
            </a:p>
          </p:txBody>
        </p:sp>
        <p:sp>
          <p:nvSpPr>
            <p:cNvPr id="163" name="Oval 162">
              <a:extLst>
                <a:ext uri="{FF2B5EF4-FFF2-40B4-BE49-F238E27FC236}">
                  <a16:creationId xmlns:a16="http://schemas.microsoft.com/office/drawing/2014/main" id="{DF58B9FF-5EED-48C8-912D-9997A28D8E86}"/>
                </a:ext>
              </a:extLst>
            </p:cNvPr>
            <p:cNvSpPr/>
            <p:nvPr/>
          </p:nvSpPr>
          <p:spPr>
            <a:xfrm rot="862242">
              <a:off x="6588340" y="5097861"/>
              <a:ext cx="81398" cy="8139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 Inspira Sans"/>
                <a:ea typeface="+mn-ea"/>
                <a:cs typeface="+mn-cs"/>
              </a:endParaRPr>
            </a:p>
          </p:txBody>
        </p:sp>
      </p:grpSp>
      <p:sp>
        <p:nvSpPr>
          <p:cNvPr id="118" name="Slide Number Placeholder 4">
            <a:extLst>
              <a:ext uri="{FF2B5EF4-FFF2-40B4-BE49-F238E27FC236}">
                <a16:creationId xmlns:a16="http://schemas.microsoft.com/office/drawing/2014/main" id="{604EC245-1740-409D-967E-B910C651F787}"/>
              </a:ext>
            </a:extLst>
          </p:cNvPr>
          <p:cNvSpPr>
            <a:spLocks noGrp="1"/>
          </p:cNvSpPr>
          <p:nvPr>
            <p:ph type="sldNum" sz="quarter" idx="11"/>
          </p:nvPr>
        </p:nvSpPr>
        <p:spPr>
          <a:xfrm>
            <a:off x="11031538" y="6375055"/>
            <a:ext cx="738723" cy="365125"/>
          </a:xfrm>
          <a:prstGeom prst="rect">
            <a:avLst/>
          </a:prstGeom>
        </p:spPr>
        <p:txBody>
          <a:bodyPr vert="horz" lIns="91440" tIns="45720" rIns="91440" bIns="45720" rtlCol="0" anchor="ctr"/>
          <a:lstStyle>
            <a:defPPr>
              <a:defRPr lang="en-US"/>
            </a:defPPr>
            <a:lvl1pPr marL="0" algn="r" defTabSz="914400" rtl="0" eaLnBrk="1" latinLnBrk="0" hangingPunct="1">
              <a:defRPr sz="850" b="1" kern="1200">
                <a:solidFill>
                  <a:schemeClr val="bg2"/>
                </a:solidFill>
                <a:latin typeface="GE Inspira Sans" panose="020B05030600000000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0E6A5BD-C011-4A45-AA3A-201790FB7F2B}" type="slidenum">
              <a:rPr lang="en-CA" smtClean="0"/>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CA" sz="850" b="1" i="0" u="none" strike="noStrike" kern="1200" cap="none" spc="0" normalizeH="0" baseline="0" noProof="0" dirty="0">
              <a:ln>
                <a:noFill/>
              </a:ln>
              <a:solidFill>
                <a:srgbClr val="FFFFFF"/>
              </a:solidFill>
              <a:effectLst/>
              <a:uLnTx/>
              <a:uFillTx/>
              <a:latin typeface="GE Inspira Sans" panose="020B0503060000000003" pitchFamily="34" charset="77"/>
              <a:ea typeface="+mn-ea"/>
              <a:cs typeface="+mn-cs"/>
            </a:endParaRPr>
          </a:p>
        </p:txBody>
      </p:sp>
      <p:sp>
        <p:nvSpPr>
          <p:cNvPr id="9" name="Title 8">
            <a:extLst>
              <a:ext uri="{FF2B5EF4-FFF2-40B4-BE49-F238E27FC236}">
                <a16:creationId xmlns:a16="http://schemas.microsoft.com/office/drawing/2014/main" id="{E7CECFD3-C61B-4221-8471-AB60525B3D21}"/>
              </a:ext>
            </a:extLst>
          </p:cNvPr>
          <p:cNvSpPr>
            <a:spLocks noGrp="1"/>
          </p:cNvSpPr>
          <p:nvPr>
            <p:ph type="title"/>
          </p:nvPr>
        </p:nvSpPr>
        <p:spPr/>
        <p:txBody>
          <a:bodyPr/>
          <a:lstStyle/>
          <a:p>
            <a:r>
              <a:rPr lang="en-US" dirty="0"/>
              <a:t>GE Energy Consulting</a:t>
            </a:r>
            <a:br>
              <a:rPr lang="en-US" b="1" dirty="0"/>
            </a:br>
            <a:r>
              <a:rPr lang="en-US" sz="1800" b="1" dirty="0">
                <a:solidFill>
                  <a:schemeClr val="accent1"/>
                </a:solidFill>
              </a:rPr>
              <a:t>Power System Experts For &gt;100 Years</a:t>
            </a:r>
            <a:endParaRPr lang="en-US" b="1" dirty="0">
              <a:solidFill>
                <a:schemeClr val="accent1"/>
              </a:solidFill>
            </a:endParaRPr>
          </a:p>
        </p:txBody>
      </p:sp>
      <p:sp>
        <p:nvSpPr>
          <p:cNvPr id="7" name="TextBox 6">
            <a:extLst>
              <a:ext uri="{FF2B5EF4-FFF2-40B4-BE49-F238E27FC236}">
                <a16:creationId xmlns:a16="http://schemas.microsoft.com/office/drawing/2014/main" id="{5AFF48E2-C973-4F81-8AC9-7ABA9E440D17}"/>
              </a:ext>
            </a:extLst>
          </p:cNvPr>
          <p:cNvSpPr txBox="1"/>
          <p:nvPr/>
        </p:nvSpPr>
        <p:spPr>
          <a:xfrm>
            <a:off x="8483819" y="1472900"/>
            <a:ext cx="1573154" cy="4924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9CBE8"/>
                </a:solidFill>
                <a:effectLst/>
                <a:uLnTx/>
                <a:uFillTx/>
                <a:latin typeface="GE Inspira Sans"/>
                <a:ea typeface="+mn-ea"/>
                <a:cs typeface="+mn-cs"/>
              </a:rPr>
              <a:t>EQUIPMENT </a:t>
            </a:r>
            <a:r>
              <a:rPr kumimoji="0" lang="en-US" sz="1600" b="0" i="0" u="none" strike="noStrike" kern="1200" cap="none" spc="0" normalizeH="0" baseline="0" noProof="0" dirty="0">
                <a:ln>
                  <a:noFill/>
                </a:ln>
                <a:solidFill>
                  <a:srgbClr val="59CBE8"/>
                </a:solidFill>
                <a:effectLst/>
                <a:uLnTx/>
                <a:uFillTx/>
                <a:latin typeface="GE Inspira Sans"/>
                <a:ea typeface="+mn-ea"/>
                <a:cs typeface="+mn-cs"/>
              </a:rPr>
              <a:t>INTEGRATION</a:t>
            </a:r>
          </a:p>
        </p:txBody>
      </p:sp>
      <p:sp>
        <p:nvSpPr>
          <p:cNvPr id="108" name="TextBox 107">
            <a:extLst>
              <a:ext uri="{FF2B5EF4-FFF2-40B4-BE49-F238E27FC236}">
                <a16:creationId xmlns:a16="http://schemas.microsoft.com/office/drawing/2014/main" id="{0D9CD510-A8A6-410E-BA74-40375A8411B0}"/>
              </a:ext>
            </a:extLst>
          </p:cNvPr>
          <p:cNvSpPr txBox="1"/>
          <p:nvPr/>
        </p:nvSpPr>
        <p:spPr>
          <a:xfrm>
            <a:off x="4512100" y="1472900"/>
            <a:ext cx="1410292" cy="4924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BF6F"/>
                </a:solidFill>
                <a:effectLst/>
                <a:uLnTx/>
                <a:uFillTx/>
                <a:latin typeface="GE Inspira Sans"/>
                <a:ea typeface="+mn-ea"/>
                <a:cs typeface="+mn-cs"/>
              </a:rPr>
              <a:t>NETWORK </a:t>
            </a:r>
            <a:r>
              <a:rPr kumimoji="0" lang="en-US" sz="1600" b="0" i="0" u="none" strike="noStrike" kern="1200" cap="none" spc="0" normalizeH="0" baseline="0" noProof="0" dirty="0">
                <a:ln>
                  <a:noFill/>
                </a:ln>
                <a:solidFill>
                  <a:srgbClr val="00BF6F"/>
                </a:solidFill>
                <a:effectLst/>
                <a:uLnTx/>
                <a:uFillTx/>
                <a:latin typeface="GE Inspira Sans"/>
                <a:ea typeface="+mn-ea"/>
                <a:cs typeface="+mn-cs"/>
              </a:rPr>
              <a:t>STRATEGY</a:t>
            </a:r>
          </a:p>
        </p:txBody>
      </p:sp>
      <p:sp>
        <p:nvSpPr>
          <p:cNvPr id="112" name="TextBox 111">
            <a:extLst>
              <a:ext uri="{FF2B5EF4-FFF2-40B4-BE49-F238E27FC236}">
                <a16:creationId xmlns:a16="http://schemas.microsoft.com/office/drawing/2014/main" id="{C97D6DC2-C1A1-4A9A-BF6E-FEA40DE24266}"/>
              </a:ext>
            </a:extLst>
          </p:cNvPr>
          <p:cNvSpPr txBox="1"/>
          <p:nvPr/>
        </p:nvSpPr>
        <p:spPr>
          <a:xfrm>
            <a:off x="350262" y="1472900"/>
            <a:ext cx="1270526" cy="4924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EB8"/>
                </a:solidFill>
                <a:effectLst/>
                <a:uLnTx/>
                <a:uFillTx/>
                <a:latin typeface="GE Inspira Sans"/>
                <a:ea typeface="+mn-ea"/>
                <a:cs typeface="+mn-cs"/>
              </a:rPr>
              <a:t>ECONOMIC </a:t>
            </a:r>
            <a:r>
              <a:rPr kumimoji="0" lang="en-US" sz="1600" b="0" i="0" u="none" strike="noStrike" kern="1200" cap="none" spc="0" normalizeH="0" baseline="0" noProof="0" dirty="0">
                <a:ln>
                  <a:noFill/>
                </a:ln>
                <a:solidFill>
                  <a:srgbClr val="005EB8"/>
                </a:solidFill>
                <a:effectLst/>
                <a:uLnTx/>
                <a:uFillTx/>
                <a:latin typeface="GE Inspira Sans"/>
                <a:ea typeface="+mn-ea"/>
                <a:cs typeface="+mn-cs"/>
              </a:rPr>
              <a:t>ANALYSIS</a:t>
            </a:r>
          </a:p>
        </p:txBody>
      </p:sp>
      <p:sp>
        <p:nvSpPr>
          <p:cNvPr id="8" name="TextBox 7">
            <a:extLst>
              <a:ext uri="{FF2B5EF4-FFF2-40B4-BE49-F238E27FC236}">
                <a16:creationId xmlns:a16="http://schemas.microsoft.com/office/drawing/2014/main" id="{ADF24688-6B9F-4858-8ADA-55E3CDAC40F4}"/>
              </a:ext>
            </a:extLst>
          </p:cNvPr>
          <p:cNvSpPr txBox="1"/>
          <p:nvPr/>
        </p:nvSpPr>
        <p:spPr>
          <a:xfrm>
            <a:off x="1946547" y="2444341"/>
            <a:ext cx="109180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GE Inspira Sans"/>
                <a:ea typeface="+mn-ea"/>
                <a:cs typeface="+mn-cs"/>
              </a:rPr>
              <a:t>System planning &amp; strategy</a:t>
            </a:r>
          </a:p>
        </p:txBody>
      </p:sp>
      <p:sp>
        <p:nvSpPr>
          <p:cNvPr id="113" name="TextBox 112">
            <a:extLst>
              <a:ext uri="{FF2B5EF4-FFF2-40B4-BE49-F238E27FC236}">
                <a16:creationId xmlns:a16="http://schemas.microsoft.com/office/drawing/2014/main" id="{3EFD32C7-E676-4091-A3F5-18D15B3B953C}"/>
              </a:ext>
            </a:extLst>
          </p:cNvPr>
          <p:cNvSpPr txBox="1"/>
          <p:nvPr/>
        </p:nvSpPr>
        <p:spPr>
          <a:xfrm>
            <a:off x="1926780" y="3000514"/>
            <a:ext cx="1277077"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GE Inspira Sans"/>
                <a:ea typeface="+mn-ea"/>
                <a:cs typeface="+mn-cs"/>
              </a:rPr>
              <a:t>Financial modeling &amp; forecasting</a:t>
            </a:r>
          </a:p>
        </p:txBody>
      </p:sp>
      <p:sp>
        <p:nvSpPr>
          <p:cNvPr id="71" name="TextBox 70">
            <a:extLst>
              <a:ext uri="{FF2B5EF4-FFF2-40B4-BE49-F238E27FC236}">
                <a16:creationId xmlns:a16="http://schemas.microsoft.com/office/drawing/2014/main" id="{2173D90B-0CBD-46D4-9C9F-19B1DAB79054}"/>
              </a:ext>
            </a:extLst>
          </p:cNvPr>
          <p:cNvSpPr txBox="1"/>
          <p:nvPr/>
        </p:nvSpPr>
        <p:spPr>
          <a:xfrm>
            <a:off x="481732" y="3856296"/>
            <a:ext cx="1237518"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GE Inspira Sans"/>
                <a:ea typeface="+mn-ea"/>
                <a:cs typeface="+mn-cs"/>
              </a:rPr>
              <a:t>MODELS</a:t>
            </a:r>
          </a:p>
        </p:txBody>
      </p:sp>
      <p:sp>
        <p:nvSpPr>
          <p:cNvPr id="72" name="TextBox 71">
            <a:extLst>
              <a:ext uri="{FF2B5EF4-FFF2-40B4-BE49-F238E27FC236}">
                <a16:creationId xmlns:a16="http://schemas.microsoft.com/office/drawing/2014/main" id="{C1996F12-0BA9-4176-AFF3-5FAAA7E53884}"/>
              </a:ext>
            </a:extLst>
          </p:cNvPr>
          <p:cNvSpPr txBox="1"/>
          <p:nvPr/>
        </p:nvSpPr>
        <p:spPr>
          <a:xfrm>
            <a:off x="1835057" y="3763963"/>
            <a:ext cx="1314782" cy="4616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GE Inspira Sans"/>
                <a:ea typeface="+mn-ea"/>
                <a:cs typeface="+mn-cs"/>
              </a:rPr>
              <a:t>Plan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CBE8"/>
                </a:solidFill>
                <a:effectLst/>
                <a:uLnTx/>
                <a:uFillTx/>
                <a:latin typeface="GE Inspira Sans"/>
                <a:ea typeface="+mn-ea"/>
                <a:cs typeface="+mn-cs"/>
              </a:rPr>
              <a:t>years</a:t>
            </a:r>
          </a:p>
        </p:txBody>
      </p:sp>
      <p:sp>
        <p:nvSpPr>
          <p:cNvPr id="73" name="TextBox 72">
            <a:extLst>
              <a:ext uri="{FF2B5EF4-FFF2-40B4-BE49-F238E27FC236}">
                <a16:creationId xmlns:a16="http://schemas.microsoft.com/office/drawing/2014/main" id="{58F5E2AB-4617-4628-89F2-CC55F4C26A94}"/>
              </a:ext>
            </a:extLst>
          </p:cNvPr>
          <p:cNvSpPr txBox="1"/>
          <p:nvPr/>
        </p:nvSpPr>
        <p:spPr>
          <a:xfrm>
            <a:off x="10371101" y="3770704"/>
            <a:ext cx="1314782" cy="4616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GE Inspira Sans"/>
                <a:ea typeface="+mn-ea"/>
                <a:cs typeface="+mn-cs"/>
              </a:rPr>
              <a:t>Transi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CBE8"/>
                </a:solidFill>
                <a:effectLst/>
                <a:uLnTx/>
                <a:uFillTx/>
                <a:latin typeface="GE Inspira Sans"/>
                <a:ea typeface="+mn-ea"/>
                <a:cs typeface="+mn-cs"/>
              </a:rPr>
              <a:t>microseconds</a:t>
            </a:r>
          </a:p>
        </p:txBody>
      </p:sp>
      <p:sp>
        <p:nvSpPr>
          <p:cNvPr id="81" name="TextBox 80">
            <a:extLst>
              <a:ext uri="{FF2B5EF4-FFF2-40B4-BE49-F238E27FC236}">
                <a16:creationId xmlns:a16="http://schemas.microsoft.com/office/drawing/2014/main" id="{1D827EDE-4AF5-463B-AD04-EB80DBA3E47C}"/>
              </a:ext>
            </a:extLst>
          </p:cNvPr>
          <p:cNvSpPr txBox="1"/>
          <p:nvPr/>
        </p:nvSpPr>
        <p:spPr>
          <a:xfrm>
            <a:off x="10340612" y="2412273"/>
            <a:ext cx="120158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GE Inspira Sans"/>
                <a:ea typeface="+mn-ea"/>
                <a:cs typeface="+mn-cs"/>
              </a:rPr>
              <a:t>Interconnection support</a:t>
            </a:r>
          </a:p>
        </p:txBody>
      </p:sp>
      <p:sp>
        <p:nvSpPr>
          <p:cNvPr id="88" name="TextBox 87">
            <a:extLst>
              <a:ext uri="{FF2B5EF4-FFF2-40B4-BE49-F238E27FC236}">
                <a16:creationId xmlns:a16="http://schemas.microsoft.com/office/drawing/2014/main" id="{266A6D61-41B6-4402-93B1-393C56C2333B}"/>
              </a:ext>
            </a:extLst>
          </p:cNvPr>
          <p:cNvSpPr txBox="1"/>
          <p:nvPr/>
        </p:nvSpPr>
        <p:spPr>
          <a:xfrm>
            <a:off x="10333175" y="3004628"/>
            <a:ext cx="1125032"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GE Inspira Sans"/>
                <a:ea typeface="+mn-ea"/>
                <a:cs typeface="+mn-cs"/>
              </a:rPr>
              <a:t>Grid code testing &amp; compliance</a:t>
            </a:r>
          </a:p>
        </p:txBody>
      </p:sp>
      <p:sp>
        <p:nvSpPr>
          <p:cNvPr id="90" name="TextBox 89">
            <a:extLst>
              <a:ext uri="{FF2B5EF4-FFF2-40B4-BE49-F238E27FC236}">
                <a16:creationId xmlns:a16="http://schemas.microsoft.com/office/drawing/2014/main" id="{D1850A4A-C68C-4646-90EA-27B02337AE49}"/>
              </a:ext>
            </a:extLst>
          </p:cNvPr>
          <p:cNvSpPr txBox="1"/>
          <p:nvPr/>
        </p:nvSpPr>
        <p:spPr>
          <a:xfrm>
            <a:off x="6250967" y="2412273"/>
            <a:ext cx="105873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GE Inspira Sans"/>
                <a:ea typeface="+mn-ea"/>
                <a:cs typeface="+mn-cs"/>
              </a:rPr>
              <a:t>Stability studies</a:t>
            </a:r>
          </a:p>
        </p:txBody>
      </p:sp>
      <p:sp>
        <p:nvSpPr>
          <p:cNvPr id="105" name="TextBox 104">
            <a:extLst>
              <a:ext uri="{FF2B5EF4-FFF2-40B4-BE49-F238E27FC236}">
                <a16:creationId xmlns:a16="http://schemas.microsoft.com/office/drawing/2014/main" id="{8E8D13A9-FFA8-45BE-8D06-72868D2AAF53}"/>
              </a:ext>
            </a:extLst>
          </p:cNvPr>
          <p:cNvSpPr txBox="1"/>
          <p:nvPr/>
        </p:nvSpPr>
        <p:spPr>
          <a:xfrm>
            <a:off x="6250967" y="3205988"/>
            <a:ext cx="111630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GE Inspira Sans"/>
                <a:ea typeface="+mn-ea"/>
                <a:cs typeface="+mn-cs"/>
              </a:rPr>
              <a:t>Grid upgrades</a:t>
            </a:r>
          </a:p>
        </p:txBody>
      </p:sp>
      <p:sp>
        <p:nvSpPr>
          <p:cNvPr id="13" name="TextBox 12">
            <a:extLst>
              <a:ext uri="{FF2B5EF4-FFF2-40B4-BE49-F238E27FC236}">
                <a16:creationId xmlns:a16="http://schemas.microsoft.com/office/drawing/2014/main" id="{EAB06172-34F3-48D6-8526-B205C4CF507D}"/>
              </a:ext>
            </a:extLst>
          </p:cNvPr>
          <p:cNvSpPr txBox="1"/>
          <p:nvPr/>
        </p:nvSpPr>
        <p:spPr>
          <a:xfrm>
            <a:off x="8620063" y="297274"/>
            <a:ext cx="1338508" cy="64633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GE Inspira Sans"/>
                <a:ea typeface="+mn-ea"/>
                <a:cs typeface="+mn-cs"/>
              </a:rPr>
              <a:t>~120</a:t>
            </a:r>
            <a:r>
              <a:rPr kumimoji="0" lang="en-US" sz="1400" b="0" i="0" u="none" strike="noStrike" kern="1200" cap="none" spc="0" normalizeH="0" baseline="0" noProof="0" dirty="0">
                <a:ln>
                  <a:noFill/>
                </a:ln>
                <a:solidFill>
                  <a:srgbClr val="FFFFFF"/>
                </a:solidFill>
                <a:effectLst/>
                <a:uLnTx/>
                <a:uFillTx/>
                <a:latin typeface="GE Inspira Sans"/>
                <a:ea typeface="+mn-ea"/>
                <a:cs typeface="+mn-cs"/>
              </a:rPr>
              <a:t> grid exper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GE Inspira Sans"/>
                <a:ea typeface="+mn-ea"/>
                <a:cs typeface="+mn-cs"/>
              </a:rPr>
              <a:t>       </a:t>
            </a:r>
            <a:r>
              <a:rPr kumimoji="0" lang="en-US" sz="1400" b="1" i="0" u="none" strike="noStrike" kern="1200" cap="none" spc="0" normalizeH="0" baseline="0" noProof="0" dirty="0">
                <a:ln>
                  <a:noFill/>
                </a:ln>
                <a:solidFill>
                  <a:srgbClr val="FFFFFF"/>
                </a:solidFill>
                <a:effectLst/>
                <a:uLnTx/>
                <a:uFillTx/>
                <a:latin typeface="GE Inspira Sans"/>
                <a:ea typeface="+mn-ea"/>
                <a:cs typeface="+mn-cs"/>
              </a:rPr>
              <a:t>9  </a:t>
            </a:r>
            <a:r>
              <a:rPr kumimoji="0" lang="en-US" sz="1400" b="0" i="0" u="none" strike="noStrike" kern="1200" cap="none" spc="0" normalizeH="0" baseline="0" noProof="0" dirty="0">
                <a:ln>
                  <a:noFill/>
                </a:ln>
                <a:solidFill>
                  <a:srgbClr val="FFFFFF"/>
                </a:solidFill>
                <a:effectLst/>
                <a:uLnTx/>
                <a:uFillTx/>
                <a:latin typeface="GE Inspira Sans"/>
                <a:ea typeface="+mn-ea"/>
                <a:cs typeface="+mn-cs"/>
              </a:rPr>
              <a:t>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GE Inspira Sans"/>
                <a:ea typeface="+mn-ea"/>
                <a:cs typeface="+mn-cs"/>
              </a:rPr>
              <a:t>&gt;100 </a:t>
            </a:r>
            <a:r>
              <a:rPr kumimoji="0" lang="en-US" sz="1400" b="0" i="0" u="none" strike="noStrike" kern="1200" cap="none" spc="0" normalizeH="0" baseline="0" noProof="0" dirty="0">
                <a:ln>
                  <a:noFill/>
                </a:ln>
                <a:solidFill>
                  <a:srgbClr val="FFFFFF"/>
                </a:solidFill>
                <a:effectLst/>
                <a:uLnTx/>
                <a:uFillTx/>
                <a:latin typeface="GE Inspira Sans"/>
                <a:ea typeface="+mn-ea"/>
                <a:cs typeface="+mn-cs"/>
              </a:rPr>
              <a:t>patents</a:t>
            </a:r>
          </a:p>
        </p:txBody>
      </p:sp>
      <p:sp>
        <p:nvSpPr>
          <p:cNvPr id="89" name="TextBox 88">
            <a:extLst>
              <a:ext uri="{FF2B5EF4-FFF2-40B4-BE49-F238E27FC236}">
                <a16:creationId xmlns:a16="http://schemas.microsoft.com/office/drawing/2014/main" id="{A2061B10-2726-4D7A-A0C0-5EFE963396BC}"/>
              </a:ext>
            </a:extLst>
          </p:cNvPr>
          <p:cNvSpPr txBox="1"/>
          <p:nvPr/>
        </p:nvSpPr>
        <p:spPr>
          <a:xfrm>
            <a:off x="6250967" y="2718578"/>
            <a:ext cx="954250"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GE Inspira Sans"/>
                <a:ea typeface="+mn-ea"/>
                <a:cs typeface="+mn-cs"/>
              </a:rPr>
              <a:t>Network risk assessment</a:t>
            </a:r>
          </a:p>
        </p:txBody>
      </p:sp>
      <p:cxnSp>
        <p:nvCxnSpPr>
          <p:cNvPr id="23" name="Straight Connector 22">
            <a:extLst>
              <a:ext uri="{FF2B5EF4-FFF2-40B4-BE49-F238E27FC236}">
                <a16:creationId xmlns:a16="http://schemas.microsoft.com/office/drawing/2014/main" id="{04DD97B2-1889-475A-BF2E-7A981F12DEC4}"/>
              </a:ext>
            </a:extLst>
          </p:cNvPr>
          <p:cNvCxnSpPr/>
          <p:nvPr/>
        </p:nvCxnSpPr>
        <p:spPr>
          <a:xfrm>
            <a:off x="1778481" y="1490195"/>
            <a:ext cx="0" cy="457850"/>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D8DE4F57-5AD3-4A4E-8549-4B150932D0C2}"/>
              </a:ext>
            </a:extLst>
          </p:cNvPr>
          <p:cNvSpPr txBox="1"/>
          <p:nvPr/>
        </p:nvSpPr>
        <p:spPr>
          <a:xfrm>
            <a:off x="1870591" y="1534454"/>
            <a:ext cx="1307621"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GE Inspira Sans"/>
                <a:ea typeface="+mn-ea"/>
                <a:cs typeface="+mn-cs"/>
              </a:rPr>
              <a:t>grid value of technology</a:t>
            </a:r>
            <a:endParaRPr kumimoji="0" lang="en-US" sz="1200" b="1" i="0" u="none" strike="noStrike" kern="1200" cap="none" spc="0" normalizeH="0" baseline="0" noProof="0" dirty="0">
              <a:ln>
                <a:noFill/>
              </a:ln>
              <a:solidFill>
                <a:srgbClr val="0C2340"/>
              </a:solidFill>
              <a:effectLst/>
              <a:uLnTx/>
              <a:uFillTx/>
              <a:latin typeface="GE Inspira Sans"/>
              <a:ea typeface="+mn-ea"/>
              <a:cs typeface="+mn-cs"/>
            </a:endParaRPr>
          </a:p>
        </p:txBody>
      </p:sp>
      <p:cxnSp>
        <p:nvCxnSpPr>
          <p:cNvPr id="100" name="Straight Connector 99">
            <a:extLst>
              <a:ext uri="{FF2B5EF4-FFF2-40B4-BE49-F238E27FC236}">
                <a16:creationId xmlns:a16="http://schemas.microsoft.com/office/drawing/2014/main" id="{DA8F4AF1-3B1E-4210-A3E0-CD9512AC3EFF}"/>
              </a:ext>
            </a:extLst>
          </p:cNvPr>
          <p:cNvCxnSpPr/>
          <p:nvPr/>
        </p:nvCxnSpPr>
        <p:spPr>
          <a:xfrm>
            <a:off x="6073868" y="1490195"/>
            <a:ext cx="0" cy="457850"/>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AE83312B-0811-4E12-9307-EE96083B14A3}"/>
              </a:ext>
            </a:extLst>
          </p:cNvPr>
          <p:cNvSpPr txBox="1"/>
          <p:nvPr/>
        </p:nvSpPr>
        <p:spPr>
          <a:xfrm>
            <a:off x="6175213" y="1565233"/>
            <a:ext cx="1070791" cy="307777"/>
          </a:xfrm>
          <a:prstGeom prst="rect">
            <a:avLst/>
          </a:prstGeom>
          <a:noFill/>
        </p:spPr>
        <p:txBody>
          <a:bodyPr wrap="square" lIns="0" tIns="0" rIns="0" bIns="0"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GE Inspira Sans"/>
                <a:ea typeface="+mn-ea"/>
                <a:cs typeface="+mn-cs"/>
              </a:rPr>
              <a:t>complex grid  interconnection</a:t>
            </a:r>
          </a:p>
        </p:txBody>
      </p:sp>
      <p:cxnSp>
        <p:nvCxnSpPr>
          <p:cNvPr id="103" name="Straight Connector 102">
            <a:extLst>
              <a:ext uri="{FF2B5EF4-FFF2-40B4-BE49-F238E27FC236}">
                <a16:creationId xmlns:a16="http://schemas.microsoft.com/office/drawing/2014/main" id="{459DB9BC-5823-4A72-9391-79DABAEF2A62}"/>
              </a:ext>
            </a:extLst>
          </p:cNvPr>
          <p:cNvCxnSpPr/>
          <p:nvPr/>
        </p:nvCxnSpPr>
        <p:spPr>
          <a:xfrm>
            <a:off x="10168307" y="1490195"/>
            <a:ext cx="0" cy="457850"/>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FE6FBE24-2C6B-47E5-AF5B-596F561F927F}"/>
              </a:ext>
            </a:extLst>
          </p:cNvPr>
          <p:cNvSpPr txBox="1"/>
          <p:nvPr/>
        </p:nvSpPr>
        <p:spPr>
          <a:xfrm>
            <a:off x="10263137" y="1565233"/>
            <a:ext cx="1442620" cy="307777"/>
          </a:xfrm>
          <a:prstGeom prst="rect">
            <a:avLst/>
          </a:prstGeom>
          <a:noFill/>
        </p:spPr>
        <p:txBody>
          <a:bodyPr wrap="square" lIns="0" tIns="0" rIns="0" bIns="0" rtlCol="0">
            <a:spAutoFit/>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C2340"/>
                </a:solidFill>
                <a:effectLst/>
                <a:uLnTx/>
                <a:uFillTx/>
                <a:latin typeface="GE Inspira Sans"/>
                <a:ea typeface="+mn-ea"/>
                <a:cs typeface="+mn-cs"/>
              </a:rPr>
              <a:t>voltage &amp; frequency performance</a:t>
            </a:r>
          </a:p>
        </p:txBody>
      </p:sp>
      <p:cxnSp>
        <p:nvCxnSpPr>
          <p:cNvPr id="95" name="Straight Connector 94">
            <a:extLst>
              <a:ext uri="{FF2B5EF4-FFF2-40B4-BE49-F238E27FC236}">
                <a16:creationId xmlns:a16="http://schemas.microsoft.com/office/drawing/2014/main" id="{8EE71C10-8F7B-4107-9B78-588AE52A7D5B}"/>
              </a:ext>
            </a:extLst>
          </p:cNvPr>
          <p:cNvCxnSpPr>
            <a:cxnSpLocks/>
          </p:cNvCxnSpPr>
          <p:nvPr/>
        </p:nvCxnSpPr>
        <p:spPr>
          <a:xfrm>
            <a:off x="1779383" y="2383406"/>
            <a:ext cx="0" cy="1005840"/>
          </a:xfrm>
          <a:prstGeom prst="line">
            <a:avLst/>
          </a:prstGeom>
          <a:noFill/>
          <a:ln w="25400" cap="rnd">
            <a:solidFill>
              <a:schemeClr val="accent5">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cxnSp>
      <p:cxnSp>
        <p:nvCxnSpPr>
          <p:cNvPr id="98" name="Straight Connector 97">
            <a:extLst>
              <a:ext uri="{FF2B5EF4-FFF2-40B4-BE49-F238E27FC236}">
                <a16:creationId xmlns:a16="http://schemas.microsoft.com/office/drawing/2014/main" id="{4F7735BA-56D3-4602-A671-1A859B8DB726}"/>
              </a:ext>
            </a:extLst>
          </p:cNvPr>
          <p:cNvCxnSpPr>
            <a:cxnSpLocks/>
          </p:cNvCxnSpPr>
          <p:nvPr/>
        </p:nvCxnSpPr>
        <p:spPr>
          <a:xfrm>
            <a:off x="6078256" y="2383406"/>
            <a:ext cx="0" cy="1005840"/>
          </a:xfrm>
          <a:prstGeom prst="line">
            <a:avLst/>
          </a:prstGeom>
          <a:noFill/>
          <a:ln w="25400" cap="rnd">
            <a:solidFill>
              <a:schemeClr val="accent5">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cxnSp>
      <p:cxnSp>
        <p:nvCxnSpPr>
          <p:cNvPr id="107" name="Straight Connector 106">
            <a:extLst>
              <a:ext uri="{FF2B5EF4-FFF2-40B4-BE49-F238E27FC236}">
                <a16:creationId xmlns:a16="http://schemas.microsoft.com/office/drawing/2014/main" id="{CCF041CA-315D-43C5-8A42-20E43AE4F432}"/>
              </a:ext>
            </a:extLst>
          </p:cNvPr>
          <p:cNvCxnSpPr>
            <a:cxnSpLocks/>
          </p:cNvCxnSpPr>
          <p:nvPr/>
        </p:nvCxnSpPr>
        <p:spPr>
          <a:xfrm>
            <a:off x="10182521" y="2383406"/>
            <a:ext cx="0" cy="1005840"/>
          </a:xfrm>
          <a:prstGeom prst="line">
            <a:avLst/>
          </a:prstGeom>
          <a:noFill/>
          <a:ln w="25400" cap="rnd">
            <a:solidFill>
              <a:schemeClr val="accent5">
                <a:lumMod val="60000"/>
                <a:lumOff val="40000"/>
              </a:schemeClr>
            </a:solidFill>
            <a:miter lim="800000"/>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Arrow Connector 11">
            <a:extLst>
              <a:ext uri="{FF2B5EF4-FFF2-40B4-BE49-F238E27FC236}">
                <a16:creationId xmlns:a16="http://schemas.microsoft.com/office/drawing/2014/main" id="{17ACF3D3-C257-48D4-A775-45192F96AA85}"/>
              </a:ext>
            </a:extLst>
          </p:cNvPr>
          <p:cNvCxnSpPr>
            <a:cxnSpLocks/>
          </p:cNvCxnSpPr>
          <p:nvPr/>
        </p:nvCxnSpPr>
        <p:spPr>
          <a:xfrm>
            <a:off x="3175221" y="3994794"/>
            <a:ext cx="7013012" cy="0"/>
          </a:xfrm>
          <a:prstGeom prst="straightConnector1">
            <a:avLst/>
          </a:prstGeom>
          <a:noFill/>
          <a:ln w="34925">
            <a:solidFill>
              <a:schemeClr val="bg1"/>
            </a:solidFill>
            <a:prstDash val="solid"/>
            <a:headEnd type="arrow"/>
            <a:tailEnd type="arrow"/>
          </a:ln>
        </p:spPr>
        <p:style>
          <a:lnRef idx="2">
            <a:schemeClr val="accent1">
              <a:shade val="50000"/>
            </a:schemeClr>
          </a:lnRef>
          <a:fillRef idx="1">
            <a:schemeClr val="accent1"/>
          </a:fillRef>
          <a:effectRef idx="0">
            <a:schemeClr val="accent1"/>
          </a:effectRef>
          <a:fontRef idx="minor">
            <a:schemeClr val="lt1"/>
          </a:fontRef>
        </p:style>
      </p:cxnSp>
      <p:sp>
        <p:nvSpPr>
          <p:cNvPr id="117" name="TextBox 116">
            <a:extLst>
              <a:ext uri="{FF2B5EF4-FFF2-40B4-BE49-F238E27FC236}">
                <a16:creationId xmlns:a16="http://schemas.microsoft.com/office/drawing/2014/main" id="{F7E61F68-8A98-4B0E-9A92-72CCF78BB7AC}"/>
              </a:ext>
            </a:extLst>
          </p:cNvPr>
          <p:cNvSpPr txBox="1"/>
          <p:nvPr/>
        </p:nvSpPr>
        <p:spPr>
          <a:xfrm>
            <a:off x="481732" y="4455018"/>
            <a:ext cx="1237518"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GE Inspira Sans"/>
                <a:ea typeface="+mn-ea"/>
                <a:cs typeface="+mn-cs"/>
              </a:rPr>
              <a:t>SOFTWARE</a:t>
            </a:r>
          </a:p>
        </p:txBody>
      </p:sp>
      <p:pic>
        <p:nvPicPr>
          <p:cNvPr id="119" name="Picture 118" descr="A close up of a windmill&#10;&#10;Description automatically generated">
            <a:extLst>
              <a:ext uri="{FF2B5EF4-FFF2-40B4-BE49-F238E27FC236}">
                <a16:creationId xmlns:a16="http://schemas.microsoft.com/office/drawing/2014/main" id="{6945B5A0-5D07-42BC-86E2-CC53A0B5B5F4}"/>
              </a:ext>
            </a:extLst>
          </p:cNvPr>
          <p:cNvPicPr>
            <a:picLocks noChangeAspect="1"/>
          </p:cNvPicPr>
          <p:nvPr/>
        </p:nvPicPr>
        <p:blipFill rotWithShape="1">
          <a:blip r:embed="rId3" cstate="print">
            <a:duotone>
              <a:prstClr val="black"/>
              <a:srgbClr val="D9C3A5">
                <a:tint val="50000"/>
                <a:satMod val="180000"/>
              </a:srgbClr>
            </a:duotone>
            <a:extLst>
              <a:ext uri="{28A0092B-C50C-407E-A947-70E740481C1C}">
                <a14:useLocalDpi xmlns:a14="http://schemas.microsoft.com/office/drawing/2010/main" val="0"/>
              </a:ext>
            </a:extLst>
          </a:blip>
          <a:srcRect l="24632" t="25391" r="29409" b="7473"/>
          <a:stretch/>
        </p:blipFill>
        <p:spPr>
          <a:xfrm>
            <a:off x="491136" y="2274892"/>
            <a:ext cx="1209203" cy="1222871"/>
          </a:xfrm>
          <a:prstGeom prst="ellipse">
            <a:avLst/>
          </a:prstGeom>
          <a:effectLst>
            <a:outerShdw blurRad="63500" sx="101000" sy="101000" algn="ctr" rotWithShape="0">
              <a:prstClr val="black">
                <a:alpha val="15000"/>
              </a:prstClr>
            </a:outerShdw>
          </a:effectLst>
        </p:spPr>
      </p:pic>
      <p:pic>
        <p:nvPicPr>
          <p:cNvPr id="74" name="Picture 73" descr="A sunset over a grass field&#10;&#10;Description automatically generated">
            <a:extLst>
              <a:ext uri="{FF2B5EF4-FFF2-40B4-BE49-F238E27FC236}">
                <a16:creationId xmlns:a16="http://schemas.microsoft.com/office/drawing/2014/main" id="{EF55F0DC-6878-40CC-BE0B-4E7C3F5AC0A7}"/>
              </a:ext>
            </a:extLst>
          </p:cNvPr>
          <p:cNvPicPr>
            <a:picLocks noChangeAspect="1"/>
          </p:cNvPicPr>
          <p:nvPr/>
        </p:nvPicPr>
        <p:blipFill rotWithShape="1">
          <a:blip r:embed="rId4" cstate="screen">
            <a:duotone>
              <a:prstClr val="black"/>
              <a:srgbClr val="D9C3A5">
                <a:tint val="50000"/>
                <a:satMod val="180000"/>
              </a:srgbClr>
            </a:duotone>
            <a:extLst>
              <a:ext uri="{28A0092B-C50C-407E-A947-70E740481C1C}">
                <a14:useLocalDpi xmlns:a14="http://schemas.microsoft.com/office/drawing/2010/main"/>
              </a:ext>
            </a:extLst>
          </a:blip>
          <a:srcRect l="27754" t="43135" r="45455" b="16001"/>
          <a:stretch/>
        </p:blipFill>
        <p:spPr>
          <a:xfrm>
            <a:off x="4768275" y="2274891"/>
            <a:ext cx="1202563" cy="1222870"/>
          </a:xfrm>
          <a:prstGeom prst="ellipse">
            <a:avLst/>
          </a:prstGeom>
          <a:effectLst>
            <a:outerShdw blurRad="63500" sx="101000" sy="101000" algn="ctr" rotWithShape="0">
              <a:prstClr val="black">
                <a:alpha val="20000"/>
              </a:prstClr>
            </a:outerShdw>
          </a:effectLst>
        </p:spPr>
      </p:pic>
      <p:pic>
        <p:nvPicPr>
          <p:cNvPr id="75" name="Picture 74" descr="A picture containing indoor, building, sitting, table&#10;&#10;Description automatically generated">
            <a:extLst>
              <a:ext uri="{FF2B5EF4-FFF2-40B4-BE49-F238E27FC236}">
                <a16:creationId xmlns:a16="http://schemas.microsoft.com/office/drawing/2014/main" id="{803B8E15-A37E-46D9-8B03-48ED0F6D0BDC}"/>
              </a:ext>
            </a:extLst>
          </p:cNvPr>
          <p:cNvPicPr>
            <a:picLocks noChangeAspect="1"/>
          </p:cNvPicPr>
          <p:nvPr/>
        </p:nvPicPr>
        <p:blipFill rotWithShape="1">
          <a:blip r:embed="rId5" cstate="screen">
            <a:duotone>
              <a:prstClr val="black"/>
              <a:srgbClr val="D9C3A5">
                <a:tint val="50000"/>
                <a:satMod val="180000"/>
              </a:srgbClr>
            </a:duotone>
            <a:extLst>
              <a:ext uri="{28A0092B-C50C-407E-A947-70E740481C1C}">
                <a14:useLocalDpi xmlns:a14="http://schemas.microsoft.com/office/drawing/2010/main"/>
              </a:ext>
            </a:extLst>
          </a:blip>
          <a:srcRect l="5234" t="2984" r="5250" b="5988"/>
          <a:stretch/>
        </p:blipFill>
        <p:spPr>
          <a:xfrm>
            <a:off x="8899779" y="2274893"/>
            <a:ext cx="1202564" cy="1222869"/>
          </a:xfrm>
          <a:prstGeom prst="ellipse">
            <a:avLst/>
          </a:prstGeom>
          <a:effectLst>
            <a:outerShdw blurRad="63500" sx="101000" sy="101000" algn="ctr" rotWithShape="0">
              <a:prstClr val="black">
                <a:alpha val="15000"/>
              </a:prstClr>
            </a:outerShdw>
          </a:effectLst>
        </p:spPr>
      </p:pic>
      <p:grpSp>
        <p:nvGrpSpPr>
          <p:cNvPr id="11" name="Group 10">
            <a:extLst>
              <a:ext uri="{FF2B5EF4-FFF2-40B4-BE49-F238E27FC236}">
                <a16:creationId xmlns:a16="http://schemas.microsoft.com/office/drawing/2014/main" id="{03C71581-EABE-4D38-A15F-17FA42721F10}"/>
              </a:ext>
            </a:extLst>
          </p:cNvPr>
          <p:cNvGrpSpPr/>
          <p:nvPr/>
        </p:nvGrpSpPr>
        <p:grpSpPr>
          <a:xfrm>
            <a:off x="3300293" y="5280369"/>
            <a:ext cx="5591409" cy="646331"/>
            <a:chOff x="3307981" y="5620681"/>
            <a:chExt cx="5591409" cy="646331"/>
          </a:xfrm>
        </p:grpSpPr>
        <p:sp>
          <p:nvSpPr>
            <p:cNvPr id="6" name="Rectangle: Rounded Corners 5">
              <a:extLst>
                <a:ext uri="{FF2B5EF4-FFF2-40B4-BE49-F238E27FC236}">
                  <a16:creationId xmlns:a16="http://schemas.microsoft.com/office/drawing/2014/main" id="{BD9F0E8D-17FE-4314-99C2-92FAA930EAC7}"/>
                </a:ext>
              </a:extLst>
            </p:cNvPr>
            <p:cNvSpPr/>
            <p:nvPr/>
          </p:nvSpPr>
          <p:spPr>
            <a:xfrm>
              <a:off x="3307981" y="5620681"/>
              <a:ext cx="5591409" cy="646331"/>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 Inspira Sans"/>
                <a:ea typeface="+mn-ea"/>
                <a:cs typeface="+mn-cs"/>
              </a:endParaRPr>
            </a:p>
          </p:txBody>
        </p:sp>
        <p:sp>
          <p:nvSpPr>
            <p:cNvPr id="2" name="Rectangle 1">
              <a:extLst>
                <a:ext uri="{FF2B5EF4-FFF2-40B4-BE49-F238E27FC236}">
                  <a16:creationId xmlns:a16="http://schemas.microsoft.com/office/drawing/2014/main" id="{8930102E-6246-4800-B03B-CDC439BA25A0}"/>
                </a:ext>
              </a:extLst>
            </p:cNvPr>
            <p:cNvSpPr/>
            <p:nvPr/>
          </p:nvSpPr>
          <p:spPr>
            <a:xfrm>
              <a:off x="3558862" y="5666847"/>
              <a:ext cx="5089646" cy="5539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GE Inspira Sans"/>
                  <a:ea typeface="Calibri" panose="020F0502020204030204" pitchFamily="34" charset="0"/>
                  <a:cs typeface="+mn-cs"/>
                </a:rPr>
                <a:t>TAILORED POWER SYSTEMS AND ENERGY COURSE</a:t>
              </a:r>
              <a:br>
                <a:rPr kumimoji="0" lang="en-US" sz="1600" b="1" i="0" u="none" strike="noStrike" kern="1200" cap="none" spc="0" normalizeH="0" baseline="0" noProof="0" dirty="0">
                  <a:ln>
                    <a:noFill/>
                  </a:ln>
                  <a:solidFill>
                    <a:srgbClr val="FFFFFF"/>
                  </a:solidFill>
                  <a:effectLst/>
                  <a:uLnTx/>
                  <a:uFillTx/>
                  <a:latin typeface="GE Inspira Sans"/>
                  <a:ea typeface="Calibri" panose="020F0502020204030204" pitchFamily="34" charset="0"/>
                  <a:cs typeface="+mn-cs"/>
                </a:rPr>
              </a:br>
              <a:r>
                <a:rPr kumimoji="0" lang="en-US" sz="1400" b="0" i="0" u="none" strike="noStrike" kern="1200" cap="none" spc="0" normalizeH="0" baseline="0" noProof="0" dirty="0">
                  <a:ln>
                    <a:noFill/>
                  </a:ln>
                  <a:solidFill>
                    <a:srgbClr val="FFFFFF"/>
                  </a:solidFill>
                  <a:effectLst/>
                  <a:uLnTx/>
                  <a:uFillTx/>
                  <a:latin typeface="GE Inspira Sans"/>
                  <a:ea typeface="Calibri" panose="020F0502020204030204" pitchFamily="34" charset="0"/>
                  <a:cs typeface="+mn-cs"/>
                </a:rPr>
                <a:t>Longest  running energy  executive  development  program </a:t>
              </a:r>
              <a:endParaRPr kumimoji="0" lang="en-US" sz="1800" b="0" i="0" u="none" strike="noStrike" kern="1200" cap="none" spc="0" normalizeH="0" baseline="0" noProof="0" dirty="0">
                <a:ln>
                  <a:noFill/>
                </a:ln>
                <a:solidFill>
                  <a:srgbClr val="FFFFFF"/>
                </a:solidFill>
                <a:effectLst/>
                <a:uLnTx/>
                <a:uFillTx/>
                <a:latin typeface="GE Inspira Sans"/>
                <a:ea typeface="+mn-ea"/>
                <a:cs typeface="+mn-cs"/>
              </a:endParaRPr>
            </a:p>
          </p:txBody>
        </p:sp>
      </p:grpSp>
      <p:sp>
        <p:nvSpPr>
          <p:cNvPr id="5" name="Footer Placeholder 4">
            <a:extLst>
              <a:ext uri="{FF2B5EF4-FFF2-40B4-BE49-F238E27FC236}">
                <a16:creationId xmlns:a16="http://schemas.microsoft.com/office/drawing/2014/main" id="{535751F2-523C-485D-A46C-E60509B65001}"/>
              </a:ext>
            </a:extLst>
          </p:cNvPr>
          <p:cNvSpPr>
            <a:spLocks noGrp="1"/>
          </p:cNvSpPr>
          <p:nvPr>
            <p:ph type="ftr" sz="quarter" idx="10"/>
          </p:nvPr>
        </p:nvSpPr>
        <p:spPr>
          <a:xfrm>
            <a:off x="985525" y="6352138"/>
            <a:ext cx="3983325" cy="365125"/>
          </a:xfrm>
          <a:prstGeom prst="rect">
            <a:avLst/>
          </a:prstGeom>
        </p:spPr>
        <p:txBody>
          <a:bodyPr vert="horz" lIns="0" tIns="0" rIns="0" bIns="0" rtlCol="0" anchor="ctr"/>
          <a:lstStyle>
            <a:defPPr>
              <a:defRPr lang="en-US"/>
            </a:defPPr>
            <a:lvl1pPr marL="0" algn="l" defTabSz="914400" rtl="0" eaLnBrk="1" latinLnBrk="0" hangingPunct="1">
              <a:defRPr sz="850" b="1" kern="1200" cap="none" spc="150" baseline="0">
                <a:solidFill>
                  <a:schemeClr val="bg2"/>
                </a:solidFill>
                <a:latin typeface="GE Inspira Sans" panose="020B05030600000000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9388" marR="0" lvl="0" indent="-179388" algn="l" defTabSz="914400" rtl="0" eaLnBrk="1" fontAlgn="auto" latinLnBrk="0" hangingPunct="1">
              <a:lnSpc>
                <a:spcPct val="100000"/>
              </a:lnSpc>
              <a:spcBef>
                <a:spcPts val="0"/>
              </a:spcBef>
              <a:spcAft>
                <a:spcPts val="0"/>
              </a:spcAft>
              <a:buClrTx/>
              <a:buSzTx/>
              <a:buFontTx/>
              <a:buNone/>
              <a:tabLst/>
              <a:defRPr/>
            </a:pPr>
            <a:r>
              <a:rPr lang="en-US" dirty="0"/>
              <a:t>Turning Knowledge Into Power</a:t>
            </a:r>
            <a:endParaRPr kumimoji="0" lang="en-US" sz="850" b="1" i="0" u="none" strike="noStrike" kern="1200" cap="none" spc="150" normalizeH="0" baseline="0" noProof="0" dirty="0">
              <a:ln>
                <a:noFill/>
              </a:ln>
              <a:solidFill>
                <a:srgbClr val="FFFFFF"/>
              </a:solidFill>
              <a:effectLst/>
              <a:uLnTx/>
              <a:uFillTx/>
              <a:latin typeface="GE Inspira Sans" panose="020B0503060000000003" pitchFamily="34" charset="77"/>
              <a:ea typeface="+mn-ea"/>
              <a:cs typeface="+mn-cs"/>
            </a:endParaRPr>
          </a:p>
        </p:txBody>
      </p:sp>
      <p:sp>
        <p:nvSpPr>
          <p:cNvPr id="76" name="TextBox 21">
            <a:extLst>
              <a:ext uri="{FF2B5EF4-FFF2-40B4-BE49-F238E27FC236}">
                <a16:creationId xmlns:a16="http://schemas.microsoft.com/office/drawing/2014/main" id="{F2E01C60-41CA-4E24-A0E2-5AEF53312C8B}"/>
              </a:ext>
            </a:extLst>
          </p:cNvPr>
          <p:cNvSpPr txBox="1"/>
          <p:nvPr/>
        </p:nvSpPr>
        <p:spPr>
          <a:xfrm>
            <a:off x="3292676" y="6439509"/>
            <a:ext cx="5765074" cy="24783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GE Inspira Sans"/>
                <a:ea typeface="+mn-ea"/>
                <a:cs typeface="+mn-cs"/>
              </a:rPr>
              <a:t>© 2021 General Electric Company. </a:t>
            </a:r>
          </a:p>
        </p:txBody>
      </p:sp>
      <p:sp>
        <p:nvSpPr>
          <p:cNvPr id="77" name="Freeform 5">
            <a:extLst>
              <a:ext uri="{FF2B5EF4-FFF2-40B4-BE49-F238E27FC236}">
                <a16:creationId xmlns:a16="http://schemas.microsoft.com/office/drawing/2014/main" id="{2118CC72-0295-4740-A20A-4CFAA60DDD72}"/>
              </a:ext>
            </a:extLst>
          </p:cNvPr>
          <p:cNvSpPr>
            <a:spLocks noChangeAspect="1" noEditPoints="1"/>
          </p:cNvSpPr>
          <p:nvPr/>
        </p:nvSpPr>
        <p:spPr bwMode="auto">
          <a:xfrm>
            <a:off x="326571" y="6333215"/>
            <a:ext cx="387448" cy="384048"/>
          </a:xfrm>
          <a:custGeom>
            <a:avLst/>
            <a:gdLst>
              <a:gd name="T0" fmla="*/ 3869 w 5760"/>
              <a:gd name="T1" fmla="*/ 1545 h 5760"/>
              <a:gd name="T2" fmla="*/ 2018 w 5760"/>
              <a:gd name="T3" fmla="*/ 2250 h 5760"/>
              <a:gd name="T4" fmla="*/ 2018 w 5760"/>
              <a:gd name="T5" fmla="*/ 2250 h 5760"/>
              <a:gd name="T6" fmla="*/ 1556 w 5760"/>
              <a:gd name="T7" fmla="*/ 3934 h 5760"/>
              <a:gd name="T8" fmla="*/ 1755 w 5760"/>
              <a:gd name="T9" fmla="*/ 4133 h 5760"/>
              <a:gd name="T10" fmla="*/ 3470 w 5760"/>
              <a:gd name="T11" fmla="*/ 3455 h 5760"/>
              <a:gd name="T12" fmla="*/ 3861 w 5760"/>
              <a:gd name="T13" fmla="*/ 3710 h 5760"/>
              <a:gd name="T14" fmla="*/ 3933 w 5760"/>
              <a:gd name="T15" fmla="*/ 3255 h 5760"/>
              <a:gd name="T16" fmla="*/ 3734 w 5760"/>
              <a:gd name="T17" fmla="*/ 4133 h 5760"/>
              <a:gd name="T18" fmla="*/ 3694 w 5760"/>
              <a:gd name="T19" fmla="*/ 2712 h 5760"/>
              <a:gd name="T20" fmla="*/ 3905 w 5760"/>
              <a:gd name="T21" fmla="*/ 2466 h 5760"/>
              <a:gd name="T22" fmla="*/ 3574 w 5760"/>
              <a:gd name="T23" fmla="*/ 2354 h 5760"/>
              <a:gd name="T24" fmla="*/ 3853 w 5760"/>
              <a:gd name="T25" fmla="*/ 1324 h 5760"/>
              <a:gd name="T26" fmla="*/ 3295 w 5760"/>
              <a:gd name="T27" fmla="*/ 2298 h 5760"/>
              <a:gd name="T28" fmla="*/ 2685 w 5760"/>
              <a:gd name="T29" fmla="*/ 2469 h 5760"/>
              <a:gd name="T30" fmla="*/ 2816 w 5760"/>
              <a:gd name="T31" fmla="*/ 1987 h 5760"/>
              <a:gd name="T32" fmla="*/ 2170 w 5760"/>
              <a:gd name="T33" fmla="*/ 2593 h 5760"/>
              <a:gd name="T34" fmla="*/ 2712 w 5760"/>
              <a:gd name="T35" fmla="*/ 1580 h 5760"/>
              <a:gd name="T36" fmla="*/ 1779 w 5760"/>
              <a:gd name="T37" fmla="*/ 2274 h 5760"/>
              <a:gd name="T38" fmla="*/ 1643 w 5760"/>
              <a:gd name="T39" fmla="*/ 1795 h 5760"/>
              <a:gd name="T40" fmla="*/ 1388 w 5760"/>
              <a:gd name="T41" fmla="*/ 2066 h 5760"/>
              <a:gd name="T42" fmla="*/ 2122 w 5760"/>
              <a:gd name="T43" fmla="*/ 2792 h 5760"/>
              <a:gd name="T44" fmla="*/ 2417 w 5760"/>
              <a:gd name="T45" fmla="*/ 2832 h 5760"/>
              <a:gd name="T46" fmla="*/ 1292 w 5760"/>
              <a:gd name="T47" fmla="*/ 3917 h 5760"/>
              <a:gd name="T48" fmla="*/ 2537 w 5760"/>
              <a:gd name="T49" fmla="*/ 3678 h 5760"/>
              <a:gd name="T50" fmla="*/ 3374 w 5760"/>
              <a:gd name="T51" fmla="*/ 2489 h 5760"/>
              <a:gd name="T52" fmla="*/ 2888 w 5760"/>
              <a:gd name="T53" fmla="*/ 3502 h 5760"/>
              <a:gd name="T54" fmla="*/ 4484 w 5760"/>
              <a:gd name="T55" fmla="*/ 3646 h 5760"/>
              <a:gd name="T56" fmla="*/ 5321 w 5760"/>
              <a:gd name="T57" fmla="*/ 3701 h 5760"/>
              <a:gd name="T58" fmla="*/ 5297 w 5760"/>
              <a:gd name="T59" fmla="*/ 3694 h 5760"/>
              <a:gd name="T60" fmla="*/ 5066 w 5760"/>
              <a:gd name="T61" fmla="*/ 2513 h 5760"/>
              <a:gd name="T62" fmla="*/ 5138 w 5760"/>
              <a:gd name="T63" fmla="*/ 3415 h 5760"/>
              <a:gd name="T64" fmla="*/ 2880 w 5760"/>
              <a:gd name="T65" fmla="*/ 5449 h 5760"/>
              <a:gd name="T66" fmla="*/ 2063 w 5760"/>
              <a:gd name="T67" fmla="*/ 5306 h 5760"/>
              <a:gd name="T68" fmla="*/ 2689 w 5760"/>
              <a:gd name="T69" fmla="*/ 5393 h 5760"/>
              <a:gd name="T70" fmla="*/ 3047 w 5760"/>
              <a:gd name="T71" fmla="*/ 4875 h 5760"/>
              <a:gd name="T72" fmla="*/ 1771 w 5760"/>
              <a:gd name="T73" fmla="*/ 5042 h 5760"/>
              <a:gd name="T74" fmla="*/ 440 w 5760"/>
              <a:gd name="T75" fmla="*/ 2067 h 5760"/>
              <a:gd name="T76" fmla="*/ 462 w 5760"/>
              <a:gd name="T77" fmla="*/ 2075 h 5760"/>
              <a:gd name="T78" fmla="*/ 694 w 5760"/>
              <a:gd name="T79" fmla="*/ 3247 h 5760"/>
              <a:gd name="T80" fmla="*/ 622 w 5760"/>
              <a:gd name="T81" fmla="*/ 2354 h 5760"/>
              <a:gd name="T82" fmla="*/ 2880 w 5760"/>
              <a:gd name="T83" fmla="*/ 311 h 5760"/>
              <a:gd name="T84" fmla="*/ 3696 w 5760"/>
              <a:gd name="T85" fmla="*/ 461 h 5760"/>
              <a:gd name="T86" fmla="*/ 3071 w 5760"/>
              <a:gd name="T87" fmla="*/ 367 h 5760"/>
              <a:gd name="T88" fmla="*/ 2712 w 5760"/>
              <a:gd name="T89" fmla="*/ 885 h 5760"/>
              <a:gd name="T90" fmla="*/ 3989 w 5760"/>
              <a:gd name="T91" fmla="*/ 726 h 5760"/>
              <a:gd name="T92" fmla="*/ 5321 w 5760"/>
              <a:gd name="T93" fmla="*/ 3701 h 5760"/>
              <a:gd name="T94" fmla="*/ 135 w 5760"/>
              <a:gd name="T95" fmla="*/ 2880 h 5760"/>
              <a:gd name="T96" fmla="*/ 5624 w 5760"/>
              <a:gd name="T97" fmla="*/ 2880 h 5760"/>
              <a:gd name="T98" fmla="*/ 2880 w 5760"/>
              <a:gd name="T99" fmla="*/ 5760 h 5760"/>
              <a:gd name="T100" fmla="*/ 2880 w 5760"/>
              <a:gd name="T101" fmla="*/ 0 h 5760"/>
              <a:gd name="T102" fmla="*/ 2880 w 5760"/>
              <a:gd name="T103" fmla="*/ 576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5760">
                <a:moveTo>
                  <a:pt x="3526" y="2130"/>
                </a:moveTo>
                <a:cubicBezTo>
                  <a:pt x="3526" y="1803"/>
                  <a:pt x="3748" y="1485"/>
                  <a:pt x="3869" y="1545"/>
                </a:cubicBezTo>
                <a:cubicBezTo>
                  <a:pt x="4006" y="1614"/>
                  <a:pt x="3766" y="1923"/>
                  <a:pt x="3526" y="2130"/>
                </a:cubicBezTo>
                <a:moveTo>
                  <a:pt x="2018" y="2250"/>
                </a:moveTo>
                <a:cubicBezTo>
                  <a:pt x="2018" y="1987"/>
                  <a:pt x="2278" y="1486"/>
                  <a:pt x="2437" y="1539"/>
                </a:cubicBezTo>
                <a:cubicBezTo>
                  <a:pt x="2625" y="1601"/>
                  <a:pt x="2282" y="2106"/>
                  <a:pt x="2018" y="2250"/>
                </a:cubicBezTo>
                <a:close/>
                <a:moveTo>
                  <a:pt x="1755" y="4133"/>
                </a:moveTo>
                <a:cubicBezTo>
                  <a:pt x="1635" y="4138"/>
                  <a:pt x="1556" y="4062"/>
                  <a:pt x="1556" y="3934"/>
                </a:cubicBezTo>
                <a:cubicBezTo>
                  <a:pt x="1556" y="3591"/>
                  <a:pt x="2031" y="3264"/>
                  <a:pt x="2390" y="3088"/>
                </a:cubicBezTo>
                <a:cubicBezTo>
                  <a:pt x="2327" y="3567"/>
                  <a:pt x="2165" y="4114"/>
                  <a:pt x="1755" y="4133"/>
                </a:cubicBezTo>
                <a:close/>
                <a:moveTo>
                  <a:pt x="3949" y="3016"/>
                </a:moveTo>
                <a:cubicBezTo>
                  <a:pt x="3678" y="3016"/>
                  <a:pt x="3470" y="3215"/>
                  <a:pt x="3470" y="3455"/>
                </a:cubicBezTo>
                <a:cubicBezTo>
                  <a:pt x="3470" y="3654"/>
                  <a:pt x="3590" y="3813"/>
                  <a:pt x="3750" y="3813"/>
                </a:cubicBezTo>
                <a:cubicBezTo>
                  <a:pt x="3806" y="3813"/>
                  <a:pt x="3861" y="3782"/>
                  <a:pt x="3861" y="3710"/>
                </a:cubicBezTo>
                <a:cubicBezTo>
                  <a:pt x="3861" y="3606"/>
                  <a:pt x="3724" y="3581"/>
                  <a:pt x="3734" y="3426"/>
                </a:cubicBezTo>
                <a:cubicBezTo>
                  <a:pt x="3741" y="3323"/>
                  <a:pt x="3837" y="3255"/>
                  <a:pt x="3933" y="3255"/>
                </a:cubicBezTo>
                <a:cubicBezTo>
                  <a:pt x="4124" y="3255"/>
                  <a:pt x="4214" y="3440"/>
                  <a:pt x="4214" y="3632"/>
                </a:cubicBezTo>
                <a:cubicBezTo>
                  <a:pt x="4206" y="3927"/>
                  <a:pt x="3989" y="4133"/>
                  <a:pt x="3734" y="4133"/>
                </a:cubicBezTo>
                <a:cubicBezTo>
                  <a:pt x="3398" y="4133"/>
                  <a:pt x="3183" y="3813"/>
                  <a:pt x="3183" y="3470"/>
                </a:cubicBezTo>
                <a:cubicBezTo>
                  <a:pt x="3183" y="2960"/>
                  <a:pt x="3518" y="2760"/>
                  <a:pt x="3694" y="2712"/>
                </a:cubicBezTo>
                <a:cubicBezTo>
                  <a:pt x="3696" y="2712"/>
                  <a:pt x="4153" y="2794"/>
                  <a:pt x="4138" y="2592"/>
                </a:cubicBezTo>
                <a:cubicBezTo>
                  <a:pt x="4132" y="2504"/>
                  <a:pt x="4000" y="2470"/>
                  <a:pt x="3905" y="2466"/>
                </a:cubicBezTo>
                <a:cubicBezTo>
                  <a:pt x="3799" y="2462"/>
                  <a:pt x="3692" y="2500"/>
                  <a:pt x="3692" y="2500"/>
                </a:cubicBezTo>
                <a:cubicBezTo>
                  <a:pt x="3636" y="2472"/>
                  <a:pt x="3598" y="2417"/>
                  <a:pt x="3574" y="2354"/>
                </a:cubicBezTo>
                <a:cubicBezTo>
                  <a:pt x="3901" y="2106"/>
                  <a:pt x="4133" y="1867"/>
                  <a:pt x="4133" y="1596"/>
                </a:cubicBezTo>
                <a:cubicBezTo>
                  <a:pt x="4133" y="1452"/>
                  <a:pt x="4037" y="1324"/>
                  <a:pt x="3853" y="1324"/>
                </a:cubicBezTo>
                <a:cubicBezTo>
                  <a:pt x="3526" y="1324"/>
                  <a:pt x="3279" y="1739"/>
                  <a:pt x="3279" y="2114"/>
                </a:cubicBezTo>
                <a:cubicBezTo>
                  <a:pt x="3279" y="2178"/>
                  <a:pt x="3279" y="2242"/>
                  <a:pt x="3295" y="2298"/>
                </a:cubicBezTo>
                <a:cubicBezTo>
                  <a:pt x="3087" y="2449"/>
                  <a:pt x="2933" y="2543"/>
                  <a:pt x="2654" y="2711"/>
                </a:cubicBezTo>
                <a:cubicBezTo>
                  <a:pt x="2654" y="2676"/>
                  <a:pt x="2661" y="2586"/>
                  <a:pt x="2685" y="2469"/>
                </a:cubicBezTo>
                <a:cubicBezTo>
                  <a:pt x="2780" y="2365"/>
                  <a:pt x="2912" y="2210"/>
                  <a:pt x="2912" y="2090"/>
                </a:cubicBezTo>
                <a:cubicBezTo>
                  <a:pt x="2912" y="2034"/>
                  <a:pt x="2880" y="1987"/>
                  <a:pt x="2816" y="1987"/>
                </a:cubicBezTo>
                <a:cubicBezTo>
                  <a:pt x="2657" y="1987"/>
                  <a:pt x="2537" y="2226"/>
                  <a:pt x="2505" y="2393"/>
                </a:cubicBezTo>
                <a:cubicBezTo>
                  <a:pt x="2433" y="2481"/>
                  <a:pt x="2290" y="2593"/>
                  <a:pt x="2170" y="2593"/>
                </a:cubicBezTo>
                <a:cubicBezTo>
                  <a:pt x="2074" y="2593"/>
                  <a:pt x="2042" y="2505"/>
                  <a:pt x="2034" y="2473"/>
                </a:cubicBezTo>
                <a:cubicBezTo>
                  <a:pt x="2338" y="2369"/>
                  <a:pt x="2712" y="1955"/>
                  <a:pt x="2712" y="1580"/>
                </a:cubicBezTo>
                <a:cubicBezTo>
                  <a:pt x="2712" y="1500"/>
                  <a:pt x="2681" y="1324"/>
                  <a:pt x="2441" y="1324"/>
                </a:cubicBezTo>
                <a:cubicBezTo>
                  <a:pt x="2082" y="1324"/>
                  <a:pt x="1779" y="1859"/>
                  <a:pt x="1779" y="2274"/>
                </a:cubicBezTo>
                <a:cubicBezTo>
                  <a:pt x="1651" y="2274"/>
                  <a:pt x="1604" y="2138"/>
                  <a:pt x="1604" y="2034"/>
                </a:cubicBezTo>
                <a:cubicBezTo>
                  <a:pt x="1604" y="1931"/>
                  <a:pt x="1643" y="1827"/>
                  <a:pt x="1643" y="1795"/>
                </a:cubicBezTo>
                <a:cubicBezTo>
                  <a:pt x="1643" y="1763"/>
                  <a:pt x="1627" y="1723"/>
                  <a:pt x="1580" y="1723"/>
                </a:cubicBezTo>
                <a:cubicBezTo>
                  <a:pt x="1460" y="1723"/>
                  <a:pt x="1388" y="1883"/>
                  <a:pt x="1388" y="2066"/>
                </a:cubicBezTo>
                <a:cubicBezTo>
                  <a:pt x="1396" y="2322"/>
                  <a:pt x="1564" y="2481"/>
                  <a:pt x="1787" y="2497"/>
                </a:cubicBezTo>
                <a:cubicBezTo>
                  <a:pt x="1819" y="2649"/>
                  <a:pt x="1955" y="2792"/>
                  <a:pt x="2122" y="2792"/>
                </a:cubicBezTo>
                <a:cubicBezTo>
                  <a:pt x="2226" y="2792"/>
                  <a:pt x="2353" y="2760"/>
                  <a:pt x="2441" y="2681"/>
                </a:cubicBezTo>
                <a:cubicBezTo>
                  <a:pt x="2433" y="2737"/>
                  <a:pt x="2425" y="2784"/>
                  <a:pt x="2417" y="2832"/>
                </a:cubicBezTo>
                <a:cubicBezTo>
                  <a:pt x="2066" y="3016"/>
                  <a:pt x="1811" y="3143"/>
                  <a:pt x="1580" y="3351"/>
                </a:cubicBezTo>
                <a:cubicBezTo>
                  <a:pt x="1396" y="3518"/>
                  <a:pt x="1292" y="3742"/>
                  <a:pt x="1292" y="3917"/>
                </a:cubicBezTo>
                <a:cubicBezTo>
                  <a:pt x="1292" y="4157"/>
                  <a:pt x="1444" y="4380"/>
                  <a:pt x="1755" y="4380"/>
                </a:cubicBezTo>
                <a:cubicBezTo>
                  <a:pt x="2122" y="4380"/>
                  <a:pt x="2401" y="4085"/>
                  <a:pt x="2537" y="3678"/>
                </a:cubicBezTo>
                <a:cubicBezTo>
                  <a:pt x="2601" y="3486"/>
                  <a:pt x="2626" y="3208"/>
                  <a:pt x="2642" y="2952"/>
                </a:cubicBezTo>
                <a:cubicBezTo>
                  <a:pt x="3009" y="2745"/>
                  <a:pt x="3183" y="2625"/>
                  <a:pt x="3374" y="2489"/>
                </a:cubicBezTo>
                <a:cubicBezTo>
                  <a:pt x="3398" y="2529"/>
                  <a:pt x="3423" y="2561"/>
                  <a:pt x="3454" y="2585"/>
                </a:cubicBezTo>
                <a:cubicBezTo>
                  <a:pt x="3287" y="2673"/>
                  <a:pt x="2888" y="2920"/>
                  <a:pt x="2888" y="3502"/>
                </a:cubicBezTo>
                <a:cubicBezTo>
                  <a:pt x="2888" y="3917"/>
                  <a:pt x="3167" y="4380"/>
                  <a:pt x="3718" y="4380"/>
                </a:cubicBezTo>
                <a:cubicBezTo>
                  <a:pt x="4172" y="4380"/>
                  <a:pt x="4484" y="4005"/>
                  <a:pt x="4484" y="3646"/>
                </a:cubicBezTo>
                <a:cubicBezTo>
                  <a:pt x="4484" y="3319"/>
                  <a:pt x="4300" y="3016"/>
                  <a:pt x="3949" y="3016"/>
                </a:cubicBezTo>
                <a:close/>
                <a:moveTo>
                  <a:pt x="5321" y="3701"/>
                </a:moveTo>
                <a:cubicBezTo>
                  <a:pt x="5319" y="3703"/>
                  <a:pt x="5315" y="3707"/>
                  <a:pt x="5306" y="3704"/>
                </a:cubicBezTo>
                <a:cubicBezTo>
                  <a:pt x="5299" y="3702"/>
                  <a:pt x="5297" y="3698"/>
                  <a:pt x="5297" y="3694"/>
                </a:cubicBezTo>
                <a:cubicBezTo>
                  <a:pt x="5298" y="3689"/>
                  <a:pt x="5394" y="3405"/>
                  <a:pt x="5393" y="3080"/>
                </a:cubicBezTo>
                <a:cubicBezTo>
                  <a:pt x="5392" y="2728"/>
                  <a:pt x="5249" y="2513"/>
                  <a:pt x="5066" y="2513"/>
                </a:cubicBezTo>
                <a:cubicBezTo>
                  <a:pt x="4954" y="2513"/>
                  <a:pt x="4874" y="2593"/>
                  <a:pt x="4874" y="2712"/>
                </a:cubicBezTo>
                <a:cubicBezTo>
                  <a:pt x="4874" y="2928"/>
                  <a:pt x="5138" y="2944"/>
                  <a:pt x="5138" y="3415"/>
                </a:cubicBezTo>
                <a:cubicBezTo>
                  <a:pt x="5138" y="3606"/>
                  <a:pt x="5098" y="3789"/>
                  <a:pt x="5034" y="3989"/>
                </a:cubicBezTo>
                <a:cubicBezTo>
                  <a:pt x="4739" y="4986"/>
                  <a:pt x="3797" y="5449"/>
                  <a:pt x="2880" y="5449"/>
                </a:cubicBezTo>
                <a:cubicBezTo>
                  <a:pt x="2457" y="5449"/>
                  <a:pt x="2157" y="5362"/>
                  <a:pt x="2067" y="5322"/>
                </a:cubicBezTo>
                <a:cubicBezTo>
                  <a:pt x="2063" y="5320"/>
                  <a:pt x="2061" y="5313"/>
                  <a:pt x="2063" y="5306"/>
                </a:cubicBezTo>
                <a:cubicBezTo>
                  <a:pt x="2065" y="5300"/>
                  <a:pt x="2072" y="5296"/>
                  <a:pt x="2075" y="5298"/>
                </a:cubicBezTo>
                <a:cubicBezTo>
                  <a:pt x="2111" y="5312"/>
                  <a:pt x="2369" y="5393"/>
                  <a:pt x="2689" y="5393"/>
                </a:cubicBezTo>
                <a:cubicBezTo>
                  <a:pt x="3040" y="5393"/>
                  <a:pt x="3247" y="5250"/>
                  <a:pt x="3247" y="5074"/>
                </a:cubicBezTo>
                <a:cubicBezTo>
                  <a:pt x="3247" y="4962"/>
                  <a:pt x="3159" y="4875"/>
                  <a:pt x="3047" y="4875"/>
                </a:cubicBezTo>
                <a:cubicBezTo>
                  <a:pt x="2832" y="4875"/>
                  <a:pt x="2816" y="5146"/>
                  <a:pt x="2353" y="5146"/>
                </a:cubicBezTo>
                <a:cubicBezTo>
                  <a:pt x="2154" y="5146"/>
                  <a:pt x="1979" y="5106"/>
                  <a:pt x="1771" y="5042"/>
                </a:cubicBezTo>
                <a:cubicBezTo>
                  <a:pt x="782" y="4739"/>
                  <a:pt x="310" y="3805"/>
                  <a:pt x="311" y="2880"/>
                </a:cubicBezTo>
                <a:cubicBezTo>
                  <a:pt x="311" y="2429"/>
                  <a:pt x="438" y="2070"/>
                  <a:pt x="440" y="2067"/>
                </a:cubicBezTo>
                <a:cubicBezTo>
                  <a:pt x="441" y="2065"/>
                  <a:pt x="447" y="2062"/>
                  <a:pt x="454" y="2065"/>
                </a:cubicBezTo>
                <a:cubicBezTo>
                  <a:pt x="461" y="2067"/>
                  <a:pt x="463" y="2073"/>
                  <a:pt x="462" y="2075"/>
                </a:cubicBezTo>
                <a:cubicBezTo>
                  <a:pt x="451" y="2112"/>
                  <a:pt x="367" y="2370"/>
                  <a:pt x="367" y="2688"/>
                </a:cubicBezTo>
                <a:cubicBezTo>
                  <a:pt x="367" y="3040"/>
                  <a:pt x="511" y="3247"/>
                  <a:pt x="694" y="3247"/>
                </a:cubicBezTo>
                <a:cubicBezTo>
                  <a:pt x="798" y="3247"/>
                  <a:pt x="885" y="3167"/>
                  <a:pt x="885" y="3056"/>
                </a:cubicBezTo>
                <a:cubicBezTo>
                  <a:pt x="885" y="2840"/>
                  <a:pt x="622" y="2816"/>
                  <a:pt x="622" y="2354"/>
                </a:cubicBezTo>
                <a:cubicBezTo>
                  <a:pt x="622" y="2154"/>
                  <a:pt x="662" y="1978"/>
                  <a:pt x="726" y="1771"/>
                </a:cubicBezTo>
                <a:cubicBezTo>
                  <a:pt x="1029" y="782"/>
                  <a:pt x="1963" y="318"/>
                  <a:pt x="2880" y="311"/>
                </a:cubicBezTo>
                <a:cubicBezTo>
                  <a:pt x="3306" y="308"/>
                  <a:pt x="3680" y="435"/>
                  <a:pt x="3694" y="447"/>
                </a:cubicBezTo>
                <a:cubicBezTo>
                  <a:pt x="3696" y="449"/>
                  <a:pt x="3699" y="455"/>
                  <a:pt x="3696" y="461"/>
                </a:cubicBezTo>
                <a:cubicBezTo>
                  <a:pt x="3693" y="468"/>
                  <a:pt x="3688" y="469"/>
                  <a:pt x="3686" y="469"/>
                </a:cubicBezTo>
                <a:cubicBezTo>
                  <a:pt x="3681" y="468"/>
                  <a:pt x="3439" y="367"/>
                  <a:pt x="3071" y="367"/>
                </a:cubicBezTo>
                <a:cubicBezTo>
                  <a:pt x="2728" y="367"/>
                  <a:pt x="2513" y="510"/>
                  <a:pt x="2513" y="694"/>
                </a:cubicBezTo>
                <a:cubicBezTo>
                  <a:pt x="2513" y="798"/>
                  <a:pt x="2593" y="885"/>
                  <a:pt x="2712" y="885"/>
                </a:cubicBezTo>
                <a:cubicBezTo>
                  <a:pt x="2928" y="885"/>
                  <a:pt x="2944" y="622"/>
                  <a:pt x="3406" y="622"/>
                </a:cubicBezTo>
                <a:cubicBezTo>
                  <a:pt x="3606" y="622"/>
                  <a:pt x="3781" y="662"/>
                  <a:pt x="3989" y="726"/>
                </a:cubicBezTo>
                <a:cubicBezTo>
                  <a:pt x="4986" y="1029"/>
                  <a:pt x="5440" y="1971"/>
                  <a:pt x="5449" y="2880"/>
                </a:cubicBezTo>
                <a:cubicBezTo>
                  <a:pt x="5453" y="3346"/>
                  <a:pt x="5322" y="3699"/>
                  <a:pt x="5321" y="3701"/>
                </a:cubicBezTo>
                <a:close/>
                <a:moveTo>
                  <a:pt x="2880" y="136"/>
                </a:moveTo>
                <a:cubicBezTo>
                  <a:pt x="1364" y="136"/>
                  <a:pt x="135" y="1364"/>
                  <a:pt x="135" y="2880"/>
                </a:cubicBezTo>
                <a:cubicBezTo>
                  <a:pt x="135" y="4396"/>
                  <a:pt x="1364" y="5624"/>
                  <a:pt x="2880" y="5624"/>
                </a:cubicBezTo>
                <a:cubicBezTo>
                  <a:pt x="4396" y="5624"/>
                  <a:pt x="5624" y="4396"/>
                  <a:pt x="5624" y="2880"/>
                </a:cubicBezTo>
                <a:cubicBezTo>
                  <a:pt x="5624" y="1372"/>
                  <a:pt x="4396" y="136"/>
                  <a:pt x="2880" y="136"/>
                </a:cubicBezTo>
                <a:close/>
                <a:moveTo>
                  <a:pt x="2880" y="5760"/>
                </a:moveTo>
                <a:cubicBezTo>
                  <a:pt x="1292" y="5760"/>
                  <a:pt x="0" y="4476"/>
                  <a:pt x="0" y="2880"/>
                </a:cubicBezTo>
                <a:cubicBezTo>
                  <a:pt x="0" y="1292"/>
                  <a:pt x="1292" y="0"/>
                  <a:pt x="2880" y="0"/>
                </a:cubicBezTo>
                <a:cubicBezTo>
                  <a:pt x="4467" y="0"/>
                  <a:pt x="5760" y="1292"/>
                  <a:pt x="5760" y="2880"/>
                </a:cubicBezTo>
                <a:cubicBezTo>
                  <a:pt x="5760" y="4476"/>
                  <a:pt x="4467" y="5760"/>
                  <a:pt x="2880" y="576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3666A"/>
              </a:solidFill>
              <a:effectLst/>
              <a:uLnTx/>
              <a:uFillTx/>
              <a:latin typeface="GE Inspira Sans"/>
              <a:ea typeface="+mn-ea"/>
              <a:cs typeface="+mn-cs"/>
            </a:endParaRPr>
          </a:p>
        </p:txBody>
      </p:sp>
    </p:spTree>
    <p:extLst>
      <p:ext uri="{BB962C8B-B14F-4D97-AF65-F5344CB8AC3E}">
        <p14:creationId xmlns:p14="http://schemas.microsoft.com/office/powerpoint/2010/main" val="13746576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Energy Storage use case primer</a:t>
            </a:r>
            <a:endParaRPr lang="en-US" dirty="0"/>
          </a:p>
        </p:txBody>
      </p:sp>
      <p:sp>
        <p:nvSpPr>
          <p:cNvPr id="3" name="Date Placeholder 2"/>
          <p:cNvSpPr>
            <a:spLocks noGrp="1"/>
          </p:cNvSpPr>
          <p:nvPr>
            <p:ph type="dt" sz="half" idx="4294967295"/>
          </p:nvPr>
        </p:nvSpPr>
        <p:spPr>
          <a:xfrm>
            <a:off x="9537192" y="6472936"/>
            <a:ext cx="1876388" cy="18288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6516F6-A097-4E38-8A59-185C4D2E3785}" type="datetime4">
              <a:rPr kumimoji="0" lang="en-US" sz="1200" b="0" i="0" u="none" strike="noStrike" kern="1200" cap="none" spc="0" normalizeH="0" baseline="0" noProof="0" smtClean="0">
                <a:ln>
                  <a:noFill/>
                </a:ln>
                <a:solidFill>
                  <a:prstClr val="white"/>
                </a:solidFill>
                <a:effectLst/>
                <a:uLnTx/>
                <a:uFillTx/>
                <a:latin typeface="GE Inspira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October 18, 2021</a:t>
            </a:fld>
            <a:endParaRPr kumimoji="0" lang="en-US" sz="1200" b="0" i="0" u="none" strike="noStrike" kern="1200" cap="none" spc="0" normalizeH="0" baseline="0" noProof="0" dirty="0">
              <a:ln>
                <a:noFill/>
              </a:ln>
              <a:solidFill>
                <a:prstClr val="white"/>
              </a:solidFill>
              <a:effectLst/>
              <a:uLnTx/>
              <a:uFillTx/>
              <a:latin typeface="GE Inspira Sans"/>
              <a:ea typeface="+mn-ea"/>
              <a:cs typeface="+mn-cs"/>
            </a:endParaRPr>
          </a:p>
        </p:txBody>
      </p:sp>
      <p:sp>
        <p:nvSpPr>
          <p:cNvPr id="4" name="Footer Placeholder 3"/>
          <p:cNvSpPr>
            <a:spLocks noGrp="1"/>
          </p:cNvSpPr>
          <p:nvPr>
            <p:ph type="ftr" sz="quarter" idx="4294967295"/>
          </p:nvPr>
        </p:nvSpPr>
        <p:spPr>
          <a:xfrm>
            <a:off x="1627632" y="6472976"/>
            <a:ext cx="2688336" cy="18288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GE Inspira Sans"/>
                <a:ea typeface="+mn-ea"/>
                <a:cs typeface="+mn-cs"/>
              </a:rPr>
              <a:t>Presentation Title</a:t>
            </a: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6A5BD-C011-4A45-AA3A-201790FB7F2B}" type="slidenum">
              <a:rPr kumimoji="0" lang="en-US" sz="1200" b="0" i="0" u="none" strike="noStrike" kern="1200" cap="none" spc="0" normalizeH="0" baseline="0" noProof="0" smtClean="0">
                <a:ln>
                  <a:noFill/>
                </a:ln>
                <a:solidFill>
                  <a:prstClr val="white"/>
                </a:solidFill>
                <a:effectLst/>
                <a:uLnTx/>
                <a:uFillTx/>
                <a:latin typeface="GE Inspira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white"/>
              </a:solidFill>
              <a:effectLst/>
              <a:uLnTx/>
              <a:uFillTx/>
              <a:latin typeface="GE Inspira Sans"/>
              <a:ea typeface="+mn-ea"/>
              <a:cs typeface="+mn-cs"/>
            </a:endParaRPr>
          </a:p>
        </p:txBody>
      </p:sp>
    </p:spTree>
    <p:extLst>
      <p:ext uri="{BB962C8B-B14F-4D97-AF65-F5344CB8AC3E}">
        <p14:creationId xmlns:p14="http://schemas.microsoft.com/office/powerpoint/2010/main" val="14057565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E3BB79C-E902-41F1-8CCE-EF71D4334F86}"/>
              </a:ext>
            </a:extLst>
          </p:cNvPr>
          <p:cNvSpPr>
            <a:spLocks noGrp="1"/>
          </p:cNvSpPr>
          <p:nvPr>
            <p:ph type="dt" sz="half" idx="10"/>
          </p:nvPr>
        </p:nvSpPr>
        <p:spPr/>
        <p:txBody>
          <a:bodyPr/>
          <a:lstStyle/>
          <a:p>
            <a:fld id="{847652F8-2028-47EC-8E89-6F1BC4534984}" type="datetime4">
              <a:rPr lang="en-US" smtClean="0"/>
              <a:t>October 18, 2021</a:t>
            </a:fld>
            <a:endParaRPr lang="en-CA" dirty="0"/>
          </a:p>
        </p:txBody>
      </p:sp>
      <p:sp>
        <p:nvSpPr>
          <p:cNvPr id="3" name="Slide Number Placeholder 2">
            <a:extLst>
              <a:ext uri="{FF2B5EF4-FFF2-40B4-BE49-F238E27FC236}">
                <a16:creationId xmlns:a16="http://schemas.microsoft.com/office/drawing/2014/main" id="{A837C423-082D-4B89-A675-44DBD714D201}"/>
              </a:ext>
            </a:extLst>
          </p:cNvPr>
          <p:cNvSpPr>
            <a:spLocks noGrp="1"/>
          </p:cNvSpPr>
          <p:nvPr>
            <p:ph type="sldNum" sz="quarter" idx="12"/>
          </p:nvPr>
        </p:nvSpPr>
        <p:spPr/>
        <p:txBody>
          <a:bodyPr/>
          <a:lstStyle/>
          <a:p>
            <a:fld id="{00E6A5BD-C011-4A45-AA3A-201790FB7F2B}" type="slidenum">
              <a:rPr lang="en-CA" smtClean="0"/>
              <a:pPr/>
              <a:t>13</a:t>
            </a:fld>
            <a:endParaRPr lang="en-CA" dirty="0"/>
          </a:p>
        </p:txBody>
      </p:sp>
      <p:sp>
        <p:nvSpPr>
          <p:cNvPr id="5" name="Rectangle 3">
            <a:extLst>
              <a:ext uri="{FF2B5EF4-FFF2-40B4-BE49-F238E27FC236}">
                <a16:creationId xmlns:a16="http://schemas.microsoft.com/office/drawing/2014/main" id="{2474EF41-F008-47E2-9E5E-BA73C374E242}"/>
              </a:ext>
            </a:extLst>
          </p:cNvPr>
          <p:cNvSpPr>
            <a:spLocks noChangeArrowheads="1"/>
          </p:cNvSpPr>
          <p:nvPr/>
        </p:nvSpPr>
        <p:spPr bwMode="auto">
          <a:xfrm>
            <a:off x="333375" y="265113"/>
            <a:ext cx="8810625" cy="998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nSpc>
                <a:spcPct val="90000"/>
              </a:lnSpc>
              <a:defRPr/>
            </a:pPr>
            <a:r>
              <a:rPr lang="en-US" sz="3200" b="1" dirty="0">
                <a:solidFill>
                  <a:srgbClr val="1E4191"/>
                </a:solidFill>
                <a:latin typeface="GE Inspira Pitch" pitchFamily="34" charset="0"/>
              </a:rPr>
              <a:t>Power vs. Energy </a:t>
            </a:r>
            <a:r>
              <a:rPr lang="en-US" sz="2400" b="1" dirty="0">
                <a:solidFill>
                  <a:srgbClr val="1E4191"/>
                </a:solidFill>
                <a:latin typeface="GE Inspira Pitch" pitchFamily="34" charset="0"/>
              </a:rPr>
              <a:t>… </a:t>
            </a:r>
            <a:r>
              <a:rPr lang="en-US" sz="2400" b="1" dirty="0">
                <a:solidFill>
                  <a:schemeClr val="accent1"/>
                </a:solidFill>
                <a:latin typeface="GE Inspira Pitch" pitchFamily="34" charset="0"/>
              </a:rPr>
              <a:t>Two attributes of a storage system</a:t>
            </a:r>
            <a:br>
              <a:rPr lang="en-US" sz="2400" b="1" dirty="0">
                <a:solidFill>
                  <a:srgbClr val="1E4191"/>
                </a:solidFill>
                <a:latin typeface="GE Inspira Pitch" pitchFamily="34" charset="0"/>
              </a:rPr>
            </a:br>
            <a:br>
              <a:rPr lang="en-US" sz="2400" b="1" dirty="0">
                <a:solidFill>
                  <a:srgbClr val="1E4191"/>
                </a:solidFill>
                <a:latin typeface="GE Inspira Pitch" pitchFamily="34" charset="0"/>
              </a:rPr>
            </a:br>
            <a:r>
              <a:rPr lang="en-US" sz="3200" b="1" dirty="0">
                <a:solidFill>
                  <a:srgbClr val="1E4191"/>
                </a:solidFill>
                <a:latin typeface="GE Inspira Pitch" pitchFamily="34" charset="0"/>
              </a:rPr>
              <a:t> </a:t>
            </a:r>
            <a:br>
              <a:rPr lang="en-US" sz="3200" b="1" dirty="0">
                <a:solidFill>
                  <a:srgbClr val="1E4191"/>
                </a:solidFill>
                <a:latin typeface="GE Inspira Pitch" pitchFamily="34" charset="0"/>
              </a:rPr>
            </a:br>
            <a:endParaRPr lang="en-US" sz="2400" b="1" dirty="0">
              <a:solidFill>
                <a:srgbClr val="3399FF"/>
              </a:solidFill>
              <a:latin typeface="GE Inspira Pitch" pitchFamily="34" charset="0"/>
            </a:endParaRPr>
          </a:p>
        </p:txBody>
      </p:sp>
      <p:pic>
        <p:nvPicPr>
          <p:cNvPr id="7" name="Picture 43">
            <a:extLst>
              <a:ext uri="{FF2B5EF4-FFF2-40B4-BE49-F238E27FC236}">
                <a16:creationId xmlns:a16="http://schemas.microsoft.com/office/drawing/2014/main" id="{4D510858-9DAF-4AED-A32A-A84D07A3080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93079" y="836527"/>
            <a:ext cx="9353504" cy="4703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19">
            <a:extLst>
              <a:ext uri="{FF2B5EF4-FFF2-40B4-BE49-F238E27FC236}">
                <a16:creationId xmlns:a16="http://schemas.microsoft.com/office/drawing/2014/main" id="{1FD7B157-27CD-4755-93A5-D600DC7D8594}"/>
              </a:ext>
            </a:extLst>
          </p:cNvPr>
          <p:cNvSpPr>
            <a:spLocks noChangeArrowheads="1"/>
          </p:cNvSpPr>
          <p:nvPr/>
        </p:nvSpPr>
        <p:spPr bwMode="auto">
          <a:xfrm>
            <a:off x="0" y="5770711"/>
            <a:ext cx="12192000" cy="369332"/>
          </a:xfrm>
          <a:prstGeom prst="rect">
            <a:avLst/>
          </a:prstGeom>
          <a:solidFill>
            <a:srgbClr val="1E4191"/>
          </a:solidFill>
          <a:ln w="25400" cap="rnd">
            <a:solidFill>
              <a:srgbClr val="1E4191"/>
            </a:solidFill>
            <a:round/>
            <a:headEnd/>
            <a:tailEnd/>
          </a:ln>
        </p:spPr>
        <p:txBody>
          <a:bodyPr wrap="square" lIns="45720" rIns="45720">
            <a:spAutoFit/>
          </a:bodyPr>
          <a:lstStyle>
            <a:lvl1pPr eaLnBrk="0" hangingPunct="0">
              <a:lnSpc>
                <a:spcPct val="90000"/>
              </a:lnSpc>
              <a:spcBef>
                <a:spcPct val="50000"/>
              </a:spcBef>
              <a:buClr>
                <a:srgbClr val="004880"/>
              </a:buClr>
              <a:defRPr sz="2800">
                <a:solidFill>
                  <a:srgbClr val="1E4191"/>
                </a:solidFill>
                <a:latin typeface="GE Inspira" pitchFamily="34" charset="0"/>
              </a:defRPr>
            </a:lvl1pPr>
            <a:lvl2pPr marL="742950" indent="-285750" eaLnBrk="0" hangingPunct="0">
              <a:lnSpc>
                <a:spcPct val="90000"/>
              </a:lnSpc>
              <a:spcBef>
                <a:spcPct val="30000"/>
              </a:spcBef>
              <a:buClr>
                <a:srgbClr val="004880"/>
              </a:buClr>
              <a:buFont typeface="GE Inspira" pitchFamily="34" charset="0"/>
              <a:buChar char="•"/>
              <a:defRPr sz="2800">
                <a:solidFill>
                  <a:srgbClr val="1E4191"/>
                </a:solidFill>
                <a:latin typeface="GE Inspira" pitchFamily="34" charset="0"/>
              </a:defRPr>
            </a:lvl2pPr>
            <a:lvl3pPr marL="1143000" indent="-228600" eaLnBrk="0" hangingPunct="0">
              <a:lnSpc>
                <a:spcPct val="90000"/>
              </a:lnSpc>
              <a:spcBef>
                <a:spcPct val="20000"/>
              </a:spcBef>
              <a:buClr>
                <a:srgbClr val="004880"/>
              </a:buClr>
              <a:buChar char="–"/>
              <a:defRPr sz="2800">
                <a:solidFill>
                  <a:srgbClr val="1E4191"/>
                </a:solidFill>
                <a:latin typeface="GE Inspira" pitchFamily="34" charset="0"/>
              </a:defRPr>
            </a:lvl3pPr>
            <a:lvl4pPr marL="1600200" indent="-228600" eaLnBrk="0" hangingPunct="0">
              <a:lnSpc>
                <a:spcPct val="90000"/>
              </a:lnSpc>
              <a:spcBef>
                <a:spcPct val="10000"/>
              </a:spcBef>
              <a:buClr>
                <a:srgbClr val="004880"/>
              </a:buClr>
              <a:buChar char="–"/>
              <a:defRPr sz="2800">
                <a:solidFill>
                  <a:srgbClr val="1E4191"/>
                </a:solidFill>
                <a:latin typeface="GE Inspira" pitchFamily="34" charset="0"/>
              </a:defRPr>
            </a:lvl4pPr>
            <a:lvl5pPr marL="2057400" indent="-228600" eaLnBrk="0" hangingPunct="0">
              <a:lnSpc>
                <a:spcPct val="90000"/>
              </a:lnSpc>
              <a:buClr>
                <a:srgbClr val="004880"/>
              </a:buClr>
              <a:buChar char="–"/>
              <a:defRPr sz="2800">
                <a:solidFill>
                  <a:srgbClr val="1E4191"/>
                </a:solidFill>
                <a:latin typeface="GE Inspira" pitchFamily="34" charset="0"/>
              </a:defRPr>
            </a:lvl5pPr>
            <a:lvl6pPr marL="25146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6pPr>
            <a:lvl7pPr marL="29718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7pPr>
            <a:lvl8pPr marL="34290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8pPr>
            <a:lvl9pPr marL="38862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9pPr>
          </a:lstStyle>
          <a:p>
            <a:pPr algn="ctr">
              <a:buClr>
                <a:srgbClr val="004880"/>
              </a:buClr>
            </a:pPr>
            <a:r>
              <a:rPr lang="en-US" sz="2000" b="1" dirty="0">
                <a:solidFill>
                  <a:schemeClr val="bg1"/>
                </a:solidFill>
                <a:latin typeface="GE Inspira Pitch" pitchFamily="34" charset="0"/>
              </a:rPr>
              <a:t>Each application defines the power &amp; energy needed for the storage system</a:t>
            </a:r>
          </a:p>
        </p:txBody>
      </p:sp>
      <p:sp>
        <p:nvSpPr>
          <p:cNvPr id="9" name="TextBox 21">
            <a:extLst>
              <a:ext uri="{FF2B5EF4-FFF2-40B4-BE49-F238E27FC236}">
                <a16:creationId xmlns:a16="http://schemas.microsoft.com/office/drawing/2014/main" id="{4C132400-4040-44B7-AC68-0D2D348458A9}"/>
              </a:ext>
            </a:extLst>
          </p:cNvPr>
          <p:cNvSpPr txBox="1"/>
          <p:nvPr/>
        </p:nvSpPr>
        <p:spPr>
          <a:xfrm>
            <a:off x="3840480" y="6399982"/>
            <a:ext cx="5765074" cy="247839"/>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GE Inspira Sans"/>
                <a:ea typeface="+mn-ea"/>
                <a:cs typeface="+mn-cs"/>
              </a:rPr>
              <a:t>© 2021 General Electric Company. </a:t>
            </a:r>
          </a:p>
        </p:txBody>
      </p:sp>
    </p:spTree>
    <p:extLst>
      <p:ext uri="{BB962C8B-B14F-4D97-AF65-F5344CB8AC3E}">
        <p14:creationId xmlns:p14="http://schemas.microsoft.com/office/powerpoint/2010/main" val="11280905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BF2B6A1-EB0B-451F-B46C-E18955E043B0}"/>
              </a:ext>
            </a:extLst>
          </p:cNvPr>
          <p:cNvSpPr>
            <a:spLocks noGrp="1"/>
          </p:cNvSpPr>
          <p:nvPr>
            <p:ph type="sldNum" sz="quarter" idx="12"/>
          </p:nvPr>
        </p:nvSpPr>
        <p:spPr/>
        <p:txBody>
          <a:bodyPr/>
          <a:lstStyle/>
          <a:p>
            <a:fld id="{00E6A5BD-C011-4A45-AA3A-201790FB7F2B}" type="slidenum">
              <a:rPr lang="en-CA" smtClean="0"/>
              <a:pPr/>
              <a:t>14</a:t>
            </a:fld>
            <a:endParaRPr lang="en-CA" dirty="0"/>
          </a:p>
        </p:txBody>
      </p:sp>
      <p:sp>
        <p:nvSpPr>
          <p:cNvPr id="4" name="Title 3">
            <a:extLst>
              <a:ext uri="{FF2B5EF4-FFF2-40B4-BE49-F238E27FC236}">
                <a16:creationId xmlns:a16="http://schemas.microsoft.com/office/drawing/2014/main" id="{798CEB9A-1369-4D52-9B0A-90E5F10D9026}"/>
              </a:ext>
            </a:extLst>
          </p:cNvPr>
          <p:cNvSpPr>
            <a:spLocks noGrp="1"/>
          </p:cNvSpPr>
          <p:nvPr>
            <p:ph type="title"/>
          </p:nvPr>
        </p:nvSpPr>
        <p:spPr>
          <a:xfrm>
            <a:off x="587940" y="196723"/>
            <a:ext cx="11201400" cy="914400"/>
          </a:xfrm>
        </p:spPr>
        <p:txBody>
          <a:bodyPr/>
          <a:lstStyle/>
          <a:p>
            <a:r>
              <a:rPr lang="en-US" dirty="0"/>
              <a:t>Grid-scale Energy Storage Use Case and Value …</a:t>
            </a:r>
          </a:p>
        </p:txBody>
      </p:sp>
      <p:graphicFrame>
        <p:nvGraphicFramePr>
          <p:cNvPr id="5" name="Table 4">
            <a:extLst>
              <a:ext uri="{FF2B5EF4-FFF2-40B4-BE49-F238E27FC236}">
                <a16:creationId xmlns:a16="http://schemas.microsoft.com/office/drawing/2014/main" id="{80664761-E128-4F1E-9549-22B3A6EEC87A}"/>
              </a:ext>
            </a:extLst>
          </p:cNvPr>
          <p:cNvGraphicFramePr>
            <a:graphicFrameLocks noGrp="1"/>
          </p:cNvGraphicFramePr>
          <p:nvPr>
            <p:extLst>
              <p:ext uri="{D42A27DB-BD31-4B8C-83A1-F6EECF244321}">
                <p14:modId xmlns:p14="http://schemas.microsoft.com/office/powerpoint/2010/main" val="527168868"/>
              </p:ext>
            </p:extLst>
          </p:nvPr>
        </p:nvGraphicFramePr>
        <p:xfrm>
          <a:off x="402660" y="921116"/>
          <a:ext cx="10620030" cy="4614861"/>
        </p:xfrm>
        <a:graphic>
          <a:graphicData uri="http://schemas.openxmlformats.org/drawingml/2006/table">
            <a:tbl>
              <a:tblPr firstRow="1" bandRow="1"/>
              <a:tblGrid>
                <a:gridCol w="2575705">
                  <a:extLst>
                    <a:ext uri="{9D8B030D-6E8A-4147-A177-3AD203B41FA5}">
                      <a16:colId xmlns:a16="http://schemas.microsoft.com/office/drawing/2014/main" val="20000"/>
                    </a:ext>
                  </a:extLst>
                </a:gridCol>
                <a:gridCol w="1268821">
                  <a:extLst>
                    <a:ext uri="{9D8B030D-6E8A-4147-A177-3AD203B41FA5}">
                      <a16:colId xmlns:a16="http://schemas.microsoft.com/office/drawing/2014/main" val="20001"/>
                    </a:ext>
                  </a:extLst>
                </a:gridCol>
                <a:gridCol w="4130361">
                  <a:extLst>
                    <a:ext uri="{9D8B030D-6E8A-4147-A177-3AD203B41FA5}">
                      <a16:colId xmlns:a16="http://schemas.microsoft.com/office/drawing/2014/main" val="20002"/>
                    </a:ext>
                  </a:extLst>
                </a:gridCol>
                <a:gridCol w="2645143">
                  <a:extLst>
                    <a:ext uri="{9D8B030D-6E8A-4147-A177-3AD203B41FA5}">
                      <a16:colId xmlns:a16="http://schemas.microsoft.com/office/drawing/2014/main" val="20003"/>
                    </a:ext>
                  </a:extLst>
                </a:gridCol>
              </a:tblGrid>
              <a:tr h="370941">
                <a:tc>
                  <a:txBody>
                    <a:bodyPr/>
                    <a:lstStyle>
                      <a:lvl1pPr marL="0" algn="l" defTabSz="914400" rtl="0" eaLnBrk="1" latinLnBrk="0" hangingPunct="1">
                        <a:lnSpc>
                          <a:spcPct val="99000"/>
                        </a:lnSpc>
                        <a:defRPr sz="1400" b="1" kern="1200">
                          <a:solidFill>
                            <a:schemeClr val="lt1"/>
                          </a:solidFill>
                          <a:latin typeface="GE Inspira Pitch"/>
                        </a:defRPr>
                      </a:lvl1pPr>
                      <a:lvl2pPr marL="0" algn="l" defTabSz="914400" rtl="0" eaLnBrk="1" latinLnBrk="0" hangingPunct="1">
                        <a:lnSpc>
                          <a:spcPct val="99000"/>
                        </a:lnSpc>
                        <a:spcBef>
                          <a:spcPts val="900"/>
                        </a:spcBef>
                        <a:defRPr sz="1400" b="1" kern="1200">
                          <a:solidFill>
                            <a:schemeClr val="lt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b="1" kern="1200">
                          <a:solidFill>
                            <a:schemeClr val="lt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lt1"/>
                          </a:solidFill>
                          <a:latin typeface="GE Inspira Pitch"/>
                        </a:defRPr>
                      </a:lvl4pPr>
                      <a:lvl5pPr marL="155448" algn="l" defTabSz="914400" rtl="0" eaLnBrk="1" latinLnBrk="0" hangingPunct="1">
                        <a:lnSpc>
                          <a:spcPct val="99000"/>
                        </a:lnSpc>
                        <a:defRPr sz="1400" b="1" kern="1200">
                          <a:solidFill>
                            <a:schemeClr val="lt1"/>
                          </a:solidFill>
                          <a:latin typeface="GE Inspira Pitch"/>
                        </a:defRPr>
                      </a:lvl5pPr>
                      <a:lvl6pPr marL="0" algn="l" defTabSz="914400" rtl="0" eaLnBrk="1" latinLnBrk="0" hangingPunct="1">
                        <a:lnSpc>
                          <a:spcPct val="99000"/>
                        </a:lnSpc>
                        <a:defRPr sz="1400" b="1" kern="1200">
                          <a:solidFill>
                            <a:schemeClr val="lt1"/>
                          </a:solidFill>
                          <a:latin typeface="GE Inspira Pitch"/>
                        </a:defRPr>
                      </a:lvl6pPr>
                      <a:lvl7pPr marL="0" algn="l" defTabSz="914400" rtl="0" eaLnBrk="1" latinLnBrk="0" hangingPunct="1">
                        <a:lnSpc>
                          <a:spcPct val="99000"/>
                        </a:lnSpc>
                        <a:defRPr sz="1400" b="1" kern="1200">
                          <a:solidFill>
                            <a:schemeClr val="lt1"/>
                          </a:solidFill>
                          <a:latin typeface="GE Inspira Pitch"/>
                        </a:defRPr>
                      </a:lvl7pPr>
                      <a:lvl8pPr marL="0" algn="l" defTabSz="914400" rtl="0" eaLnBrk="1" latinLnBrk="0" hangingPunct="1">
                        <a:lnSpc>
                          <a:spcPct val="99000"/>
                        </a:lnSpc>
                        <a:defRPr sz="1400" b="1" kern="1200">
                          <a:solidFill>
                            <a:schemeClr val="lt1"/>
                          </a:solidFill>
                          <a:latin typeface="GE Inspira Pitch"/>
                        </a:defRPr>
                      </a:lvl8pPr>
                      <a:lvl9pPr marL="0" algn="l" defTabSz="914400" rtl="0" eaLnBrk="1" latinLnBrk="0" hangingPunct="1">
                        <a:lnSpc>
                          <a:spcPct val="99000"/>
                        </a:lnSpc>
                        <a:defRPr sz="1400" b="1" kern="1200">
                          <a:solidFill>
                            <a:schemeClr val="lt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800" u="none" strike="noStrike" cap="none" normalizeH="0" baseline="0" dirty="0">
                          <a:ln>
                            <a:noFill/>
                          </a:ln>
                          <a:effectLst/>
                        </a:rPr>
                        <a:t>Application</a:t>
                      </a:r>
                      <a:endParaRPr kumimoji="0" lang="en-US" sz="1800" b="1" i="0" u="none" strike="noStrike" cap="none" normalizeH="0" baseline="0" dirty="0">
                        <a:ln>
                          <a:noFill/>
                        </a:ln>
                        <a:solidFill>
                          <a:schemeClr val="tx1"/>
                        </a:solidFill>
                        <a:effectLst/>
                        <a:latin typeface="GE Inspira" pitchFamily="34" charset="0"/>
                      </a:endParaRPr>
                    </a:p>
                  </a:txBody>
                  <a:tcPr marL="0" marR="0" marT="45732" marB="45732" anchor="ctr" anchorCtr="1" horzOverflow="overflow">
                    <a:lnL>
                      <a:noFill/>
                    </a:lnL>
                    <a:lnR>
                      <a:noFill/>
                    </a:lnR>
                    <a:lnT>
                      <a:noFill/>
                    </a:lnT>
                    <a:lnB>
                      <a:noFill/>
                    </a:lnB>
                    <a:lnTlToBr w="12700" cmpd="sng">
                      <a:noFill/>
                      <a:prstDash val="solid"/>
                    </a:lnTlToBr>
                    <a:lnBlToTr w="12700" cmpd="sng">
                      <a:noFill/>
                      <a:prstDash val="solid"/>
                    </a:lnBlToTr>
                    <a:solidFill>
                      <a:srgbClr val="1E4191"/>
                    </a:solidFill>
                  </a:tcPr>
                </a:tc>
                <a:tc>
                  <a:txBody>
                    <a:bodyPr/>
                    <a:lstStyle>
                      <a:lvl1pPr marL="0" algn="l" defTabSz="914400" rtl="0" eaLnBrk="1" latinLnBrk="0" hangingPunct="1">
                        <a:lnSpc>
                          <a:spcPct val="99000"/>
                        </a:lnSpc>
                        <a:defRPr sz="1400" b="1" kern="1200">
                          <a:solidFill>
                            <a:schemeClr val="lt1"/>
                          </a:solidFill>
                          <a:latin typeface="GE Inspira Pitch"/>
                        </a:defRPr>
                      </a:lvl1pPr>
                      <a:lvl2pPr marL="0" algn="l" defTabSz="914400" rtl="0" eaLnBrk="1" latinLnBrk="0" hangingPunct="1">
                        <a:lnSpc>
                          <a:spcPct val="99000"/>
                        </a:lnSpc>
                        <a:spcBef>
                          <a:spcPts val="900"/>
                        </a:spcBef>
                        <a:defRPr sz="1400" b="1" kern="1200">
                          <a:solidFill>
                            <a:schemeClr val="lt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b="1" kern="1200">
                          <a:solidFill>
                            <a:schemeClr val="lt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lt1"/>
                          </a:solidFill>
                          <a:latin typeface="GE Inspira Pitch"/>
                        </a:defRPr>
                      </a:lvl4pPr>
                      <a:lvl5pPr marL="155448" algn="l" defTabSz="914400" rtl="0" eaLnBrk="1" latinLnBrk="0" hangingPunct="1">
                        <a:lnSpc>
                          <a:spcPct val="99000"/>
                        </a:lnSpc>
                        <a:defRPr sz="1400" b="1" kern="1200">
                          <a:solidFill>
                            <a:schemeClr val="lt1"/>
                          </a:solidFill>
                          <a:latin typeface="GE Inspira Pitch"/>
                        </a:defRPr>
                      </a:lvl5pPr>
                      <a:lvl6pPr marL="0" algn="l" defTabSz="914400" rtl="0" eaLnBrk="1" latinLnBrk="0" hangingPunct="1">
                        <a:lnSpc>
                          <a:spcPct val="99000"/>
                        </a:lnSpc>
                        <a:defRPr sz="1400" b="1" kern="1200">
                          <a:solidFill>
                            <a:schemeClr val="lt1"/>
                          </a:solidFill>
                          <a:latin typeface="GE Inspira Pitch"/>
                        </a:defRPr>
                      </a:lvl6pPr>
                      <a:lvl7pPr marL="0" algn="l" defTabSz="914400" rtl="0" eaLnBrk="1" latinLnBrk="0" hangingPunct="1">
                        <a:lnSpc>
                          <a:spcPct val="99000"/>
                        </a:lnSpc>
                        <a:defRPr sz="1400" b="1" kern="1200">
                          <a:solidFill>
                            <a:schemeClr val="lt1"/>
                          </a:solidFill>
                          <a:latin typeface="GE Inspira Pitch"/>
                        </a:defRPr>
                      </a:lvl7pPr>
                      <a:lvl8pPr marL="0" algn="l" defTabSz="914400" rtl="0" eaLnBrk="1" latinLnBrk="0" hangingPunct="1">
                        <a:lnSpc>
                          <a:spcPct val="99000"/>
                        </a:lnSpc>
                        <a:defRPr sz="1400" b="1" kern="1200">
                          <a:solidFill>
                            <a:schemeClr val="lt1"/>
                          </a:solidFill>
                          <a:latin typeface="GE Inspira Pitch"/>
                        </a:defRPr>
                      </a:lvl8pPr>
                      <a:lvl9pPr marL="0" algn="l" defTabSz="914400" rtl="0" eaLnBrk="1" latinLnBrk="0" hangingPunct="1">
                        <a:lnSpc>
                          <a:spcPct val="99000"/>
                        </a:lnSpc>
                        <a:defRPr sz="1400" b="1" kern="1200">
                          <a:solidFill>
                            <a:schemeClr val="lt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800" b="1" i="0" u="none" strike="noStrike" cap="none" normalizeH="0" baseline="0" dirty="0">
                          <a:ln>
                            <a:noFill/>
                          </a:ln>
                          <a:solidFill>
                            <a:schemeClr val="bg1"/>
                          </a:solidFill>
                          <a:effectLst/>
                          <a:latin typeface="GE Inspira" pitchFamily="34" charset="0"/>
                        </a:rPr>
                        <a:t>Type</a:t>
                      </a:r>
                    </a:p>
                  </a:txBody>
                  <a:tcPr marL="0" marR="0" marT="45732" marB="45732" anchor="ctr" anchorCtr="1" horzOverflow="overflow">
                    <a:lnL>
                      <a:noFill/>
                    </a:lnL>
                    <a:lnR>
                      <a:noFill/>
                    </a:lnR>
                    <a:lnT>
                      <a:noFill/>
                    </a:lnT>
                    <a:lnB>
                      <a:noFill/>
                    </a:lnB>
                    <a:lnTlToBr w="12700" cmpd="sng">
                      <a:noFill/>
                      <a:prstDash val="solid"/>
                    </a:lnTlToBr>
                    <a:lnBlToTr w="12700" cmpd="sng">
                      <a:noFill/>
                      <a:prstDash val="solid"/>
                    </a:lnBlToTr>
                    <a:solidFill>
                      <a:srgbClr val="1E4191"/>
                    </a:solidFill>
                  </a:tcPr>
                </a:tc>
                <a:tc>
                  <a:txBody>
                    <a:bodyPr/>
                    <a:lstStyle>
                      <a:lvl1pPr marL="0" algn="l" defTabSz="914400" rtl="0" eaLnBrk="1" latinLnBrk="0" hangingPunct="1">
                        <a:lnSpc>
                          <a:spcPct val="99000"/>
                        </a:lnSpc>
                        <a:defRPr sz="1400" b="1" kern="1200">
                          <a:solidFill>
                            <a:schemeClr val="lt1"/>
                          </a:solidFill>
                          <a:latin typeface="GE Inspira Pitch"/>
                        </a:defRPr>
                      </a:lvl1pPr>
                      <a:lvl2pPr marL="0" algn="l" defTabSz="914400" rtl="0" eaLnBrk="1" latinLnBrk="0" hangingPunct="1">
                        <a:lnSpc>
                          <a:spcPct val="99000"/>
                        </a:lnSpc>
                        <a:spcBef>
                          <a:spcPts val="900"/>
                        </a:spcBef>
                        <a:defRPr sz="1400" b="1" kern="1200">
                          <a:solidFill>
                            <a:schemeClr val="lt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b="1" kern="1200">
                          <a:solidFill>
                            <a:schemeClr val="lt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lt1"/>
                          </a:solidFill>
                          <a:latin typeface="GE Inspira Pitch"/>
                        </a:defRPr>
                      </a:lvl4pPr>
                      <a:lvl5pPr marL="155448" algn="l" defTabSz="914400" rtl="0" eaLnBrk="1" latinLnBrk="0" hangingPunct="1">
                        <a:lnSpc>
                          <a:spcPct val="99000"/>
                        </a:lnSpc>
                        <a:defRPr sz="1400" b="1" kern="1200">
                          <a:solidFill>
                            <a:schemeClr val="lt1"/>
                          </a:solidFill>
                          <a:latin typeface="GE Inspira Pitch"/>
                        </a:defRPr>
                      </a:lvl5pPr>
                      <a:lvl6pPr marL="0" algn="l" defTabSz="914400" rtl="0" eaLnBrk="1" latinLnBrk="0" hangingPunct="1">
                        <a:lnSpc>
                          <a:spcPct val="99000"/>
                        </a:lnSpc>
                        <a:defRPr sz="1400" b="1" kern="1200">
                          <a:solidFill>
                            <a:schemeClr val="lt1"/>
                          </a:solidFill>
                          <a:latin typeface="GE Inspira Pitch"/>
                        </a:defRPr>
                      </a:lvl6pPr>
                      <a:lvl7pPr marL="0" algn="l" defTabSz="914400" rtl="0" eaLnBrk="1" latinLnBrk="0" hangingPunct="1">
                        <a:lnSpc>
                          <a:spcPct val="99000"/>
                        </a:lnSpc>
                        <a:defRPr sz="1400" b="1" kern="1200">
                          <a:solidFill>
                            <a:schemeClr val="lt1"/>
                          </a:solidFill>
                          <a:latin typeface="GE Inspira Pitch"/>
                        </a:defRPr>
                      </a:lvl7pPr>
                      <a:lvl8pPr marL="0" algn="l" defTabSz="914400" rtl="0" eaLnBrk="1" latinLnBrk="0" hangingPunct="1">
                        <a:lnSpc>
                          <a:spcPct val="99000"/>
                        </a:lnSpc>
                        <a:defRPr sz="1400" b="1" kern="1200">
                          <a:solidFill>
                            <a:schemeClr val="lt1"/>
                          </a:solidFill>
                          <a:latin typeface="GE Inspira Pitch"/>
                        </a:defRPr>
                      </a:lvl8pPr>
                      <a:lvl9pPr marL="0" algn="l" defTabSz="914400" rtl="0" eaLnBrk="1" latinLnBrk="0" hangingPunct="1">
                        <a:lnSpc>
                          <a:spcPct val="99000"/>
                        </a:lnSpc>
                        <a:defRPr sz="1400" b="1" kern="1200">
                          <a:solidFill>
                            <a:schemeClr val="lt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800" u="none" strike="noStrike" cap="none" normalizeH="0" baseline="0" dirty="0">
                          <a:ln>
                            <a:noFill/>
                          </a:ln>
                          <a:effectLst/>
                        </a:rPr>
                        <a:t>Description</a:t>
                      </a:r>
                      <a:endParaRPr kumimoji="0" lang="en-US" sz="1800" b="1" i="0" u="none" strike="noStrike" cap="none" normalizeH="0" baseline="0" dirty="0">
                        <a:ln>
                          <a:noFill/>
                        </a:ln>
                        <a:solidFill>
                          <a:schemeClr val="tx1"/>
                        </a:solidFill>
                        <a:effectLst/>
                        <a:latin typeface="GE Inspira" pitchFamily="34" charset="0"/>
                      </a:endParaRPr>
                    </a:p>
                  </a:txBody>
                  <a:tcPr marL="0" marR="0" marT="45732" marB="45732" anchor="ctr" anchorCtr="1" horzOverflow="overflow">
                    <a:lnL>
                      <a:noFill/>
                    </a:lnL>
                    <a:lnR>
                      <a:noFill/>
                    </a:lnR>
                    <a:lnT>
                      <a:noFill/>
                    </a:lnT>
                    <a:lnB>
                      <a:noFill/>
                    </a:lnB>
                    <a:lnTlToBr w="12700" cmpd="sng">
                      <a:noFill/>
                      <a:prstDash val="solid"/>
                    </a:lnTlToBr>
                    <a:lnBlToTr w="12700" cmpd="sng">
                      <a:noFill/>
                      <a:prstDash val="solid"/>
                    </a:lnBlToTr>
                    <a:solidFill>
                      <a:srgbClr val="1E4191"/>
                    </a:solidFill>
                  </a:tcPr>
                </a:tc>
                <a:tc>
                  <a:txBody>
                    <a:bodyPr/>
                    <a:lstStyle>
                      <a:lvl1pPr marL="0" algn="l" defTabSz="914400" rtl="0" eaLnBrk="1" latinLnBrk="0" hangingPunct="1">
                        <a:lnSpc>
                          <a:spcPct val="99000"/>
                        </a:lnSpc>
                        <a:defRPr sz="1400" b="1" kern="1200">
                          <a:solidFill>
                            <a:schemeClr val="lt1"/>
                          </a:solidFill>
                          <a:latin typeface="GE Inspira Pitch"/>
                        </a:defRPr>
                      </a:lvl1pPr>
                      <a:lvl2pPr marL="0" algn="l" defTabSz="914400" rtl="0" eaLnBrk="1" latinLnBrk="0" hangingPunct="1">
                        <a:lnSpc>
                          <a:spcPct val="99000"/>
                        </a:lnSpc>
                        <a:spcBef>
                          <a:spcPts val="900"/>
                        </a:spcBef>
                        <a:defRPr sz="1400" b="1" kern="1200">
                          <a:solidFill>
                            <a:schemeClr val="lt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b="1" kern="1200">
                          <a:solidFill>
                            <a:schemeClr val="lt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lt1"/>
                          </a:solidFill>
                          <a:latin typeface="GE Inspira Pitch"/>
                        </a:defRPr>
                      </a:lvl4pPr>
                      <a:lvl5pPr marL="155448" algn="l" defTabSz="914400" rtl="0" eaLnBrk="1" latinLnBrk="0" hangingPunct="1">
                        <a:lnSpc>
                          <a:spcPct val="99000"/>
                        </a:lnSpc>
                        <a:defRPr sz="1400" b="1" kern="1200">
                          <a:solidFill>
                            <a:schemeClr val="lt1"/>
                          </a:solidFill>
                          <a:latin typeface="GE Inspira Pitch"/>
                        </a:defRPr>
                      </a:lvl5pPr>
                      <a:lvl6pPr marL="0" algn="l" defTabSz="914400" rtl="0" eaLnBrk="1" latinLnBrk="0" hangingPunct="1">
                        <a:lnSpc>
                          <a:spcPct val="99000"/>
                        </a:lnSpc>
                        <a:defRPr sz="1400" b="1" kern="1200">
                          <a:solidFill>
                            <a:schemeClr val="lt1"/>
                          </a:solidFill>
                          <a:latin typeface="GE Inspira Pitch"/>
                        </a:defRPr>
                      </a:lvl6pPr>
                      <a:lvl7pPr marL="0" algn="l" defTabSz="914400" rtl="0" eaLnBrk="1" latinLnBrk="0" hangingPunct="1">
                        <a:lnSpc>
                          <a:spcPct val="99000"/>
                        </a:lnSpc>
                        <a:defRPr sz="1400" b="1" kern="1200">
                          <a:solidFill>
                            <a:schemeClr val="lt1"/>
                          </a:solidFill>
                          <a:latin typeface="GE Inspira Pitch"/>
                        </a:defRPr>
                      </a:lvl7pPr>
                      <a:lvl8pPr marL="0" algn="l" defTabSz="914400" rtl="0" eaLnBrk="1" latinLnBrk="0" hangingPunct="1">
                        <a:lnSpc>
                          <a:spcPct val="99000"/>
                        </a:lnSpc>
                        <a:defRPr sz="1400" b="1" kern="1200">
                          <a:solidFill>
                            <a:schemeClr val="lt1"/>
                          </a:solidFill>
                          <a:latin typeface="GE Inspira Pitch"/>
                        </a:defRPr>
                      </a:lvl8pPr>
                      <a:lvl9pPr marL="0" algn="l" defTabSz="914400" rtl="0" eaLnBrk="1" latinLnBrk="0" hangingPunct="1">
                        <a:lnSpc>
                          <a:spcPct val="99000"/>
                        </a:lnSpc>
                        <a:defRPr sz="1400" b="1" kern="1200">
                          <a:solidFill>
                            <a:schemeClr val="lt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800" u="none" strike="noStrike" cap="none" normalizeH="0" baseline="0" dirty="0">
                          <a:ln>
                            <a:noFill/>
                          </a:ln>
                          <a:effectLst/>
                        </a:rPr>
                        <a:t>Value</a:t>
                      </a:r>
                      <a:endParaRPr kumimoji="0" lang="en-US" sz="1800" b="1" i="0" u="none" strike="noStrike" cap="none" normalizeH="0" baseline="0" dirty="0">
                        <a:ln>
                          <a:noFill/>
                        </a:ln>
                        <a:solidFill>
                          <a:schemeClr val="tx1"/>
                        </a:solidFill>
                        <a:effectLst/>
                        <a:latin typeface="GE Inspira" pitchFamily="34" charset="0"/>
                      </a:endParaRPr>
                    </a:p>
                  </a:txBody>
                  <a:tcPr marL="0" marR="0" marT="45732" marB="45732" anchor="ctr" anchorCtr="1" horzOverflow="overflow">
                    <a:lnL>
                      <a:noFill/>
                    </a:lnL>
                    <a:lnR>
                      <a:noFill/>
                    </a:lnR>
                    <a:lnT>
                      <a:noFill/>
                    </a:lnT>
                    <a:lnB>
                      <a:noFill/>
                    </a:lnB>
                    <a:lnTlToBr w="12700" cmpd="sng">
                      <a:noFill/>
                      <a:prstDash val="solid"/>
                    </a:lnTlToBr>
                    <a:lnBlToTr w="12700" cmpd="sng">
                      <a:noFill/>
                      <a:prstDash val="solid"/>
                    </a:lnBlToTr>
                    <a:solidFill>
                      <a:srgbClr val="1E4191"/>
                    </a:solidFill>
                  </a:tcPr>
                </a:tc>
                <a:extLst>
                  <a:ext uri="{0D108BD9-81ED-4DB2-BD59-A6C34878D82A}">
                    <a16:rowId xmlns:a16="http://schemas.microsoft.com/office/drawing/2014/main" val="10000"/>
                  </a:ext>
                </a:extLst>
              </a:tr>
              <a:tr h="530490">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rgbClr val="C00000"/>
                          </a:solidFill>
                          <a:effectLst/>
                          <a:latin typeface="GE Inspira Pitch" pitchFamily="34" charset="0"/>
                        </a:rPr>
                        <a:t>Energy Arbitrage</a:t>
                      </a:r>
                      <a:endParaRPr kumimoji="0" lang="en-US" sz="1600" b="1" i="0" u="none" strike="noStrike" cap="none" normalizeH="0" baseline="0" dirty="0">
                        <a:ln>
                          <a:noFill/>
                        </a:ln>
                        <a:solidFill>
                          <a:srgbClr val="C00000"/>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b="0" i="0" u="none" strike="noStrike" cap="none" normalizeH="0" baseline="0" dirty="0">
                          <a:ln>
                            <a:noFill/>
                          </a:ln>
                          <a:solidFill>
                            <a:srgbClr val="C00000"/>
                          </a:solidFill>
                          <a:effectLst/>
                          <a:latin typeface="GE Inspira Pitch" pitchFamily="34" charset="0"/>
                        </a:rPr>
                        <a:t>Energy</a:t>
                      </a: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rgbClr val="C00000"/>
                          </a:solidFill>
                          <a:effectLst/>
                          <a:latin typeface="GE Inspira Pitch" pitchFamily="34" charset="0"/>
                        </a:rPr>
                        <a:t>Buy low, sell high</a:t>
                      </a:r>
                      <a:endParaRPr kumimoji="0" lang="en-US" sz="1600" b="1" i="0" u="none" strike="noStrike" cap="none" normalizeH="0" baseline="0" dirty="0">
                        <a:ln>
                          <a:noFill/>
                        </a:ln>
                        <a:solidFill>
                          <a:srgbClr val="C00000"/>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rgbClr val="C00000"/>
                          </a:solidFill>
                          <a:effectLst/>
                          <a:latin typeface="GE Inspira Pitch" pitchFamily="34" charset="0"/>
                        </a:rPr>
                        <a:t>Displaces most</a:t>
                      </a:r>
                      <a:br>
                        <a:rPr kumimoji="0" lang="en-US" sz="1600" u="none" strike="noStrike" cap="none" normalizeH="0" baseline="0" dirty="0">
                          <a:ln>
                            <a:noFill/>
                          </a:ln>
                          <a:solidFill>
                            <a:srgbClr val="C00000"/>
                          </a:solidFill>
                          <a:effectLst/>
                          <a:latin typeface="GE Inspira Pitch" pitchFamily="34" charset="0"/>
                        </a:rPr>
                      </a:br>
                      <a:r>
                        <a:rPr kumimoji="0" lang="en-US" sz="1600" u="none" strike="noStrike" cap="none" normalizeH="0" baseline="0" dirty="0">
                          <a:ln>
                            <a:noFill/>
                          </a:ln>
                          <a:solidFill>
                            <a:srgbClr val="C00000"/>
                          </a:solidFill>
                          <a:effectLst/>
                          <a:latin typeface="GE Inspira Pitch" pitchFamily="34" charset="0"/>
                        </a:rPr>
                        <a:t>expensive generation</a:t>
                      </a:r>
                      <a:endParaRPr kumimoji="0" lang="en-US" sz="1600" b="1" i="0" u="none" strike="noStrike" cap="none" normalizeH="0" baseline="0" dirty="0">
                        <a:ln>
                          <a:noFill/>
                        </a:ln>
                        <a:solidFill>
                          <a:srgbClr val="C00000"/>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extLst>
                  <a:ext uri="{0D108BD9-81ED-4DB2-BD59-A6C34878D82A}">
                    <a16:rowId xmlns:a16="http://schemas.microsoft.com/office/drawing/2014/main" val="10001"/>
                  </a:ext>
                </a:extLst>
              </a:tr>
              <a:tr h="530490">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rgbClr val="C00000"/>
                          </a:solidFill>
                          <a:effectLst/>
                          <a:latin typeface="GE Inspira Pitch" pitchFamily="34" charset="0"/>
                        </a:rPr>
                        <a:t>Generation Capacity</a:t>
                      </a:r>
                      <a:endParaRPr kumimoji="0" lang="en-US" sz="1600" b="1" i="0" u="none" strike="noStrike" cap="none" normalizeH="0" baseline="0" dirty="0">
                        <a:ln>
                          <a:noFill/>
                        </a:ln>
                        <a:solidFill>
                          <a:srgbClr val="C00000"/>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b="0" i="0" u="none" strike="noStrike" cap="none" normalizeH="0" baseline="0" dirty="0">
                          <a:ln>
                            <a:noFill/>
                          </a:ln>
                          <a:solidFill>
                            <a:srgbClr val="C00000"/>
                          </a:solidFill>
                          <a:effectLst/>
                          <a:latin typeface="GE Inspira Pitch" pitchFamily="34" charset="0"/>
                        </a:rPr>
                        <a:t>Energy</a:t>
                      </a: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rgbClr val="C00000"/>
                          </a:solidFill>
                          <a:effectLst/>
                          <a:latin typeface="GE Inspira Pitch" pitchFamily="34" charset="0"/>
                        </a:rPr>
                        <a:t>Time shift energy from</a:t>
                      </a:r>
                      <a:br>
                        <a:rPr kumimoji="0" lang="en-US" sz="1600" u="none" strike="noStrike" cap="none" normalizeH="0" baseline="0" dirty="0">
                          <a:ln>
                            <a:noFill/>
                          </a:ln>
                          <a:solidFill>
                            <a:srgbClr val="C00000"/>
                          </a:solidFill>
                          <a:effectLst/>
                          <a:latin typeface="GE Inspira Pitch" pitchFamily="34" charset="0"/>
                        </a:rPr>
                      </a:br>
                      <a:r>
                        <a:rPr kumimoji="0" lang="en-US" sz="1600" u="none" strike="noStrike" cap="none" normalizeH="0" baseline="0" dirty="0">
                          <a:ln>
                            <a:noFill/>
                          </a:ln>
                          <a:solidFill>
                            <a:srgbClr val="C00000"/>
                          </a:solidFill>
                          <a:effectLst/>
                          <a:latin typeface="GE Inspira Pitch" pitchFamily="34" charset="0"/>
                        </a:rPr>
                        <a:t>off-peak to peak load</a:t>
                      </a:r>
                      <a:endParaRPr kumimoji="0" lang="en-US" sz="1600" b="1" i="0" u="none" strike="noStrike" cap="none" normalizeH="0" baseline="0" dirty="0">
                        <a:ln>
                          <a:noFill/>
                        </a:ln>
                        <a:solidFill>
                          <a:srgbClr val="C00000"/>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rgbClr val="C00000"/>
                          </a:solidFill>
                          <a:effectLst/>
                          <a:latin typeface="GE Inspira Pitch" pitchFamily="34" charset="0"/>
                        </a:rPr>
                        <a:t>Defers investment</a:t>
                      </a:r>
                      <a:br>
                        <a:rPr kumimoji="0" lang="en-US" sz="1600" u="none" strike="noStrike" cap="none" normalizeH="0" baseline="0" dirty="0">
                          <a:ln>
                            <a:noFill/>
                          </a:ln>
                          <a:solidFill>
                            <a:srgbClr val="C00000"/>
                          </a:solidFill>
                          <a:effectLst/>
                          <a:latin typeface="GE Inspira Pitch" pitchFamily="34" charset="0"/>
                        </a:rPr>
                      </a:br>
                      <a:r>
                        <a:rPr kumimoji="0" lang="en-US" sz="1600" u="none" strike="noStrike" cap="none" normalizeH="0" baseline="0" dirty="0">
                          <a:ln>
                            <a:noFill/>
                          </a:ln>
                          <a:solidFill>
                            <a:srgbClr val="C00000"/>
                          </a:solidFill>
                          <a:effectLst/>
                          <a:latin typeface="GE Inspira Pitch" pitchFamily="34" charset="0"/>
                        </a:rPr>
                        <a:t>in new generation</a:t>
                      </a:r>
                      <a:endParaRPr kumimoji="0" lang="en-US" sz="1600" b="1" i="0" u="none" strike="noStrike" cap="none" normalizeH="0" baseline="0" dirty="0">
                        <a:ln>
                          <a:noFill/>
                        </a:ln>
                        <a:solidFill>
                          <a:srgbClr val="C00000"/>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extLst>
                  <a:ext uri="{0D108BD9-81ED-4DB2-BD59-A6C34878D82A}">
                    <a16:rowId xmlns:a16="http://schemas.microsoft.com/office/drawing/2014/main" val="10002"/>
                  </a:ext>
                </a:extLst>
              </a:tr>
              <a:tr h="530490">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rgbClr val="C00000"/>
                          </a:solidFill>
                          <a:effectLst/>
                          <a:latin typeface="GE Inspira Pitch" pitchFamily="34" charset="0"/>
                        </a:rPr>
                        <a:t>Equipment Capacity</a:t>
                      </a:r>
                      <a:endParaRPr kumimoji="0" lang="en-US" sz="1600" b="1" i="0" u="none" strike="noStrike" cap="none" normalizeH="0" baseline="0" dirty="0">
                        <a:ln>
                          <a:noFill/>
                        </a:ln>
                        <a:solidFill>
                          <a:srgbClr val="C00000"/>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defRPr/>
                      </a:pPr>
                      <a:r>
                        <a:rPr kumimoji="0" lang="en-US" sz="1600" b="0" i="0" u="none" strike="noStrike" cap="none" normalizeH="0" baseline="0" dirty="0">
                          <a:ln>
                            <a:noFill/>
                          </a:ln>
                          <a:solidFill>
                            <a:srgbClr val="C00000"/>
                          </a:solidFill>
                          <a:effectLst/>
                          <a:latin typeface="GE Inspira Pitch" pitchFamily="34" charset="0"/>
                        </a:rPr>
                        <a:t>Energy</a:t>
                      </a: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rgbClr val="C00000"/>
                          </a:solidFill>
                          <a:effectLst/>
                          <a:latin typeface="GE Inspira Pitch" pitchFamily="34" charset="0"/>
                        </a:rPr>
                        <a:t>Reduce flow through overloaded</a:t>
                      </a:r>
                      <a:br>
                        <a:rPr kumimoji="0" lang="en-US" sz="1600" u="none" strike="noStrike" cap="none" normalizeH="0" baseline="0" dirty="0">
                          <a:ln>
                            <a:noFill/>
                          </a:ln>
                          <a:solidFill>
                            <a:srgbClr val="C00000"/>
                          </a:solidFill>
                          <a:effectLst/>
                          <a:latin typeface="GE Inspira Pitch" pitchFamily="34" charset="0"/>
                        </a:rPr>
                      </a:br>
                      <a:r>
                        <a:rPr kumimoji="0" lang="en-US" sz="1600" u="none" strike="noStrike" cap="none" normalizeH="0" baseline="0" dirty="0">
                          <a:ln>
                            <a:noFill/>
                          </a:ln>
                          <a:solidFill>
                            <a:srgbClr val="C00000"/>
                          </a:solidFill>
                          <a:effectLst/>
                          <a:latin typeface="GE Inspira Pitch" pitchFamily="34" charset="0"/>
                        </a:rPr>
                        <a:t>lines and transformers</a:t>
                      </a:r>
                      <a:endParaRPr kumimoji="0" lang="en-US" sz="1600" b="1" i="0" u="none" strike="noStrike" cap="none" normalizeH="0" baseline="0" dirty="0">
                        <a:ln>
                          <a:noFill/>
                        </a:ln>
                        <a:solidFill>
                          <a:srgbClr val="C00000"/>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rgbClr val="C00000"/>
                          </a:solidFill>
                          <a:effectLst/>
                          <a:latin typeface="GE Inspira Pitch" pitchFamily="34" charset="0"/>
                        </a:rPr>
                        <a:t>Defers investment</a:t>
                      </a:r>
                      <a:br>
                        <a:rPr kumimoji="0" lang="en-US" sz="1600" u="none" strike="noStrike" cap="none" normalizeH="0" baseline="0" dirty="0">
                          <a:ln>
                            <a:noFill/>
                          </a:ln>
                          <a:solidFill>
                            <a:srgbClr val="C00000"/>
                          </a:solidFill>
                          <a:effectLst/>
                          <a:latin typeface="GE Inspira Pitch" pitchFamily="34" charset="0"/>
                        </a:rPr>
                      </a:br>
                      <a:r>
                        <a:rPr kumimoji="0" lang="en-US" sz="1600" u="none" strike="noStrike" cap="none" normalizeH="0" baseline="0" dirty="0">
                          <a:ln>
                            <a:noFill/>
                          </a:ln>
                          <a:solidFill>
                            <a:srgbClr val="C00000"/>
                          </a:solidFill>
                          <a:effectLst/>
                          <a:latin typeface="GE Inspira Pitch" pitchFamily="34" charset="0"/>
                        </a:rPr>
                        <a:t>in new equipment</a:t>
                      </a:r>
                      <a:endParaRPr kumimoji="0" lang="en-US" sz="1600" b="1" i="0" u="none" strike="noStrike" cap="none" normalizeH="0" baseline="0" dirty="0">
                        <a:ln>
                          <a:noFill/>
                        </a:ln>
                        <a:solidFill>
                          <a:srgbClr val="C00000"/>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extLst>
                  <a:ext uri="{0D108BD9-81ED-4DB2-BD59-A6C34878D82A}">
                    <a16:rowId xmlns:a16="http://schemas.microsoft.com/office/drawing/2014/main" val="10003"/>
                  </a:ext>
                </a:extLst>
              </a:tr>
              <a:tr h="530490">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rgbClr val="C00000"/>
                          </a:solidFill>
                          <a:effectLst/>
                          <a:latin typeface="GE Inspira Pitch" pitchFamily="34" charset="0"/>
                        </a:rPr>
                        <a:t>Line Congestion</a:t>
                      </a:r>
                      <a:endParaRPr kumimoji="0" lang="en-US" sz="1600" b="1" i="0" u="none" strike="noStrike" cap="none" normalizeH="0" baseline="0" dirty="0">
                        <a:ln>
                          <a:noFill/>
                        </a:ln>
                        <a:solidFill>
                          <a:srgbClr val="C00000"/>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defRPr/>
                      </a:pPr>
                      <a:r>
                        <a:rPr kumimoji="0" lang="en-US" sz="1600" b="0" i="0" u="none" strike="noStrike" cap="none" normalizeH="0" baseline="0" dirty="0">
                          <a:ln>
                            <a:noFill/>
                          </a:ln>
                          <a:solidFill>
                            <a:srgbClr val="C00000"/>
                          </a:solidFill>
                          <a:effectLst/>
                          <a:latin typeface="GE Inspira Pitch" pitchFamily="34" charset="0"/>
                        </a:rPr>
                        <a:t>Energy</a:t>
                      </a: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rgbClr val="C00000"/>
                          </a:solidFill>
                          <a:effectLst/>
                          <a:latin typeface="GE Inspira Pitch" pitchFamily="34" charset="0"/>
                        </a:rPr>
                        <a:t>Time shift delivery of renewable energy during congestion</a:t>
                      </a:r>
                      <a:endParaRPr kumimoji="0" lang="en-US" sz="1600" b="1" i="0" u="none" strike="noStrike" cap="none" normalizeH="0" baseline="0" dirty="0">
                        <a:ln>
                          <a:noFill/>
                        </a:ln>
                        <a:solidFill>
                          <a:srgbClr val="C00000"/>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rgbClr val="C00000"/>
                          </a:solidFill>
                          <a:effectLst/>
                          <a:latin typeface="GE Inspira Pitch" pitchFamily="34" charset="0"/>
                        </a:rPr>
                        <a:t>Delays transmission line reinforcement</a:t>
                      </a:r>
                      <a:endParaRPr kumimoji="0" lang="en-US" sz="1600" b="1" i="0" u="none" strike="noStrike" cap="none" normalizeH="0" baseline="0" dirty="0">
                        <a:ln>
                          <a:noFill/>
                        </a:ln>
                        <a:solidFill>
                          <a:srgbClr val="C00000"/>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extLst>
                  <a:ext uri="{0D108BD9-81ED-4DB2-BD59-A6C34878D82A}">
                    <a16:rowId xmlns:a16="http://schemas.microsoft.com/office/drawing/2014/main" val="10004"/>
                  </a:ext>
                </a:extLst>
              </a:tr>
              <a:tr h="530490">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chemeClr val="accent4">
                              <a:lumMod val="75000"/>
                              <a:lumOff val="25000"/>
                            </a:schemeClr>
                          </a:solidFill>
                          <a:effectLst/>
                          <a:latin typeface="GE Inspira Pitch" pitchFamily="34" charset="0"/>
                        </a:rPr>
                        <a:t>Wind/Solar Smoothing</a:t>
                      </a:r>
                      <a:endParaRPr kumimoji="0" lang="en-US" sz="1600" b="1" i="0" u="none" strike="noStrike" cap="none" normalizeH="0" baseline="0" dirty="0">
                        <a:ln>
                          <a:noFill/>
                        </a:ln>
                        <a:solidFill>
                          <a:schemeClr val="accent4">
                            <a:lumMod val="75000"/>
                            <a:lumOff val="25000"/>
                          </a:schemeClr>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b="0" i="0" u="none" strike="noStrike" cap="none" normalizeH="0" baseline="0" dirty="0">
                          <a:ln>
                            <a:noFill/>
                          </a:ln>
                          <a:solidFill>
                            <a:schemeClr val="accent4">
                              <a:lumMod val="75000"/>
                              <a:lumOff val="25000"/>
                            </a:schemeClr>
                          </a:solidFill>
                          <a:effectLst/>
                          <a:latin typeface="GE Inspira Pitch" pitchFamily="34" charset="0"/>
                        </a:rPr>
                        <a:t>Power</a:t>
                      </a: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chemeClr val="accent4">
                              <a:lumMod val="75000"/>
                              <a:lumOff val="25000"/>
                            </a:schemeClr>
                          </a:solidFill>
                          <a:effectLst/>
                          <a:latin typeface="GE Inspira Pitch" pitchFamily="34" charset="0"/>
                        </a:rPr>
                        <a:t>Reduce ramp rates of</a:t>
                      </a:r>
                      <a:br>
                        <a:rPr kumimoji="0" lang="en-US" sz="1600" u="none" strike="noStrike" cap="none" normalizeH="0" baseline="0" dirty="0">
                          <a:ln>
                            <a:noFill/>
                          </a:ln>
                          <a:solidFill>
                            <a:schemeClr val="accent4">
                              <a:lumMod val="75000"/>
                              <a:lumOff val="25000"/>
                            </a:schemeClr>
                          </a:solidFill>
                          <a:effectLst/>
                          <a:latin typeface="GE Inspira Pitch" pitchFamily="34" charset="0"/>
                        </a:rPr>
                      </a:br>
                      <a:r>
                        <a:rPr kumimoji="0" lang="en-US" sz="1600" u="none" strike="noStrike" cap="none" normalizeH="0" baseline="0" dirty="0">
                          <a:ln>
                            <a:noFill/>
                          </a:ln>
                          <a:solidFill>
                            <a:schemeClr val="accent4">
                              <a:lumMod val="75000"/>
                              <a:lumOff val="25000"/>
                            </a:schemeClr>
                          </a:solidFill>
                          <a:effectLst/>
                          <a:latin typeface="GE Inspira Pitch" pitchFamily="34" charset="0"/>
                        </a:rPr>
                        <a:t>wind and solar plants</a:t>
                      </a:r>
                      <a:endParaRPr kumimoji="0" lang="en-US" sz="1600" b="1" i="0" u="none" strike="noStrike" cap="none" normalizeH="0" baseline="0" dirty="0">
                        <a:ln>
                          <a:noFill/>
                        </a:ln>
                        <a:solidFill>
                          <a:schemeClr val="accent4">
                            <a:lumMod val="75000"/>
                            <a:lumOff val="25000"/>
                          </a:schemeClr>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chemeClr val="accent4">
                              <a:lumMod val="75000"/>
                              <a:lumOff val="25000"/>
                            </a:schemeClr>
                          </a:solidFill>
                          <a:effectLst/>
                          <a:latin typeface="GE Inspira Pitch" pitchFamily="34" charset="0"/>
                        </a:rPr>
                        <a:t>Contributes to reserve &amp; regulation requirements</a:t>
                      </a:r>
                      <a:endParaRPr kumimoji="0" lang="en-US" sz="1600" b="1" i="0" u="none" strike="noStrike" cap="none" normalizeH="0" baseline="0" dirty="0">
                        <a:ln>
                          <a:noFill/>
                        </a:ln>
                        <a:solidFill>
                          <a:schemeClr val="accent4">
                            <a:lumMod val="75000"/>
                            <a:lumOff val="25000"/>
                          </a:schemeClr>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extLst>
                  <a:ext uri="{0D108BD9-81ED-4DB2-BD59-A6C34878D82A}">
                    <a16:rowId xmlns:a16="http://schemas.microsoft.com/office/drawing/2014/main" val="10005"/>
                  </a:ext>
                </a:extLst>
              </a:tr>
              <a:tr h="530490">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chemeClr val="accent4">
                              <a:lumMod val="75000"/>
                              <a:lumOff val="25000"/>
                            </a:schemeClr>
                          </a:solidFill>
                          <a:effectLst/>
                          <a:latin typeface="GE Inspira Pitch" pitchFamily="34" charset="0"/>
                        </a:rPr>
                        <a:t>Frequency Regulation</a:t>
                      </a:r>
                      <a:endParaRPr kumimoji="0" lang="en-US" sz="1600" b="1" i="0" u="none" strike="noStrike" cap="none" normalizeH="0" baseline="0" dirty="0">
                        <a:ln>
                          <a:noFill/>
                        </a:ln>
                        <a:solidFill>
                          <a:schemeClr val="accent4">
                            <a:lumMod val="75000"/>
                            <a:lumOff val="25000"/>
                          </a:schemeClr>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defRPr/>
                      </a:pPr>
                      <a:r>
                        <a:rPr kumimoji="0" lang="en-US" sz="1600" b="0" i="0" u="none" strike="noStrike" cap="none" normalizeH="0" baseline="0" dirty="0">
                          <a:ln>
                            <a:noFill/>
                          </a:ln>
                          <a:solidFill>
                            <a:schemeClr val="accent4">
                              <a:lumMod val="75000"/>
                              <a:lumOff val="25000"/>
                            </a:schemeClr>
                          </a:solidFill>
                          <a:effectLst/>
                          <a:latin typeface="GE Inspira Pitch" pitchFamily="34" charset="0"/>
                        </a:rPr>
                        <a:t>Power</a:t>
                      </a: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chemeClr val="accent4">
                              <a:lumMod val="75000"/>
                              <a:lumOff val="25000"/>
                            </a:schemeClr>
                          </a:solidFill>
                          <a:effectLst/>
                          <a:latin typeface="GE Inspira Pitch" pitchFamily="34" charset="0"/>
                        </a:rPr>
                        <a:t>Rapidly inject and remove power for short intervals</a:t>
                      </a:r>
                      <a:endParaRPr kumimoji="0" lang="en-US" sz="1600" b="1" i="0" u="none" strike="noStrike" cap="none" normalizeH="0" baseline="0" dirty="0">
                        <a:ln>
                          <a:noFill/>
                        </a:ln>
                        <a:solidFill>
                          <a:schemeClr val="accent4">
                            <a:lumMod val="75000"/>
                            <a:lumOff val="25000"/>
                          </a:schemeClr>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chemeClr val="accent4">
                              <a:lumMod val="75000"/>
                              <a:lumOff val="25000"/>
                            </a:schemeClr>
                          </a:solidFill>
                          <a:effectLst/>
                          <a:latin typeface="GE Inspira Pitch" pitchFamily="34" charset="0"/>
                        </a:rPr>
                        <a:t>Contributes to regulation requirements</a:t>
                      </a:r>
                      <a:endParaRPr kumimoji="0" lang="en-US" sz="1600" b="1" i="0" u="none" strike="noStrike" cap="none" normalizeH="0" baseline="0" dirty="0">
                        <a:ln>
                          <a:noFill/>
                        </a:ln>
                        <a:solidFill>
                          <a:schemeClr val="accent4">
                            <a:lumMod val="75000"/>
                            <a:lumOff val="25000"/>
                          </a:schemeClr>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extLst>
                  <a:ext uri="{0D108BD9-81ED-4DB2-BD59-A6C34878D82A}">
                    <a16:rowId xmlns:a16="http://schemas.microsoft.com/office/drawing/2014/main" val="10006"/>
                  </a:ext>
                </a:extLst>
              </a:tr>
              <a:tr h="530490">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chemeClr val="accent4">
                              <a:lumMod val="75000"/>
                              <a:lumOff val="25000"/>
                            </a:schemeClr>
                          </a:solidFill>
                          <a:effectLst/>
                          <a:latin typeface="GE Inspira Pitch" pitchFamily="34" charset="0"/>
                        </a:rPr>
                        <a:t>Reserves</a:t>
                      </a:r>
                      <a:endParaRPr kumimoji="0" lang="en-US" sz="1600" b="1" i="0" u="none" strike="noStrike" cap="none" normalizeH="0" baseline="0" dirty="0">
                        <a:ln>
                          <a:noFill/>
                        </a:ln>
                        <a:solidFill>
                          <a:schemeClr val="accent4">
                            <a:lumMod val="75000"/>
                            <a:lumOff val="25000"/>
                          </a:schemeClr>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defRPr/>
                      </a:pPr>
                      <a:r>
                        <a:rPr kumimoji="0" lang="en-US" sz="1600" b="0" i="0" u="none" strike="noStrike" cap="none" normalizeH="0" baseline="0" dirty="0">
                          <a:ln>
                            <a:noFill/>
                          </a:ln>
                          <a:solidFill>
                            <a:schemeClr val="accent4">
                              <a:lumMod val="75000"/>
                              <a:lumOff val="25000"/>
                            </a:schemeClr>
                          </a:solidFill>
                          <a:effectLst/>
                          <a:latin typeface="GE Inspira Pitch" pitchFamily="34" charset="0"/>
                        </a:rPr>
                        <a:t>Power</a:t>
                      </a: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chemeClr val="accent4">
                              <a:lumMod val="75000"/>
                              <a:lumOff val="25000"/>
                            </a:schemeClr>
                          </a:solidFill>
                          <a:effectLst/>
                          <a:latin typeface="GE Inspira Pitch" pitchFamily="34" charset="0"/>
                        </a:rPr>
                        <a:t>Dispatch power</a:t>
                      </a:r>
                      <a:br>
                        <a:rPr kumimoji="0" lang="en-US" sz="1600" u="none" strike="noStrike" cap="none" normalizeH="0" baseline="0" dirty="0">
                          <a:ln>
                            <a:noFill/>
                          </a:ln>
                          <a:solidFill>
                            <a:schemeClr val="accent4">
                              <a:lumMod val="75000"/>
                              <a:lumOff val="25000"/>
                            </a:schemeClr>
                          </a:solidFill>
                          <a:effectLst/>
                          <a:latin typeface="GE Inspira Pitch" pitchFamily="34" charset="0"/>
                        </a:rPr>
                      </a:br>
                      <a:r>
                        <a:rPr kumimoji="0" lang="en-US" sz="1600" u="none" strike="noStrike" cap="none" normalizeH="0" baseline="0" dirty="0">
                          <a:ln>
                            <a:noFill/>
                          </a:ln>
                          <a:solidFill>
                            <a:schemeClr val="accent4">
                              <a:lumMod val="75000"/>
                              <a:lumOff val="25000"/>
                            </a:schemeClr>
                          </a:solidFill>
                          <a:effectLst/>
                          <a:latin typeface="GE Inspira Pitch" pitchFamily="34" charset="0"/>
                        </a:rPr>
                        <a:t>in &lt; 10 minutes</a:t>
                      </a:r>
                      <a:endParaRPr kumimoji="0" lang="en-US" sz="1600" b="1" i="0" u="none" strike="noStrike" cap="none" normalizeH="0" baseline="0" dirty="0">
                        <a:ln>
                          <a:noFill/>
                        </a:ln>
                        <a:solidFill>
                          <a:schemeClr val="accent4">
                            <a:lumMod val="75000"/>
                            <a:lumOff val="25000"/>
                          </a:schemeClr>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chemeClr val="accent4">
                              <a:lumMod val="75000"/>
                              <a:lumOff val="25000"/>
                            </a:schemeClr>
                          </a:solidFill>
                          <a:effectLst/>
                          <a:latin typeface="GE Inspira Pitch" pitchFamily="34" charset="0"/>
                        </a:rPr>
                        <a:t>Contributes to system reserves</a:t>
                      </a:r>
                      <a:endParaRPr kumimoji="0" lang="en-US" sz="1600" b="1" i="0" u="none" strike="noStrike" cap="none" normalizeH="0" baseline="0" dirty="0">
                        <a:ln>
                          <a:noFill/>
                        </a:ln>
                        <a:solidFill>
                          <a:schemeClr val="accent4">
                            <a:lumMod val="75000"/>
                            <a:lumOff val="25000"/>
                          </a:schemeClr>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extLst>
                  <a:ext uri="{0D108BD9-81ED-4DB2-BD59-A6C34878D82A}">
                    <a16:rowId xmlns:a16="http://schemas.microsoft.com/office/drawing/2014/main" val="10007"/>
                  </a:ext>
                </a:extLst>
              </a:tr>
              <a:tr h="530490">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chemeClr val="accent4">
                              <a:lumMod val="75000"/>
                              <a:lumOff val="25000"/>
                            </a:schemeClr>
                          </a:solidFill>
                          <a:effectLst/>
                          <a:latin typeface="GE Inspira Pitch" pitchFamily="34" charset="0"/>
                        </a:rPr>
                        <a:t>Governor / Inertial</a:t>
                      </a:r>
                      <a:endParaRPr kumimoji="0" lang="en-US" sz="1600" b="1" i="0" u="none" strike="noStrike" cap="none" normalizeH="0" baseline="0" dirty="0">
                        <a:ln>
                          <a:noFill/>
                        </a:ln>
                        <a:solidFill>
                          <a:schemeClr val="accent4">
                            <a:lumMod val="75000"/>
                            <a:lumOff val="25000"/>
                          </a:schemeClr>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defRPr/>
                      </a:pPr>
                      <a:r>
                        <a:rPr kumimoji="0" lang="en-US" sz="1600" b="0" i="0" u="none" strike="noStrike" cap="none" normalizeH="0" baseline="0" dirty="0">
                          <a:ln>
                            <a:noFill/>
                          </a:ln>
                          <a:solidFill>
                            <a:schemeClr val="accent4">
                              <a:lumMod val="75000"/>
                              <a:lumOff val="25000"/>
                            </a:schemeClr>
                          </a:solidFill>
                          <a:effectLst/>
                          <a:latin typeface="GE Inspira Pitch" pitchFamily="34" charset="0"/>
                        </a:rPr>
                        <a:t>Power</a:t>
                      </a: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chemeClr val="accent4">
                              <a:lumMod val="75000"/>
                              <a:lumOff val="25000"/>
                            </a:schemeClr>
                          </a:solidFill>
                          <a:effectLst/>
                          <a:latin typeface="GE Inspira Pitch" pitchFamily="34" charset="0"/>
                        </a:rPr>
                        <a:t>Provide dynamic equivalents of synchronous generators</a:t>
                      </a:r>
                      <a:endParaRPr kumimoji="0" lang="en-US" sz="1600" b="1" i="0" u="none" strike="noStrike" cap="none" normalizeH="0" baseline="0" dirty="0">
                        <a:ln>
                          <a:noFill/>
                        </a:ln>
                        <a:solidFill>
                          <a:schemeClr val="accent4">
                            <a:lumMod val="75000"/>
                            <a:lumOff val="25000"/>
                          </a:schemeClr>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chemeClr val="accent4">
                              <a:lumMod val="75000"/>
                              <a:lumOff val="25000"/>
                            </a:schemeClr>
                          </a:solidFill>
                          <a:effectLst/>
                          <a:latin typeface="GE Inspira Pitch" pitchFamily="34" charset="0"/>
                        </a:rPr>
                        <a:t>Reduces severity of frequency variations</a:t>
                      </a:r>
                      <a:endParaRPr kumimoji="0" lang="en-US" sz="1600" b="1" i="0" u="none" strike="noStrike" cap="none" normalizeH="0" baseline="0" dirty="0">
                        <a:ln>
                          <a:noFill/>
                        </a:ln>
                        <a:solidFill>
                          <a:schemeClr val="accent4">
                            <a:lumMod val="75000"/>
                            <a:lumOff val="25000"/>
                          </a:schemeClr>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extLst>
                  <a:ext uri="{0D108BD9-81ED-4DB2-BD59-A6C34878D82A}">
                    <a16:rowId xmlns:a16="http://schemas.microsoft.com/office/drawing/2014/main" val="10008"/>
                  </a:ext>
                </a:extLst>
              </a:tr>
            </a:tbl>
          </a:graphicData>
        </a:graphic>
      </p:graphicFrame>
      <p:grpSp>
        <p:nvGrpSpPr>
          <p:cNvPr id="6" name="Group 12">
            <a:extLst>
              <a:ext uri="{FF2B5EF4-FFF2-40B4-BE49-F238E27FC236}">
                <a16:creationId xmlns:a16="http://schemas.microsoft.com/office/drawing/2014/main" id="{313D7446-A88C-4D8A-87F8-9B4AE8260340}"/>
              </a:ext>
            </a:extLst>
          </p:cNvPr>
          <p:cNvGrpSpPr>
            <a:grpSpLocks/>
          </p:cNvGrpSpPr>
          <p:nvPr/>
        </p:nvGrpSpPr>
        <p:grpSpPr bwMode="auto">
          <a:xfrm>
            <a:off x="11200352" y="4896078"/>
            <a:ext cx="850089" cy="612629"/>
            <a:chOff x="7554913" y="5679971"/>
            <a:chExt cx="850706" cy="612739"/>
          </a:xfrm>
        </p:grpSpPr>
        <p:sp>
          <p:nvSpPr>
            <p:cNvPr id="7" name="Rectangle 19">
              <a:extLst>
                <a:ext uri="{FF2B5EF4-FFF2-40B4-BE49-F238E27FC236}">
                  <a16:creationId xmlns:a16="http://schemas.microsoft.com/office/drawing/2014/main" id="{B917ABD8-B089-49ED-992B-C4F9D9D3897A}"/>
                </a:ext>
              </a:extLst>
            </p:cNvPr>
            <p:cNvSpPr>
              <a:spLocks noChangeArrowheads="1"/>
            </p:cNvSpPr>
            <p:nvPr/>
          </p:nvSpPr>
          <p:spPr bwMode="auto">
            <a:xfrm>
              <a:off x="7554913" y="5784564"/>
              <a:ext cx="144567" cy="144489"/>
            </a:xfrm>
            <a:prstGeom prst="rect">
              <a:avLst/>
            </a:prstGeom>
            <a:solidFill>
              <a:srgbClr val="0070C0"/>
            </a:solidFill>
            <a:ln w="25400" cap="rnd">
              <a:solidFill>
                <a:srgbClr val="0070C0"/>
              </a:solidFill>
              <a:round/>
              <a:headEnd/>
              <a:tailEnd/>
            </a:ln>
            <a:effectLst/>
          </p:spPr>
          <p:txBody>
            <a:bodyPr lIns="0" rIns="0">
              <a:spAutoFit/>
            </a:bodyPr>
            <a:lstStyle/>
            <a:p>
              <a:pPr marL="0" marR="0" lvl="0" indent="0" algn="ctr" defTabSz="914400" eaLnBrk="0" fontAlgn="base" latinLnBrk="0" hangingPunct="0">
                <a:lnSpc>
                  <a:spcPct val="100000"/>
                </a:lnSpc>
                <a:spcBef>
                  <a:spcPct val="0"/>
                </a:spcBef>
                <a:spcAft>
                  <a:spcPct val="0"/>
                </a:spcAft>
                <a:buClr>
                  <a:srgbClr val="004880"/>
                </a:buClr>
                <a:buSzTx/>
                <a:buFontTx/>
                <a:buNone/>
                <a:tabLst/>
                <a:defRPr/>
              </a:pPr>
              <a:endParaRPr kumimoji="0" lang="en-US" sz="2000" b="1" i="0" u="none" strike="noStrike" kern="0" cap="none" spc="0" normalizeH="0" baseline="0" noProof="0" dirty="0">
                <a:ln>
                  <a:noFill/>
                </a:ln>
                <a:solidFill>
                  <a:srgbClr val="FFFFFF"/>
                </a:solidFill>
                <a:effectLst/>
                <a:uLnTx/>
                <a:uFillTx/>
                <a:latin typeface="GE Inspira Pitch" pitchFamily="34" charset="0"/>
                <a:cs typeface="Times New Roman" pitchFamily="18" charset="0"/>
              </a:endParaRPr>
            </a:p>
          </p:txBody>
        </p:sp>
        <p:sp>
          <p:nvSpPr>
            <p:cNvPr id="8" name="Rectangle 19">
              <a:extLst>
                <a:ext uri="{FF2B5EF4-FFF2-40B4-BE49-F238E27FC236}">
                  <a16:creationId xmlns:a16="http://schemas.microsoft.com/office/drawing/2014/main" id="{D6A90DC0-434C-4DFD-ADC8-9289C1BD49F9}"/>
                </a:ext>
              </a:extLst>
            </p:cNvPr>
            <p:cNvSpPr>
              <a:spLocks noChangeArrowheads="1"/>
            </p:cNvSpPr>
            <p:nvPr/>
          </p:nvSpPr>
          <p:spPr bwMode="auto">
            <a:xfrm>
              <a:off x="7557592" y="6072574"/>
              <a:ext cx="143867" cy="143867"/>
            </a:xfrm>
            <a:prstGeom prst="rect">
              <a:avLst/>
            </a:prstGeom>
            <a:solidFill>
              <a:srgbClr val="C00000"/>
            </a:solidFill>
            <a:ln w="25400" cap="rnd">
              <a:solidFill>
                <a:srgbClr val="C00000"/>
              </a:solidFill>
              <a:round/>
              <a:headEnd/>
              <a:tailEnd/>
            </a:ln>
          </p:spPr>
          <p:txBody>
            <a:bodyPr lIns="0" rIns="0">
              <a:spAutoFit/>
            </a:bodyPr>
            <a:lstStyle>
              <a:lvl1pPr eaLnBrk="0" hangingPunct="0">
                <a:lnSpc>
                  <a:spcPct val="90000"/>
                </a:lnSpc>
                <a:spcBef>
                  <a:spcPct val="50000"/>
                </a:spcBef>
                <a:buClr>
                  <a:srgbClr val="004880"/>
                </a:buClr>
                <a:defRPr sz="2800">
                  <a:solidFill>
                    <a:srgbClr val="1E4191"/>
                  </a:solidFill>
                  <a:latin typeface="GE Inspira" pitchFamily="34" charset="0"/>
                </a:defRPr>
              </a:lvl1pPr>
              <a:lvl2pPr marL="742950" indent="-285750" eaLnBrk="0" hangingPunct="0">
                <a:lnSpc>
                  <a:spcPct val="90000"/>
                </a:lnSpc>
                <a:spcBef>
                  <a:spcPct val="30000"/>
                </a:spcBef>
                <a:buClr>
                  <a:srgbClr val="004880"/>
                </a:buClr>
                <a:buFont typeface="GE Inspira" pitchFamily="34" charset="0"/>
                <a:buChar char="•"/>
                <a:defRPr sz="2800">
                  <a:solidFill>
                    <a:srgbClr val="1E4191"/>
                  </a:solidFill>
                  <a:latin typeface="GE Inspira" pitchFamily="34" charset="0"/>
                </a:defRPr>
              </a:lvl2pPr>
              <a:lvl3pPr marL="1143000" indent="-228600" eaLnBrk="0" hangingPunct="0">
                <a:lnSpc>
                  <a:spcPct val="90000"/>
                </a:lnSpc>
                <a:spcBef>
                  <a:spcPct val="20000"/>
                </a:spcBef>
                <a:buClr>
                  <a:srgbClr val="004880"/>
                </a:buClr>
                <a:buChar char="–"/>
                <a:defRPr sz="2800">
                  <a:solidFill>
                    <a:srgbClr val="1E4191"/>
                  </a:solidFill>
                  <a:latin typeface="GE Inspira" pitchFamily="34" charset="0"/>
                </a:defRPr>
              </a:lvl3pPr>
              <a:lvl4pPr marL="1600200" indent="-228600" eaLnBrk="0" hangingPunct="0">
                <a:lnSpc>
                  <a:spcPct val="90000"/>
                </a:lnSpc>
                <a:spcBef>
                  <a:spcPct val="10000"/>
                </a:spcBef>
                <a:buClr>
                  <a:srgbClr val="004880"/>
                </a:buClr>
                <a:buChar char="–"/>
                <a:defRPr sz="2800">
                  <a:solidFill>
                    <a:srgbClr val="1E4191"/>
                  </a:solidFill>
                  <a:latin typeface="GE Inspira" pitchFamily="34" charset="0"/>
                </a:defRPr>
              </a:lvl4pPr>
              <a:lvl5pPr marL="2057400" indent="-228600" eaLnBrk="0" hangingPunct="0">
                <a:lnSpc>
                  <a:spcPct val="90000"/>
                </a:lnSpc>
                <a:buClr>
                  <a:srgbClr val="004880"/>
                </a:buClr>
                <a:buChar char="–"/>
                <a:defRPr sz="2800">
                  <a:solidFill>
                    <a:srgbClr val="1E4191"/>
                  </a:solidFill>
                  <a:latin typeface="GE Inspira" pitchFamily="34" charset="0"/>
                </a:defRPr>
              </a:lvl5pPr>
              <a:lvl6pPr marL="25146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6pPr>
              <a:lvl7pPr marL="29718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7pPr>
              <a:lvl8pPr marL="34290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8pPr>
              <a:lvl9pPr marL="38862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9pPr>
            </a:lstStyle>
            <a:p>
              <a:pPr marL="0" marR="0" lvl="0" indent="0" algn="ctr" defTabSz="914400" eaLnBrk="1" fontAlgn="base" latinLnBrk="0" hangingPunct="1">
                <a:lnSpc>
                  <a:spcPct val="100000"/>
                </a:lnSpc>
                <a:spcBef>
                  <a:spcPct val="0"/>
                </a:spcBef>
                <a:spcAft>
                  <a:spcPct val="0"/>
                </a:spcAft>
                <a:buClr>
                  <a:srgbClr val="004880"/>
                </a:buClr>
                <a:buSzTx/>
                <a:buFontTx/>
                <a:buNone/>
                <a:tabLst/>
                <a:defRPr/>
              </a:pPr>
              <a:endParaRPr kumimoji="0" lang="en-US" altLang="en-US" sz="2000" b="1" i="0" u="none" strike="noStrike" kern="0" cap="none" spc="0" normalizeH="0" baseline="0" noProof="0" dirty="0">
                <a:ln>
                  <a:noFill/>
                </a:ln>
                <a:solidFill>
                  <a:srgbClr val="FFFFFF"/>
                </a:solidFill>
                <a:effectLst/>
                <a:uLnTx/>
                <a:uFillTx/>
                <a:latin typeface="GE Inspira Pitch" pitchFamily="34" charset="0"/>
                <a:cs typeface="Times New Roman" pitchFamily="18" charset="0"/>
              </a:endParaRPr>
            </a:p>
          </p:txBody>
        </p:sp>
        <p:sp>
          <p:nvSpPr>
            <p:cNvPr id="9" name="Rectangle 8">
              <a:extLst>
                <a:ext uri="{FF2B5EF4-FFF2-40B4-BE49-F238E27FC236}">
                  <a16:creationId xmlns:a16="http://schemas.microsoft.com/office/drawing/2014/main" id="{B05DAA0E-4F90-4A9E-A809-B170BB4ACFCB}"/>
                </a:ext>
              </a:extLst>
            </p:cNvPr>
            <p:cNvSpPr/>
            <p:nvPr/>
          </p:nvSpPr>
          <p:spPr>
            <a:xfrm>
              <a:off x="7701069" y="5679971"/>
              <a:ext cx="704550" cy="307832"/>
            </a:xfrm>
            <a:prstGeom prst="rect">
              <a:avLst/>
            </a:prstGeom>
          </p:spPr>
          <p:txBody>
            <a:bodyPr wrap="none">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GE Inspira Pitch"/>
                  <a:cs typeface="Times New Roman" pitchFamily="18" charset="0"/>
                </a:rPr>
                <a:t>Power </a:t>
              </a:r>
            </a:p>
          </p:txBody>
        </p:sp>
        <p:sp>
          <p:nvSpPr>
            <p:cNvPr id="10" name="Rectangle 16">
              <a:extLst>
                <a:ext uri="{FF2B5EF4-FFF2-40B4-BE49-F238E27FC236}">
                  <a16:creationId xmlns:a16="http://schemas.microsoft.com/office/drawing/2014/main" id="{6AD2B177-1F2F-478C-B33C-8FA1B409ADB8}"/>
                </a:ext>
              </a:extLst>
            </p:cNvPr>
            <p:cNvSpPr>
              <a:spLocks noChangeArrowheads="1"/>
            </p:cNvSpPr>
            <p:nvPr/>
          </p:nvSpPr>
          <p:spPr bwMode="auto">
            <a:xfrm>
              <a:off x="7700430" y="5984878"/>
              <a:ext cx="693321" cy="307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ct val="50000"/>
                </a:spcBef>
                <a:buClr>
                  <a:srgbClr val="004880"/>
                </a:buClr>
                <a:defRPr sz="2800">
                  <a:solidFill>
                    <a:srgbClr val="1E4191"/>
                  </a:solidFill>
                  <a:latin typeface="GE Inspira" pitchFamily="34" charset="0"/>
                </a:defRPr>
              </a:lvl1pPr>
              <a:lvl2pPr marL="742950" indent="-285750" eaLnBrk="0" hangingPunct="0">
                <a:lnSpc>
                  <a:spcPct val="90000"/>
                </a:lnSpc>
                <a:spcBef>
                  <a:spcPct val="30000"/>
                </a:spcBef>
                <a:buClr>
                  <a:srgbClr val="004880"/>
                </a:buClr>
                <a:buFont typeface="GE Inspira" pitchFamily="34" charset="0"/>
                <a:buChar char="•"/>
                <a:defRPr sz="2800">
                  <a:solidFill>
                    <a:srgbClr val="1E4191"/>
                  </a:solidFill>
                  <a:latin typeface="GE Inspira" pitchFamily="34" charset="0"/>
                </a:defRPr>
              </a:lvl2pPr>
              <a:lvl3pPr marL="1143000" indent="-228600" eaLnBrk="0" hangingPunct="0">
                <a:lnSpc>
                  <a:spcPct val="90000"/>
                </a:lnSpc>
                <a:spcBef>
                  <a:spcPct val="20000"/>
                </a:spcBef>
                <a:buClr>
                  <a:srgbClr val="004880"/>
                </a:buClr>
                <a:buChar char="–"/>
                <a:defRPr sz="2800">
                  <a:solidFill>
                    <a:srgbClr val="1E4191"/>
                  </a:solidFill>
                  <a:latin typeface="GE Inspira" pitchFamily="34" charset="0"/>
                </a:defRPr>
              </a:lvl3pPr>
              <a:lvl4pPr marL="1600200" indent="-228600" eaLnBrk="0" hangingPunct="0">
                <a:lnSpc>
                  <a:spcPct val="90000"/>
                </a:lnSpc>
                <a:spcBef>
                  <a:spcPct val="10000"/>
                </a:spcBef>
                <a:buClr>
                  <a:srgbClr val="004880"/>
                </a:buClr>
                <a:buChar char="–"/>
                <a:defRPr sz="2800">
                  <a:solidFill>
                    <a:srgbClr val="1E4191"/>
                  </a:solidFill>
                  <a:latin typeface="GE Inspira" pitchFamily="34" charset="0"/>
                </a:defRPr>
              </a:lvl4pPr>
              <a:lvl5pPr marL="2057400" indent="-228600" eaLnBrk="0" hangingPunct="0">
                <a:lnSpc>
                  <a:spcPct val="90000"/>
                </a:lnSpc>
                <a:buClr>
                  <a:srgbClr val="004880"/>
                </a:buClr>
                <a:buChar char="–"/>
                <a:defRPr sz="2800">
                  <a:solidFill>
                    <a:srgbClr val="1E4191"/>
                  </a:solidFill>
                  <a:latin typeface="GE Inspira" pitchFamily="34" charset="0"/>
                </a:defRPr>
              </a:lvl5pPr>
              <a:lvl6pPr marL="25146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6pPr>
              <a:lvl7pPr marL="29718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7pPr>
              <a:lvl8pPr marL="34290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8pPr>
              <a:lvl9pPr marL="38862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1400" b="1" i="0" u="none" strike="noStrike" kern="0" cap="none" spc="0" normalizeH="0" baseline="0" noProof="0" dirty="0">
                  <a:ln>
                    <a:noFill/>
                  </a:ln>
                  <a:solidFill>
                    <a:srgbClr val="C00000"/>
                  </a:solidFill>
                  <a:effectLst/>
                  <a:uLnTx/>
                  <a:uFillTx/>
                  <a:latin typeface="GE Inspira Pitch"/>
                  <a:cs typeface="Times New Roman" pitchFamily="18" charset="0"/>
                </a:rPr>
                <a:t>Energy</a:t>
              </a:r>
            </a:p>
          </p:txBody>
        </p:sp>
      </p:grpSp>
      <p:sp>
        <p:nvSpPr>
          <p:cNvPr id="11" name="Rectangle 19">
            <a:extLst>
              <a:ext uri="{FF2B5EF4-FFF2-40B4-BE49-F238E27FC236}">
                <a16:creationId xmlns:a16="http://schemas.microsoft.com/office/drawing/2014/main" id="{E745D172-DEEE-41B1-B44D-13663E639FE1}"/>
              </a:ext>
            </a:extLst>
          </p:cNvPr>
          <p:cNvSpPr>
            <a:spLocks noChangeArrowheads="1"/>
          </p:cNvSpPr>
          <p:nvPr/>
        </p:nvSpPr>
        <p:spPr bwMode="auto">
          <a:xfrm>
            <a:off x="0" y="5770711"/>
            <a:ext cx="12192000" cy="400110"/>
          </a:xfrm>
          <a:prstGeom prst="rect">
            <a:avLst/>
          </a:prstGeom>
          <a:solidFill>
            <a:srgbClr val="1E4191"/>
          </a:solidFill>
          <a:ln w="25400" cap="rnd">
            <a:solidFill>
              <a:srgbClr val="1E4191"/>
            </a:solidFill>
            <a:round/>
            <a:headEnd/>
            <a:tailEnd/>
          </a:ln>
        </p:spPr>
        <p:txBody>
          <a:bodyPr wrap="square" lIns="45720" rIns="45720">
            <a:spAutoFit/>
          </a:bodyPr>
          <a:lstStyle>
            <a:lvl1pPr eaLnBrk="0" hangingPunct="0">
              <a:lnSpc>
                <a:spcPct val="90000"/>
              </a:lnSpc>
              <a:spcBef>
                <a:spcPct val="50000"/>
              </a:spcBef>
              <a:buClr>
                <a:srgbClr val="004880"/>
              </a:buClr>
              <a:defRPr sz="2800">
                <a:solidFill>
                  <a:srgbClr val="1E4191"/>
                </a:solidFill>
                <a:latin typeface="GE Inspira" pitchFamily="34" charset="0"/>
              </a:defRPr>
            </a:lvl1pPr>
            <a:lvl2pPr marL="742950" indent="-285750" eaLnBrk="0" hangingPunct="0">
              <a:lnSpc>
                <a:spcPct val="90000"/>
              </a:lnSpc>
              <a:spcBef>
                <a:spcPct val="30000"/>
              </a:spcBef>
              <a:buClr>
                <a:srgbClr val="004880"/>
              </a:buClr>
              <a:buFont typeface="GE Inspira" pitchFamily="34" charset="0"/>
              <a:buChar char="•"/>
              <a:defRPr sz="2800">
                <a:solidFill>
                  <a:srgbClr val="1E4191"/>
                </a:solidFill>
                <a:latin typeface="GE Inspira" pitchFamily="34" charset="0"/>
              </a:defRPr>
            </a:lvl2pPr>
            <a:lvl3pPr marL="1143000" indent="-228600" eaLnBrk="0" hangingPunct="0">
              <a:lnSpc>
                <a:spcPct val="90000"/>
              </a:lnSpc>
              <a:spcBef>
                <a:spcPct val="20000"/>
              </a:spcBef>
              <a:buClr>
                <a:srgbClr val="004880"/>
              </a:buClr>
              <a:buChar char="–"/>
              <a:defRPr sz="2800">
                <a:solidFill>
                  <a:srgbClr val="1E4191"/>
                </a:solidFill>
                <a:latin typeface="GE Inspira" pitchFamily="34" charset="0"/>
              </a:defRPr>
            </a:lvl3pPr>
            <a:lvl4pPr marL="1600200" indent="-228600" eaLnBrk="0" hangingPunct="0">
              <a:lnSpc>
                <a:spcPct val="90000"/>
              </a:lnSpc>
              <a:spcBef>
                <a:spcPct val="10000"/>
              </a:spcBef>
              <a:buClr>
                <a:srgbClr val="004880"/>
              </a:buClr>
              <a:buChar char="–"/>
              <a:defRPr sz="2800">
                <a:solidFill>
                  <a:srgbClr val="1E4191"/>
                </a:solidFill>
                <a:latin typeface="GE Inspira" pitchFamily="34" charset="0"/>
              </a:defRPr>
            </a:lvl4pPr>
            <a:lvl5pPr marL="2057400" indent="-228600" eaLnBrk="0" hangingPunct="0">
              <a:lnSpc>
                <a:spcPct val="90000"/>
              </a:lnSpc>
              <a:buClr>
                <a:srgbClr val="004880"/>
              </a:buClr>
              <a:buChar char="–"/>
              <a:defRPr sz="2800">
                <a:solidFill>
                  <a:srgbClr val="1E4191"/>
                </a:solidFill>
                <a:latin typeface="GE Inspira" pitchFamily="34" charset="0"/>
              </a:defRPr>
            </a:lvl5pPr>
            <a:lvl6pPr marL="25146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6pPr>
            <a:lvl7pPr marL="29718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7pPr>
            <a:lvl8pPr marL="34290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8pPr>
            <a:lvl9pPr marL="38862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9pPr>
          </a:lstStyle>
          <a:p>
            <a:pPr marL="0" marR="0" lvl="0" indent="0" algn="ctr" defTabSz="914400" eaLnBrk="1" fontAlgn="base" latinLnBrk="0" hangingPunct="1">
              <a:lnSpc>
                <a:spcPct val="100000"/>
              </a:lnSpc>
              <a:spcBef>
                <a:spcPct val="0"/>
              </a:spcBef>
              <a:spcAft>
                <a:spcPct val="0"/>
              </a:spcAft>
              <a:buClr>
                <a:srgbClr val="004880"/>
              </a:buClr>
              <a:buSzTx/>
              <a:buFontTx/>
              <a:buNone/>
              <a:tabLst/>
              <a:defRPr/>
            </a:pPr>
            <a:r>
              <a:rPr kumimoji="0" lang="en-US" altLang="en-US" sz="2000" b="1" i="0" u="none" strike="noStrike" kern="0" cap="none" spc="0" normalizeH="0" baseline="0" noProof="0" dirty="0">
                <a:ln>
                  <a:noFill/>
                </a:ln>
                <a:solidFill>
                  <a:srgbClr val="FFFFFF"/>
                </a:solidFill>
                <a:effectLst/>
                <a:uLnTx/>
                <a:uFillTx/>
                <a:latin typeface="GE Inspira Pitch" pitchFamily="34" charset="0"/>
                <a:cs typeface="Times New Roman" pitchFamily="18" charset="0"/>
              </a:rPr>
              <a:t>The cost of storage should be compared against conventional approaches</a:t>
            </a:r>
          </a:p>
        </p:txBody>
      </p:sp>
      <p:sp>
        <p:nvSpPr>
          <p:cNvPr id="12" name="TextBox 21">
            <a:extLst>
              <a:ext uri="{FF2B5EF4-FFF2-40B4-BE49-F238E27FC236}">
                <a16:creationId xmlns:a16="http://schemas.microsoft.com/office/drawing/2014/main" id="{B8243C3B-5F66-4384-8CBE-213B7BB056E1}"/>
              </a:ext>
            </a:extLst>
          </p:cNvPr>
          <p:cNvSpPr txBox="1"/>
          <p:nvPr/>
        </p:nvSpPr>
        <p:spPr>
          <a:xfrm>
            <a:off x="3840480" y="6399982"/>
            <a:ext cx="5765074" cy="247839"/>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GE Inspira Sans"/>
                <a:ea typeface="+mn-ea"/>
                <a:cs typeface="+mn-cs"/>
              </a:rPr>
              <a:t>© 2021 General Electric Company. </a:t>
            </a:r>
          </a:p>
        </p:txBody>
      </p:sp>
    </p:spTree>
    <p:extLst>
      <p:ext uri="{BB962C8B-B14F-4D97-AF65-F5344CB8AC3E}">
        <p14:creationId xmlns:p14="http://schemas.microsoft.com/office/powerpoint/2010/main" val="292848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85CEFF-64C3-4347-AA09-E69FEFCF7894}"/>
              </a:ext>
            </a:extLst>
          </p:cNvPr>
          <p:cNvSpPr>
            <a:spLocks noGrp="1"/>
          </p:cNvSpPr>
          <p:nvPr>
            <p:ph type="dt" sz="half" idx="10"/>
          </p:nvPr>
        </p:nvSpPr>
        <p:spPr/>
        <p:txBody>
          <a:bodyPr/>
          <a:lstStyle/>
          <a:p>
            <a:fld id="{847652F8-2028-47EC-8E89-6F1BC4534984}" type="datetime4">
              <a:rPr lang="en-US" smtClean="0"/>
              <a:t>October 18, 2021</a:t>
            </a:fld>
            <a:endParaRPr lang="en-CA" dirty="0"/>
          </a:p>
        </p:txBody>
      </p:sp>
      <p:sp>
        <p:nvSpPr>
          <p:cNvPr id="3" name="Slide Number Placeholder 2">
            <a:extLst>
              <a:ext uri="{FF2B5EF4-FFF2-40B4-BE49-F238E27FC236}">
                <a16:creationId xmlns:a16="http://schemas.microsoft.com/office/drawing/2014/main" id="{7F367207-ED8C-4313-8676-B4CA93C9ED10}"/>
              </a:ext>
            </a:extLst>
          </p:cNvPr>
          <p:cNvSpPr>
            <a:spLocks noGrp="1"/>
          </p:cNvSpPr>
          <p:nvPr>
            <p:ph type="sldNum" sz="quarter" idx="12"/>
          </p:nvPr>
        </p:nvSpPr>
        <p:spPr/>
        <p:txBody>
          <a:bodyPr/>
          <a:lstStyle/>
          <a:p>
            <a:fld id="{00E6A5BD-C011-4A45-AA3A-201790FB7F2B}" type="slidenum">
              <a:rPr lang="en-CA" smtClean="0"/>
              <a:pPr/>
              <a:t>15</a:t>
            </a:fld>
            <a:endParaRPr lang="en-CA" dirty="0"/>
          </a:p>
        </p:txBody>
      </p:sp>
      <p:sp>
        <p:nvSpPr>
          <p:cNvPr id="5" name="Rectangle 3">
            <a:extLst>
              <a:ext uri="{FF2B5EF4-FFF2-40B4-BE49-F238E27FC236}">
                <a16:creationId xmlns:a16="http://schemas.microsoft.com/office/drawing/2014/main" id="{98AF76B0-8BFF-457A-AA6B-D00AD725D95B}"/>
              </a:ext>
            </a:extLst>
          </p:cNvPr>
          <p:cNvSpPr>
            <a:spLocks noChangeArrowheads="1"/>
          </p:cNvSpPr>
          <p:nvPr/>
        </p:nvSpPr>
        <p:spPr bwMode="auto">
          <a:xfrm>
            <a:off x="219075" y="265113"/>
            <a:ext cx="8810625" cy="998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nSpc>
                <a:spcPct val="90000"/>
              </a:lnSpc>
              <a:defRPr/>
            </a:pPr>
            <a:r>
              <a:rPr lang="en-US" sz="3200" b="1" dirty="0">
                <a:latin typeface="GE Inspira Pitch" pitchFamily="34" charset="0"/>
              </a:rPr>
              <a:t>Operations</a:t>
            </a:r>
            <a:r>
              <a:rPr lang="en-US" sz="3200" b="1" dirty="0">
                <a:solidFill>
                  <a:srgbClr val="1E4191"/>
                </a:solidFill>
                <a:latin typeface="GE Inspira Pitch" pitchFamily="34" charset="0"/>
              </a:rPr>
              <a:t> </a:t>
            </a:r>
            <a:r>
              <a:rPr lang="en-US" sz="3200" b="1" dirty="0">
                <a:solidFill>
                  <a:schemeClr val="accent1"/>
                </a:solidFill>
                <a:latin typeface="GE Inspira Pitch" pitchFamily="34" charset="0"/>
              </a:rPr>
              <a:t>… </a:t>
            </a:r>
            <a:r>
              <a:rPr lang="en-US" sz="2200" b="1" dirty="0">
                <a:solidFill>
                  <a:schemeClr val="accent1"/>
                </a:solidFill>
                <a:latin typeface="GE Inspira Pitch" pitchFamily="34" charset="0"/>
              </a:rPr>
              <a:t>Capacity, Ancillary Services (Reserve/Regulation)</a:t>
            </a:r>
          </a:p>
        </p:txBody>
      </p:sp>
      <p:grpSp>
        <p:nvGrpSpPr>
          <p:cNvPr id="10" name="Group 9">
            <a:extLst>
              <a:ext uri="{FF2B5EF4-FFF2-40B4-BE49-F238E27FC236}">
                <a16:creationId xmlns:a16="http://schemas.microsoft.com/office/drawing/2014/main" id="{B2B84F3A-D49A-4D1F-BA7C-9180470A02FF}"/>
              </a:ext>
            </a:extLst>
          </p:cNvPr>
          <p:cNvGrpSpPr/>
          <p:nvPr/>
        </p:nvGrpSpPr>
        <p:grpSpPr>
          <a:xfrm>
            <a:off x="496001" y="830312"/>
            <a:ext cx="7819662" cy="4939951"/>
            <a:chOff x="244475" y="742950"/>
            <a:chExt cx="8488363" cy="5715000"/>
          </a:xfrm>
        </p:grpSpPr>
        <p:pic>
          <p:nvPicPr>
            <p:cNvPr id="6" name="Picture 3" descr="SmartGrid_Updated2.tif">
              <a:extLst>
                <a:ext uri="{FF2B5EF4-FFF2-40B4-BE49-F238E27FC236}">
                  <a16:creationId xmlns:a16="http://schemas.microsoft.com/office/drawing/2014/main" id="{E077B977-9EDA-402C-8AAD-105A0BCF4003}"/>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4025" y="868363"/>
              <a:ext cx="8235950" cy="558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val 3">
              <a:extLst>
                <a:ext uri="{FF2B5EF4-FFF2-40B4-BE49-F238E27FC236}">
                  <a16:creationId xmlns:a16="http://schemas.microsoft.com/office/drawing/2014/main" id="{31DE8186-5C1B-4F6F-AE68-EC356159430A}"/>
                </a:ext>
              </a:extLst>
            </p:cNvPr>
            <p:cNvSpPr>
              <a:spLocks noChangeArrowheads="1"/>
            </p:cNvSpPr>
            <p:nvPr/>
          </p:nvSpPr>
          <p:spPr bwMode="auto">
            <a:xfrm>
              <a:off x="244475" y="742950"/>
              <a:ext cx="2063750" cy="1595438"/>
            </a:xfrm>
            <a:prstGeom prst="ellipse">
              <a:avLst/>
            </a:prstGeom>
            <a:noFill/>
            <a:ln w="28575">
              <a:solidFill>
                <a:schemeClr val="accent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solidFill>
                  <a:schemeClr val="accent1"/>
                </a:solidFill>
              </a:endParaRPr>
            </a:p>
          </p:txBody>
        </p:sp>
        <p:sp>
          <p:nvSpPr>
            <p:cNvPr id="8" name="Oval 3">
              <a:extLst>
                <a:ext uri="{FF2B5EF4-FFF2-40B4-BE49-F238E27FC236}">
                  <a16:creationId xmlns:a16="http://schemas.microsoft.com/office/drawing/2014/main" id="{67CFEE93-58D1-4514-948B-A3CFBAFF10E2}"/>
                </a:ext>
              </a:extLst>
            </p:cNvPr>
            <p:cNvSpPr>
              <a:spLocks noChangeArrowheads="1"/>
            </p:cNvSpPr>
            <p:nvPr/>
          </p:nvSpPr>
          <p:spPr bwMode="auto">
            <a:xfrm>
              <a:off x="6929438" y="1392238"/>
              <a:ext cx="1803400" cy="1395412"/>
            </a:xfrm>
            <a:prstGeom prst="ellipse">
              <a:avLst/>
            </a:prstGeom>
            <a:noFill/>
            <a:ln w="28575">
              <a:solidFill>
                <a:schemeClr val="accent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p>
          </p:txBody>
        </p:sp>
        <p:sp>
          <p:nvSpPr>
            <p:cNvPr id="9" name="Oval 3">
              <a:extLst>
                <a:ext uri="{FF2B5EF4-FFF2-40B4-BE49-F238E27FC236}">
                  <a16:creationId xmlns:a16="http://schemas.microsoft.com/office/drawing/2014/main" id="{AA9EBD80-E2EA-4943-8953-DCABEE42F9A9}"/>
                </a:ext>
              </a:extLst>
            </p:cNvPr>
            <p:cNvSpPr>
              <a:spLocks noChangeArrowheads="1"/>
            </p:cNvSpPr>
            <p:nvPr/>
          </p:nvSpPr>
          <p:spPr bwMode="auto">
            <a:xfrm>
              <a:off x="2843213" y="4854575"/>
              <a:ext cx="989012" cy="742950"/>
            </a:xfrm>
            <a:prstGeom prst="ellipse">
              <a:avLst/>
            </a:prstGeom>
            <a:noFill/>
            <a:ln w="28575">
              <a:solidFill>
                <a:srgbClr val="0070C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p>
          </p:txBody>
        </p:sp>
      </p:grpSp>
      <p:sp>
        <p:nvSpPr>
          <p:cNvPr id="12" name="TextBox 11">
            <a:extLst>
              <a:ext uri="{FF2B5EF4-FFF2-40B4-BE49-F238E27FC236}">
                <a16:creationId xmlns:a16="http://schemas.microsoft.com/office/drawing/2014/main" id="{0782B50B-6F41-49AA-B9E3-E01A256401FA}"/>
              </a:ext>
            </a:extLst>
          </p:cNvPr>
          <p:cNvSpPr txBox="1"/>
          <p:nvPr/>
        </p:nvSpPr>
        <p:spPr>
          <a:xfrm>
            <a:off x="8559732" y="764381"/>
            <a:ext cx="2943225" cy="246221"/>
          </a:xfrm>
          <a:prstGeom prst="rect">
            <a:avLst/>
          </a:prstGeom>
          <a:solidFill>
            <a:schemeClr val="accent1">
              <a:lumMod val="75000"/>
            </a:schemeClr>
          </a:solidFill>
          <a:ln>
            <a:solidFill>
              <a:schemeClr val="tx1"/>
            </a:solidFill>
          </a:ln>
        </p:spPr>
        <p:txBody>
          <a:bodyPr wrap="square" lIns="0" tIns="0" rIns="0" bIns="0" rtlCol="0">
            <a:spAutoFit/>
          </a:bodyPr>
          <a:lstStyle/>
          <a:p>
            <a:r>
              <a:rPr lang="en-US" sz="1600" dirty="0">
                <a:solidFill>
                  <a:schemeClr val="bg1"/>
                </a:solidFill>
              </a:rPr>
              <a:t> Energy Arbitrage</a:t>
            </a:r>
          </a:p>
        </p:txBody>
      </p:sp>
      <p:sp>
        <p:nvSpPr>
          <p:cNvPr id="13" name="TextBox 12">
            <a:extLst>
              <a:ext uri="{FF2B5EF4-FFF2-40B4-BE49-F238E27FC236}">
                <a16:creationId xmlns:a16="http://schemas.microsoft.com/office/drawing/2014/main" id="{97482541-B1BE-493C-91E7-7068C6B9F043}"/>
              </a:ext>
            </a:extLst>
          </p:cNvPr>
          <p:cNvSpPr txBox="1"/>
          <p:nvPr/>
        </p:nvSpPr>
        <p:spPr>
          <a:xfrm>
            <a:off x="8559732" y="1015253"/>
            <a:ext cx="2943225" cy="553998"/>
          </a:xfrm>
          <a:prstGeom prst="rect">
            <a:avLst/>
          </a:prstGeom>
          <a:noFill/>
          <a:ln>
            <a:solidFill>
              <a:schemeClr val="tx1"/>
            </a:solidFill>
          </a:ln>
        </p:spPr>
        <p:txBody>
          <a:bodyPr wrap="square" lIns="0" tIns="0" rIns="0" bIns="0" rtlCol="0">
            <a:spAutoFit/>
          </a:bodyPr>
          <a:lstStyle/>
          <a:p>
            <a:r>
              <a:rPr lang="en-US" sz="1200" dirty="0"/>
              <a:t> Storage system size range: 1 – 500 MW</a:t>
            </a:r>
          </a:p>
          <a:p>
            <a:r>
              <a:rPr lang="en-US" sz="1200" dirty="0"/>
              <a:t> Discharge duration range: &lt; 1 hour</a:t>
            </a:r>
          </a:p>
          <a:p>
            <a:r>
              <a:rPr lang="en-US" sz="1200" dirty="0"/>
              <a:t> Minimum cycles/year: 250 +</a:t>
            </a:r>
            <a:endParaRPr lang="en-US" sz="1200" dirty="0">
              <a:solidFill>
                <a:schemeClr val="accent2"/>
              </a:solidFill>
            </a:endParaRPr>
          </a:p>
        </p:txBody>
      </p:sp>
      <p:sp>
        <p:nvSpPr>
          <p:cNvPr id="14" name="TextBox 13">
            <a:extLst>
              <a:ext uri="{FF2B5EF4-FFF2-40B4-BE49-F238E27FC236}">
                <a16:creationId xmlns:a16="http://schemas.microsoft.com/office/drawing/2014/main" id="{D61EF0D7-0D4F-4AF9-918B-A371A50166F7}"/>
              </a:ext>
            </a:extLst>
          </p:cNvPr>
          <p:cNvSpPr txBox="1"/>
          <p:nvPr/>
        </p:nvSpPr>
        <p:spPr>
          <a:xfrm>
            <a:off x="8559732" y="1780654"/>
            <a:ext cx="2943225" cy="246221"/>
          </a:xfrm>
          <a:prstGeom prst="rect">
            <a:avLst/>
          </a:prstGeom>
          <a:solidFill>
            <a:schemeClr val="accent1">
              <a:lumMod val="75000"/>
            </a:schemeClr>
          </a:solidFill>
          <a:ln>
            <a:solidFill>
              <a:schemeClr val="tx1"/>
            </a:solidFill>
          </a:ln>
        </p:spPr>
        <p:txBody>
          <a:bodyPr wrap="square" lIns="0" tIns="0" rIns="0" bIns="0" rtlCol="0">
            <a:spAutoFit/>
          </a:bodyPr>
          <a:lstStyle/>
          <a:p>
            <a:r>
              <a:rPr lang="en-US" sz="1600" dirty="0">
                <a:solidFill>
                  <a:schemeClr val="bg1"/>
                </a:solidFill>
              </a:rPr>
              <a:t> Generation Capacity Deferment</a:t>
            </a:r>
          </a:p>
        </p:txBody>
      </p:sp>
      <p:sp>
        <p:nvSpPr>
          <p:cNvPr id="15" name="TextBox 14">
            <a:extLst>
              <a:ext uri="{FF2B5EF4-FFF2-40B4-BE49-F238E27FC236}">
                <a16:creationId xmlns:a16="http://schemas.microsoft.com/office/drawing/2014/main" id="{8909861D-C6BB-4E9E-9221-9E2354962E76}"/>
              </a:ext>
            </a:extLst>
          </p:cNvPr>
          <p:cNvSpPr txBox="1"/>
          <p:nvPr/>
        </p:nvSpPr>
        <p:spPr>
          <a:xfrm>
            <a:off x="8559732" y="2031526"/>
            <a:ext cx="2943225" cy="553998"/>
          </a:xfrm>
          <a:prstGeom prst="rect">
            <a:avLst/>
          </a:prstGeom>
          <a:noFill/>
          <a:ln>
            <a:solidFill>
              <a:schemeClr val="tx1"/>
            </a:solidFill>
          </a:ln>
        </p:spPr>
        <p:txBody>
          <a:bodyPr wrap="square" lIns="0" tIns="0" rIns="0" bIns="0" rtlCol="0">
            <a:spAutoFit/>
          </a:bodyPr>
          <a:lstStyle/>
          <a:p>
            <a:r>
              <a:rPr lang="en-US" sz="1200" dirty="0"/>
              <a:t> Storage system size range: 1 – 500 MW</a:t>
            </a:r>
          </a:p>
          <a:p>
            <a:r>
              <a:rPr lang="en-US" sz="1200" dirty="0"/>
              <a:t> Discharge duration range: 2 – 6 hours</a:t>
            </a:r>
          </a:p>
          <a:p>
            <a:r>
              <a:rPr lang="en-US" sz="1200" dirty="0"/>
              <a:t> Minimum cycles/year: 5 - 100</a:t>
            </a:r>
            <a:endParaRPr lang="en-US" sz="1200" dirty="0">
              <a:solidFill>
                <a:schemeClr val="accent2"/>
              </a:solidFill>
            </a:endParaRPr>
          </a:p>
        </p:txBody>
      </p:sp>
      <p:sp>
        <p:nvSpPr>
          <p:cNvPr id="16" name="TextBox 15">
            <a:extLst>
              <a:ext uri="{FF2B5EF4-FFF2-40B4-BE49-F238E27FC236}">
                <a16:creationId xmlns:a16="http://schemas.microsoft.com/office/drawing/2014/main" id="{B07BE173-667B-4818-9DD6-616DB2CB1815}"/>
              </a:ext>
            </a:extLst>
          </p:cNvPr>
          <p:cNvSpPr txBox="1"/>
          <p:nvPr/>
        </p:nvSpPr>
        <p:spPr>
          <a:xfrm>
            <a:off x="8559732" y="2798663"/>
            <a:ext cx="2943225" cy="246221"/>
          </a:xfrm>
          <a:prstGeom prst="rect">
            <a:avLst/>
          </a:prstGeom>
          <a:solidFill>
            <a:schemeClr val="accent1">
              <a:lumMod val="75000"/>
            </a:schemeClr>
          </a:solidFill>
          <a:ln>
            <a:solidFill>
              <a:schemeClr val="tx1"/>
            </a:solidFill>
          </a:ln>
        </p:spPr>
        <p:txBody>
          <a:bodyPr wrap="square" lIns="0" tIns="0" rIns="0" bIns="0" rtlCol="0">
            <a:spAutoFit/>
          </a:bodyPr>
          <a:lstStyle/>
          <a:p>
            <a:r>
              <a:rPr lang="en-US" sz="1600" dirty="0">
                <a:solidFill>
                  <a:schemeClr val="bg1"/>
                </a:solidFill>
              </a:rPr>
              <a:t> Reserves</a:t>
            </a:r>
          </a:p>
        </p:txBody>
      </p:sp>
      <p:sp>
        <p:nvSpPr>
          <p:cNvPr id="17" name="TextBox 16">
            <a:extLst>
              <a:ext uri="{FF2B5EF4-FFF2-40B4-BE49-F238E27FC236}">
                <a16:creationId xmlns:a16="http://schemas.microsoft.com/office/drawing/2014/main" id="{76B92E09-3C22-472B-BFF0-31947D15965A}"/>
              </a:ext>
            </a:extLst>
          </p:cNvPr>
          <p:cNvSpPr txBox="1"/>
          <p:nvPr/>
        </p:nvSpPr>
        <p:spPr>
          <a:xfrm>
            <a:off x="8559732" y="3049535"/>
            <a:ext cx="2943225" cy="553998"/>
          </a:xfrm>
          <a:prstGeom prst="rect">
            <a:avLst/>
          </a:prstGeom>
          <a:noFill/>
          <a:ln>
            <a:solidFill>
              <a:schemeClr val="tx1"/>
            </a:solidFill>
          </a:ln>
        </p:spPr>
        <p:txBody>
          <a:bodyPr wrap="square" lIns="0" tIns="0" rIns="0" bIns="0" rtlCol="0">
            <a:spAutoFit/>
          </a:bodyPr>
          <a:lstStyle/>
          <a:p>
            <a:r>
              <a:rPr lang="en-US" sz="1200" dirty="0"/>
              <a:t> Storage system size range: 10 - 100MW</a:t>
            </a:r>
          </a:p>
          <a:p>
            <a:r>
              <a:rPr lang="en-US" sz="1200" dirty="0"/>
              <a:t> Discharge duration range: 15 min. – 1 hour</a:t>
            </a:r>
          </a:p>
          <a:p>
            <a:r>
              <a:rPr lang="en-US" sz="1200" dirty="0"/>
              <a:t> Minimum cycles/year: 20 - 50</a:t>
            </a:r>
            <a:endParaRPr lang="en-US" sz="1200" dirty="0">
              <a:solidFill>
                <a:schemeClr val="accent2"/>
              </a:solidFill>
            </a:endParaRPr>
          </a:p>
        </p:txBody>
      </p:sp>
      <p:sp>
        <p:nvSpPr>
          <p:cNvPr id="18" name="TextBox 17">
            <a:extLst>
              <a:ext uri="{FF2B5EF4-FFF2-40B4-BE49-F238E27FC236}">
                <a16:creationId xmlns:a16="http://schemas.microsoft.com/office/drawing/2014/main" id="{0A1BC215-03A7-48AD-982D-CF57E095DB96}"/>
              </a:ext>
            </a:extLst>
          </p:cNvPr>
          <p:cNvSpPr txBox="1"/>
          <p:nvPr/>
        </p:nvSpPr>
        <p:spPr>
          <a:xfrm>
            <a:off x="8559732" y="3860766"/>
            <a:ext cx="2943225" cy="246221"/>
          </a:xfrm>
          <a:prstGeom prst="rect">
            <a:avLst/>
          </a:prstGeom>
          <a:solidFill>
            <a:schemeClr val="accent4">
              <a:lumMod val="75000"/>
              <a:lumOff val="25000"/>
            </a:schemeClr>
          </a:solidFill>
          <a:ln>
            <a:solidFill>
              <a:schemeClr val="tx1"/>
            </a:solidFill>
          </a:ln>
        </p:spPr>
        <p:txBody>
          <a:bodyPr wrap="square" lIns="0" tIns="0" rIns="0" bIns="0" rtlCol="0">
            <a:spAutoFit/>
          </a:bodyPr>
          <a:lstStyle/>
          <a:p>
            <a:r>
              <a:rPr lang="en-US" sz="1600" dirty="0">
                <a:solidFill>
                  <a:schemeClr val="bg1"/>
                </a:solidFill>
              </a:rPr>
              <a:t> Regulation </a:t>
            </a:r>
            <a:r>
              <a:rPr lang="en-US" sz="1600" dirty="0">
                <a:solidFill>
                  <a:schemeClr val="accent2"/>
                </a:solidFill>
              </a:rPr>
              <a:t>…</a:t>
            </a:r>
          </a:p>
        </p:txBody>
      </p:sp>
      <p:sp>
        <p:nvSpPr>
          <p:cNvPr id="19" name="TextBox 18">
            <a:extLst>
              <a:ext uri="{FF2B5EF4-FFF2-40B4-BE49-F238E27FC236}">
                <a16:creationId xmlns:a16="http://schemas.microsoft.com/office/drawing/2014/main" id="{0F4125D0-38A8-4B96-9789-F782F26D7D54}"/>
              </a:ext>
            </a:extLst>
          </p:cNvPr>
          <p:cNvSpPr txBox="1"/>
          <p:nvPr/>
        </p:nvSpPr>
        <p:spPr>
          <a:xfrm>
            <a:off x="8559732" y="4111638"/>
            <a:ext cx="2943225" cy="553998"/>
          </a:xfrm>
          <a:prstGeom prst="rect">
            <a:avLst/>
          </a:prstGeom>
          <a:noFill/>
          <a:ln>
            <a:solidFill>
              <a:schemeClr val="tx1"/>
            </a:solidFill>
          </a:ln>
        </p:spPr>
        <p:txBody>
          <a:bodyPr wrap="square" lIns="0" tIns="0" rIns="0" bIns="0" rtlCol="0">
            <a:spAutoFit/>
          </a:bodyPr>
          <a:lstStyle/>
          <a:p>
            <a:r>
              <a:rPr lang="en-US" sz="1200" dirty="0"/>
              <a:t> Storage system size range: 10 - 40MW</a:t>
            </a:r>
          </a:p>
          <a:p>
            <a:r>
              <a:rPr lang="en-US" sz="1200" dirty="0"/>
              <a:t> Discharge duration range: 15 min. – 1 hour</a:t>
            </a:r>
          </a:p>
          <a:p>
            <a:r>
              <a:rPr lang="en-US" sz="1200" dirty="0"/>
              <a:t> Minimum cycles/year: 250-10,000</a:t>
            </a:r>
            <a:endParaRPr lang="en-US" sz="1200" dirty="0">
              <a:solidFill>
                <a:schemeClr val="accent2"/>
              </a:solidFill>
            </a:endParaRPr>
          </a:p>
        </p:txBody>
      </p:sp>
      <p:sp>
        <p:nvSpPr>
          <p:cNvPr id="20" name="TextBox 19">
            <a:extLst>
              <a:ext uri="{FF2B5EF4-FFF2-40B4-BE49-F238E27FC236}">
                <a16:creationId xmlns:a16="http://schemas.microsoft.com/office/drawing/2014/main" id="{CC06DD38-9A9C-4C10-9338-9E0F31D64222}"/>
              </a:ext>
            </a:extLst>
          </p:cNvPr>
          <p:cNvSpPr txBox="1"/>
          <p:nvPr/>
        </p:nvSpPr>
        <p:spPr>
          <a:xfrm>
            <a:off x="8559732" y="4898400"/>
            <a:ext cx="2943225" cy="246221"/>
          </a:xfrm>
          <a:prstGeom prst="rect">
            <a:avLst/>
          </a:prstGeom>
          <a:solidFill>
            <a:schemeClr val="accent1">
              <a:lumMod val="75000"/>
            </a:schemeClr>
          </a:solidFill>
          <a:ln>
            <a:solidFill>
              <a:schemeClr val="tx1"/>
            </a:solidFill>
          </a:ln>
        </p:spPr>
        <p:txBody>
          <a:bodyPr wrap="square" lIns="0" tIns="0" rIns="0" bIns="0" rtlCol="0">
            <a:spAutoFit/>
          </a:bodyPr>
          <a:lstStyle/>
          <a:p>
            <a:r>
              <a:rPr lang="en-US" sz="1600" dirty="0">
                <a:solidFill>
                  <a:schemeClr val="bg1"/>
                </a:solidFill>
              </a:rPr>
              <a:t> Black start…</a:t>
            </a:r>
          </a:p>
        </p:txBody>
      </p:sp>
      <p:sp>
        <p:nvSpPr>
          <p:cNvPr id="21" name="TextBox 20">
            <a:extLst>
              <a:ext uri="{FF2B5EF4-FFF2-40B4-BE49-F238E27FC236}">
                <a16:creationId xmlns:a16="http://schemas.microsoft.com/office/drawing/2014/main" id="{BBB86825-1D63-4A53-9D7D-A140C919B15E}"/>
              </a:ext>
            </a:extLst>
          </p:cNvPr>
          <p:cNvSpPr txBox="1"/>
          <p:nvPr/>
        </p:nvSpPr>
        <p:spPr>
          <a:xfrm>
            <a:off x="8559732" y="5149272"/>
            <a:ext cx="2943225" cy="553998"/>
          </a:xfrm>
          <a:prstGeom prst="rect">
            <a:avLst/>
          </a:prstGeom>
          <a:noFill/>
          <a:ln>
            <a:solidFill>
              <a:schemeClr val="tx1"/>
            </a:solidFill>
          </a:ln>
        </p:spPr>
        <p:txBody>
          <a:bodyPr wrap="square" lIns="0" tIns="0" rIns="0" bIns="0" rtlCol="0">
            <a:spAutoFit/>
          </a:bodyPr>
          <a:lstStyle/>
          <a:p>
            <a:r>
              <a:rPr lang="en-US" sz="1200" dirty="0"/>
              <a:t> Storage system size range: 5 - 50MW</a:t>
            </a:r>
          </a:p>
          <a:p>
            <a:r>
              <a:rPr lang="en-US" sz="1200" dirty="0"/>
              <a:t> Discharge duration range: 15 min. – 1 hour</a:t>
            </a:r>
          </a:p>
          <a:p>
            <a:r>
              <a:rPr lang="en-US" sz="1200" dirty="0"/>
              <a:t> Minimum cycles/year: 10 - 20</a:t>
            </a:r>
            <a:endParaRPr lang="en-US" sz="1200" dirty="0">
              <a:solidFill>
                <a:schemeClr val="accent2"/>
              </a:solidFill>
            </a:endParaRPr>
          </a:p>
        </p:txBody>
      </p:sp>
      <p:sp>
        <p:nvSpPr>
          <p:cNvPr id="22" name="TextBox 21">
            <a:extLst>
              <a:ext uri="{FF2B5EF4-FFF2-40B4-BE49-F238E27FC236}">
                <a16:creationId xmlns:a16="http://schemas.microsoft.com/office/drawing/2014/main" id="{5E161ECF-7C18-4AAA-9B64-1E51E8E2AD4B}"/>
              </a:ext>
            </a:extLst>
          </p:cNvPr>
          <p:cNvSpPr txBox="1"/>
          <p:nvPr/>
        </p:nvSpPr>
        <p:spPr>
          <a:xfrm>
            <a:off x="3840480" y="6399982"/>
            <a:ext cx="5765074" cy="247839"/>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GE Inspira Sans"/>
                <a:ea typeface="+mn-ea"/>
                <a:cs typeface="+mn-cs"/>
              </a:rPr>
              <a:t>© 2021 General Electric Company. </a:t>
            </a:r>
          </a:p>
        </p:txBody>
      </p:sp>
    </p:spTree>
    <p:extLst>
      <p:ext uri="{BB962C8B-B14F-4D97-AF65-F5344CB8AC3E}">
        <p14:creationId xmlns:p14="http://schemas.microsoft.com/office/powerpoint/2010/main" val="38294584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85CEFF-64C3-4347-AA09-E69FEFCF7894}"/>
              </a:ext>
            </a:extLst>
          </p:cNvPr>
          <p:cNvSpPr>
            <a:spLocks noGrp="1"/>
          </p:cNvSpPr>
          <p:nvPr>
            <p:ph type="dt" sz="half" idx="10"/>
          </p:nvPr>
        </p:nvSpPr>
        <p:spPr/>
        <p:txBody>
          <a:bodyPr/>
          <a:lstStyle/>
          <a:p>
            <a:fld id="{847652F8-2028-47EC-8E89-6F1BC4534984}" type="datetime4">
              <a:rPr lang="en-US" smtClean="0"/>
              <a:t>October 18, 2021</a:t>
            </a:fld>
            <a:endParaRPr lang="en-CA" dirty="0"/>
          </a:p>
        </p:txBody>
      </p:sp>
      <p:sp>
        <p:nvSpPr>
          <p:cNvPr id="3" name="Slide Number Placeholder 2">
            <a:extLst>
              <a:ext uri="{FF2B5EF4-FFF2-40B4-BE49-F238E27FC236}">
                <a16:creationId xmlns:a16="http://schemas.microsoft.com/office/drawing/2014/main" id="{7F367207-ED8C-4313-8676-B4CA93C9ED10}"/>
              </a:ext>
            </a:extLst>
          </p:cNvPr>
          <p:cNvSpPr>
            <a:spLocks noGrp="1"/>
          </p:cNvSpPr>
          <p:nvPr>
            <p:ph type="sldNum" sz="quarter" idx="12"/>
          </p:nvPr>
        </p:nvSpPr>
        <p:spPr/>
        <p:txBody>
          <a:bodyPr/>
          <a:lstStyle/>
          <a:p>
            <a:fld id="{00E6A5BD-C011-4A45-AA3A-201790FB7F2B}" type="slidenum">
              <a:rPr lang="en-CA" smtClean="0"/>
              <a:pPr/>
              <a:t>16</a:t>
            </a:fld>
            <a:endParaRPr lang="en-CA" dirty="0"/>
          </a:p>
        </p:txBody>
      </p:sp>
      <p:sp>
        <p:nvSpPr>
          <p:cNvPr id="5" name="Rectangle 3">
            <a:extLst>
              <a:ext uri="{FF2B5EF4-FFF2-40B4-BE49-F238E27FC236}">
                <a16:creationId xmlns:a16="http://schemas.microsoft.com/office/drawing/2014/main" id="{98AF76B0-8BFF-457A-AA6B-D00AD725D95B}"/>
              </a:ext>
            </a:extLst>
          </p:cNvPr>
          <p:cNvSpPr>
            <a:spLocks noChangeArrowheads="1"/>
          </p:cNvSpPr>
          <p:nvPr/>
        </p:nvSpPr>
        <p:spPr bwMode="auto">
          <a:xfrm>
            <a:off x="166214" y="173488"/>
            <a:ext cx="8810625" cy="998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nSpc>
                <a:spcPct val="90000"/>
              </a:lnSpc>
              <a:defRPr/>
            </a:pPr>
            <a:r>
              <a:rPr lang="en-US" sz="3200" b="1" dirty="0">
                <a:latin typeface="GE Inspira Pitch" pitchFamily="34" charset="0"/>
              </a:rPr>
              <a:t>T&amp;D Investment Deferral … </a:t>
            </a:r>
            <a:r>
              <a:rPr lang="en-US" sz="2200" b="1" dirty="0">
                <a:solidFill>
                  <a:srgbClr val="0070C0"/>
                </a:solidFill>
                <a:latin typeface="GE Inspira Pitch" pitchFamily="34" charset="0"/>
              </a:rPr>
              <a:t>Lines, Subs, Equipment</a:t>
            </a:r>
          </a:p>
        </p:txBody>
      </p:sp>
      <p:sp>
        <p:nvSpPr>
          <p:cNvPr id="12" name="TextBox 11">
            <a:extLst>
              <a:ext uri="{FF2B5EF4-FFF2-40B4-BE49-F238E27FC236}">
                <a16:creationId xmlns:a16="http://schemas.microsoft.com/office/drawing/2014/main" id="{0782B50B-6F41-49AA-B9E3-E01A256401FA}"/>
              </a:ext>
            </a:extLst>
          </p:cNvPr>
          <p:cNvSpPr txBox="1"/>
          <p:nvPr/>
        </p:nvSpPr>
        <p:spPr>
          <a:xfrm>
            <a:off x="8907170" y="1565886"/>
            <a:ext cx="2943225" cy="246221"/>
          </a:xfrm>
          <a:prstGeom prst="rect">
            <a:avLst/>
          </a:prstGeom>
          <a:solidFill>
            <a:schemeClr val="accent1">
              <a:lumMod val="75000"/>
            </a:schemeClr>
          </a:solidFill>
          <a:ln>
            <a:solidFill>
              <a:schemeClr val="tx1"/>
            </a:solidFill>
          </a:ln>
        </p:spPr>
        <p:txBody>
          <a:bodyPr wrap="square" lIns="0" tIns="0" rIns="0" bIns="0" rtlCol="0">
            <a:spAutoFit/>
          </a:bodyPr>
          <a:lstStyle/>
          <a:p>
            <a:r>
              <a:rPr lang="en-US" sz="1600" dirty="0">
                <a:solidFill>
                  <a:schemeClr val="bg1"/>
                </a:solidFill>
              </a:rPr>
              <a:t> Transmission Upgrade Deferral</a:t>
            </a:r>
          </a:p>
        </p:txBody>
      </p:sp>
      <p:sp>
        <p:nvSpPr>
          <p:cNvPr id="13" name="TextBox 12">
            <a:extLst>
              <a:ext uri="{FF2B5EF4-FFF2-40B4-BE49-F238E27FC236}">
                <a16:creationId xmlns:a16="http://schemas.microsoft.com/office/drawing/2014/main" id="{97482541-B1BE-493C-91E7-7068C6B9F043}"/>
              </a:ext>
            </a:extLst>
          </p:cNvPr>
          <p:cNvSpPr txBox="1"/>
          <p:nvPr/>
        </p:nvSpPr>
        <p:spPr>
          <a:xfrm>
            <a:off x="8907170" y="1816758"/>
            <a:ext cx="2943225" cy="553998"/>
          </a:xfrm>
          <a:prstGeom prst="rect">
            <a:avLst/>
          </a:prstGeom>
          <a:noFill/>
          <a:ln>
            <a:solidFill>
              <a:schemeClr val="tx1"/>
            </a:solidFill>
          </a:ln>
        </p:spPr>
        <p:txBody>
          <a:bodyPr wrap="square" lIns="0" tIns="0" rIns="0" bIns="0" rtlCol="0">
            <a:spAutoFit/>
          </a:bodyPr>
          <a:lstStyle/>
          <a:p>
            <a:r>
              <a:rPr lang="en-US" sz="1200" dirty="0"/>
              <a:t> Storage system size range: 10 – 100 MW</a:t>
            </a:r>
          </a:p>
          <a:p>
            <a:r>
              <a:rPr lang="en-US" sz="1200" dirty="0"/>
              <a:t> Discharge duration range: 2 – 8 hours</a:t>
            </a:r>
          </a:p>
          <a:p>
            <a:r>
              <a:rPr lang="en-US" sz="1200" dirty="0"/>
              <a:t> Minimum cycles/year: 10 - 50</a:t>
            </a:r>
            <a:endParaRPr lang="en-US" sz="1200" dirty="0">
              <a:solidFill>
                <a:schemeClr val="accent2"/>
              </a:solidFill>
            </a:endParaRPr>
          </a:p>
        </p:txBody>
      </p:sp>
      <p:sp>
        <p:nvSpPr>
          <p:cNvPr id="14" name="TextBox 13">
            <a:extLst>
              <a:ext uri="{FF2B5EF4-FFF2-40B4-BE49-F238E27FC236}">
                <a16:creationId xmlns:a16="http://schemas.microsoft.com/office/drawing/2014/main" id="{D61EF0D7-0D4F-4AF9-918B-A371A50166F7}"/>
              </a:ext>
            </a:extLst>
          </p:cNvPr>
          <p:cNvSpPr txBox="1"/>
          <p:nvPr/>
        </p:nvSpPr>
        <p:spPr>
          <a:xfrm>
            <a:off x="8907170" y="2582159"/>
            <a:ext cx="2943225" cy="246221"/>
          </a:xfrm>
          <a:prstGeom prst="rect">
            <a:avLst/>
          </a:prstGeom>
          <a:solidFill>
            <a:schemeClr val="accent1">
              <a:lumMod val="75000"/>
            </a:schemeClr>
          </a:solidFill>
          <a:ln>
            <a:solidFill>
              <a:schemeClr val="tx1"/>
            </a:solidFill>
          </a:ln>
        </p:spPr>
        <p:txBody>
          <a:bodyPr wrap="square" lIns="0" tIns="0" rIns="0" bIns="0" rtlCol="0">
            <a:spAutoFit/>
          </a:bodyPr>
          <a:lstStyle/>
          <a:p>
            <a:r>
              <a:rPr lang="en-US" sz="1600" dirty="0">
                <a:solidFill>
                  <a:schemeClr val="bg1"/>
                </a:solidFill>
              </a:rPr>
              <a:t> Transmission Congestion Relief</a:t>
            </a:r>
          </a:p>
        </p:txBody>
      </p:sp>
      <p:sp>
        <p:nvSpPr>
          <p:cNvPr id="15" name="TextBox 14">
            <a:extLst>
              <a:ext uri="{FF2B5EF4-FFF2-40B4-BE49-F238E27FC236}">
                <a16:creationId xmlns:a16="http://schemas.microsoft.com/office/drawing/2014/main" id="{8909861D-C6BB-4E9E-9221-9E2354962E76}"/>
              </a:ext>
            </a:extLst>
          </p:cNvPr>
          <p:cNvSpPr txBox="1"/>
          <p:nvPr/>
        </p:nvSpPr>
        <p:spPr>
          <a:xfrm>
            <a:off x="8907170" y="2833031"/>
            <a:ext cx="2943225" cy="553998"/>
          </a:xfrm>
          <a:prstGeom prst="rect">
            <a:avLst/>
          </a:prstGeom>
          <a:noFill/>
          <a:ln>
            <a:solidFill>
              <a:schemeClr val="tx1"/>
            </a:solidFill>
          </a:ln>
        </p:spPr>
        <p:txBody>
          <a:bodyPr wrap="square" lIns="0" tIns="0" rIns="0" bIns="0" rtlCol="0">
            <a:spAutoFit/>
          </a:bodyPr>
          <a:lstStyle/>
          <a:p>
            <a:r>
              <a:rPr lang="en-US" sz="1200" dirty="0"/>
              <a:t> Storage system size range: 1 – 100 MW</a:t>
            </a:r>
          </a:p>
          <a:p>
            <a:r>
              <a:rPr lang="en-US" sz="1200" dirty="0"/>
              <a:t> Discharge duration range: 1 – 4 hours</a:t>
            </a:r>
          </a:p>
          <a:p>
            <a:r>
              <a:rPr lang="en-US" sz="1200" dirty="0"/>
              <a:t> Minimum cycles/year: 50 - 100</a:t>
            </a:r>
            <a:endParaRPr lang="en-US" sz="1200" dirty="0">
              <a:solidFill>
                <a:schemeClr val="accent2"/>
              </a:solidFill>
            </a:endParaRPr>
          </a:p>
        </p:txBody>
      </p:sp>
      <p:sp>
        <p:nvSpPr>
          <p:cNvPr id="16" name="TextBox 15">
            <a:extLst>
              <a:ext uri="{FF2B5EF4-FFF2-40B4-BE49-F238E27FC236}">
                <a16:creationId xmlns:a16="http://schemas.microsoft.com/office/drawing/2014/main" id="{B07BE173-667B-4818-9DD6-616DB2CB1815}"/>
              </a:ext>
            </a:extLst>
          </p:cNvPr>
          <p:cNvSpPr txBox="1"/>
          <p:nvPr/>
        </p:nvSpPr>
        <p:spPr>
          <a:xfrm>
            <a:off x="8907170" y="3600168"/>
            <a:ext cx="2943225" cy="246221"/>
          </a:xfrm>
          <a:prstGeom prst="rect">
            <a:avLst/>
          </a:prstGeom>
          <a:solidFill>
            <a:schemeClr val="accent1">
              <a:lumMod val="75000"/>
            </a:schemeClr>
          </a:solidFill>
          <a:ln>
            <a:solidFill>
              <a:schemeClr val="tx1"/>
            </a:solidFill>
          </a:ln>
        </p:spPr>
        <p:txBody>
          <a:bodyPr wrap="square" lIns="0" tIns="0" rIns="0" bIns="0" rtlCol="0">
            <a:spAutoFit/>
          </a:bodyPr>
          <a:lstStyle/>
          <a:p>
            <a:r>
              <a:rPr lang="en-US" sz="1600" dirty="0">
                <a:solidFill>
                  <a:schemeClr val="bg1"/>
                </a:solidFill>
              </a:rPr>
              <a:t> Distribution upgrade Deferral</a:t>
            </a:r>
          </a:p>
        </p:txBody>
      </p:sp>
      <p:sp>
        <p:nvSpPr>
          <p:cNvPr id="17" name="TextBox 16">
            <a:extLst>
              <a:ext uri="{FF2B5EF4-FFF2-40B4-BE49-F238E27FC236}">
                <a16:creationId xmlns:a16="http://schemas.microsoft.com/office/drawing/2014/main" id="{76B92E09-3C22-472B-BFF0-31947D15965A}"/>
              </a:ext>
            </a:extLst>
          </p:cNvPr>
          <p:cNvSpPr txBox="1"/>
          <p:nvPr/>
        </p:nvSpPr>
        <p:spPr>
          <a:xfrm>
            <a:off x="8907170" y="3851040"/>
            <a:ext cx="2943225" cy="553998"/>
          </a:xfrm>
          <a:prstGeom prst="rect">
            <a:avLst/>
          </a:prstGeom>
          <a:noFill/>
          <a:ln>
            <a:solidFill>
              <a:schemeClr val="tx1"/>
            </a:solidFill>
          </a:ln>
        </p:spPr>
        <p:txBody>
          <a:bodyPr wrap="square" lIns="0" tIns="0" rIns="0" bIns="0" rtlCol="0">
            <a:spAutoFit/>
          </a:bodyPr>
          <a:lstStyle/>
          <a:p>
            <a:r>
              <a:rPr lang="en-US" sz="1200" dirty="0"/>
              <a:t> Storage system size range: 500kW – 10MW</a:t>
            </a:r>
          </a:p>
          <a:p>
            <a:r>
              <a:rPr lang="en-US" sz="1200" dirty="0"/>
              <a:t> Discharge duration range: 1-4 hours</a:t>
            </a:r>
          </a:p>
          <a:p>
            <a:r>
              <a:rPr lang="en-US" sz="1200" dirty="0"/>
              <a:t> Minimum cycles/year: 50-100</a:t>
            </a:r>
            <a:endParaRPr lang="en-US" sz="1200" dirty="0">
              <a:solidFill>
                <a:schemeClr val="accent2"/>
              </a:solidFill>
            </a:endParaRPr>
          </a:p>
        </p:txBody>
      </p:sp>
      <p:grpSp>
        <p:nvGrpSpPr>
          <p:cNvPr id="4" name="Group 3">
            <a:extLst>
              <a:ext uri="{FF2B5EF4-FFF2-40B4-BE49-F238E27FC236}">
                <a16:creationId xmlns:a16="http://schemas.microsoft.com/office/drawing/2014/main" id="{B65D2BD8-56F1-4D31-811A-E25BE6220969}"/>
              </a:ext>
            </a:extLst>
          </p:cNvPr>
          <p:cNvGrpSpPr/>
          <p:nvPr/>
        </p:nvGrpSpPr>
        <p:grpSpPr>
          <a:xfrm>
            <a:off x="454025" y="868364"/>
            <a:ext cx="7888786" cy="5123134"/>
            <a:chOff x="454025" y="868363"/>
            <a:chExt cx="8235950" cy="5589587"/>
          </a:xfrm>
        </p:grpSpPr>
        <p:pic>
          <p:nvPicPr>
            <p:cNvPr id="22" name="Picture 3" descr="SmartGrid_Updated2.tif">
              <a:extLst>
                <a:ext uri="{FF2B5EF4-FFF2-40B4-BE49-F238E27FC236}">
                  <a16:creationId xmlns:a16="http://schemas.microsoft.com/office/drawing/2014/main" id="{F4FD8B7F-9ADD-4B37-9FEF-B608A3F4A6C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4025" y="868363"/>
              <a:ext cx="8235950" cy="558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Oval 3">
              <a:extLst>
                <a:ext uri="{FF2B5EF4-FFF2-40B4-BE49-F238E27FC236}">
                  <a16:creationId xmlns:a16="http://schemas.microsoft.com/office/drawing/2014/main" id="{32093DF4-3E3C-4611-B729-08890CC20D48}"/>
                </a:ext>
              </a:extLst>
            </p:cNvPr>
            <p:cNvSpPr>
              <a:spLocks noChangeArrowheads="1"/>
            </p:cNvSpPr>
            <p:nvPr/>
          </p:nvSpPr>
          <p:spPr bwMode="auto">
            <a:xfrm>
              <a:off x="2289175" y="1763713"/>
              <a:ext cx="962025" cy="744537"/>
            </a:xfrm>
            <a:prstGeom prst="ellipse">
              <a:avLst/>
            </a:prstGeom>
            <a:noFill/>
            <a:ln w="28575">
              <a:solidFill>
                <a:schemeClr val="accent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p>
          </p:txBody>
        </p:sp>
        <p:sp>
          <p:nvSpPr>
            <p:cNvPr id="24" name="Oval 3">
              <a:extLst>
                <a:ext uri="{FF2B5EF4-FFF2-40B4-BE49-F238E27FC236}">
                  <a16:creationId xmlns:a16="http://schemas.microsoft.com/office/drawing/2014/main" id="{D27E5894-B777-45F6-BC37-B7FA552C5B28}"/>
                </a:ext>
              </a:extLst>
            </p:cNvPr>
            <p:cNvSpPr>
              <a:spLocks noChangeArrowheads="1"/>
            </p:cNvSpPr>
            <p:nvPr/>
          </p:nvSpPr>
          <p:spPr bwMode="auto">
            <a:xfrm>
              <a:off x="2843213" y="4854575"/>
              <a:ext cx="989012" cy="742950"/>
            </a:xfrm>
            <a:prstGeom prst="ellipse">
              <a:avLst/>
            </a:prstGeom>
            <a:noFill/>
            <a:ln w="28575">
              <a:solidFill>
                <a:schemeClr val="accent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p>
          </p:txBody>
        </p:sp>
        <p:sp>
          <p:nvSpPr>
            <p:cNvPr id="25" name="Oval 3">
              <a:extLst>
                <a:ext uri="{FF2B5EF4-FFF2-40B4-BE49-F238E27FC236}">
                  <a16:creationId xmlns:a16="http://schemas.microsoft.com/office/drawing/2014/main" id="{17EA6A9B-5E7B-4D1C-B1AA-5097A9F796E3}"/>
                </a:ext>
              </a:extLst>
            </p:cNvPr>
            <p:cNvSpPr>
              <a:spLocks noChangeArrowheads="1"/>
            </p:cNvSpPr>
            <p:nvPr/>
          </p:nvSpPr>
          <p:spPr bwMode="auto">
            <a:xfrm>
              <a:off x="4552950" y="2452688"/>
              <a:ext cx="1331913" cy="742950"/>
            </a:xfrm>
            <a:prstGeom prst="ellipse">
              <a:avLst/>
            </a:prstGeom>
            <a:noFill/>
            <a:ln w="28575">
              <a:solidFill>
                <a:schemeClr val="accent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p>
          </p:txBody>
        </p:sp>
      </p:grpSp>
      <p:sp>
        <p:nvSpPr>
          <p:cNvPr id="18" name="TextBox 21">
            <a:extLst>
              <a:ext uri="{FF2B5EF4-FFF2-40B4-BE49-F238E27FC236}">
                <a16:creationId xmlns:a16="http://schemas.microsoft.com/office/drawing/2014/main" id="{54EC60DD-022A-420A-9235-5880EF972F0E}"/>
              </a:ext>
            </a:extLst>
          </p:cNvPr>
          <p:cNvSpPr txBox="1"/>
          <p:nvPr/>
        </p:nvSpPr>
        <p:spPr>
          <a:xfrm>
            <a:off x="3840480" y="6399982"/>
            <a:ext cx="5765074" cy="247839"/>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GE Inspira Sans"/>
                <a:ea typeface="+mn-ea"/>
                <a:cs typeface="+mn-cs"/>
              </a:rPr>
              <a:t>© 2021 General Electric Company. </a:t>
            </a:r>
          </a:p>
        </p:txBody>
      </p:sp>
    </p:spTree>
    <p:extLst>
      <p:ext uri="{BB962C8B-B14F-4D97-AF65-F5344CB8AC3E}">
        <p14:creationId xmlns:p14="http://schemas.microsoft.com/office/powerpoint/2010/main" val="38869273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85CEFF-64C3-4347-AA09-E69FEFCF7894}"/>
              </a:ext>
            </a:extLst>
          </p:cNvPr>
          <p:cNvSpPr>
            <a:spLocks noGrp="1"/>
          </p:cNvSpPr>
          <p:nvPr>
            <p:ph type="dt" sz="half" idx="10"/>
          </p:nvPr>
        </p:nvSpPr>
        <p:spPr/>
        <p:txBody>
          <a:bodyPr/>
          <a:lstStyle/>
          <a:p>
            <a:fld id="{847652F8-2028-47EC-8E89-6F1BC4534984}" type="datetime4">
              <a:rPr lang="en-US" smtClean="0"/>
              <a:t>October 18, 2021</a:t>
            </a:fld>
            <a:endParaRPr lang="en-CA" dirty="0"/>
          </a:p>
        </p:txBody>
      </p:sp>
      <p:sp>
        <p:nvSpPr>
          <p:cNvPr id="3" name="Slide Number Placeholder 2">
            <a:extLst>
              <a:ext uri="{FF2B5EF4-FFF2-40B4-BE49-F238E27FC236}">
                <a16:creationId xmlns:a16="http://schemas.microsoft.com/office/drawing/2014/main" id="{7F367207-ED8C-4313-8676-B4CA93C9ED10}"/>
              </a:ext>
            </a:extLst>
          </p:cNvPr>
          <p:cNvSpPr>
            <a:spLocks noGrp="1"/>
          </p:cNvSpPr>
          <p:nvPr>
            <p:ph type="sldNum" sz="quarter" idx="12"/>
          </p:nvPr>
        </p:nvSpPr>
        <p:spPr/>
        <p:txBody>
          <a:bodyPr/>
          <a:lstStyle/>
          <a:p>
            <a:fld id="{00E6A5BD-C011-4A45-AA3A-201790FB7F2B}" type="slidenum">
              <a:rPr lang="en-CA" smtClean="0"/>
              <a:pPr/>
              <a:t>17</a:t>
            </a:fld>
            <a:endParaRPr lang="en-CA" dirty="0"/>
          </a:p>
        </p:txBody>
      </p:sp>
      <p:sp>
        <p:nvSpPr>
          <p:cNvPr id="5" name="Rectangle 3">
            <a:extLst>
              <a:ext uri="{FF2B5EF4-FFF2-40B4-BE49-F238E27FC236}">
                <a16:creationId xmlns:a16="http://schemas.microsoft.com/office/drawing/2014/main" id="{98AF76B0-8BFF-457A-AA6B-D00AD725D95B}"/>
              </a:ext>
            </a:extLst>
          </p:cNvPr>
          <p:cNvSpPr>
            <a:spLocks noChangeArrowheads="1"/>
          </p:cNvSpPr>
          <p:nvPr/>
        </p:nvSpPr>
        <p:spPr bwMode="auto">
          <a:xfrm>
            <a:off x="166214" y="173488"/>
            <a:ext cx="8810625" cy="998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3200" b="1" i="0" u="none" strike="noStrike" kern="1200" cap="none" spc="0" normalizeH="0" baseline="0" noProof="0" dirty="0">
                <a:ln>
                  <a:noFill/>
                </a:ln>
                <a:effectLst/>
                <a:uLnTx/>
                <a:uFillTx/>
                <a:latin typeface="GE Inspira Pitch" pitchFamily="34" charset="0"/>
                <a:ea typeface="+mn-ea"/>
                <a:cs typeface="Times New Roman" pitchFamily="18" charset="0"/>
              </a:rPr>
              <a:t>End User …</a:t>
            </a:r>
            <a:r>
              <a:rPr kumimoji="0" lang="en-US" sz="3200" b="1" i="0" u="none" strike="noStrike" kern="1200" cap="none" spc="0" normalizeH="0" baseline="0" noProof="0" dirty="0">
                <a:ln>
                  <a:noFill/>
                </a:ln>
                <a:solidFill>
                  <a:srgbClr val="1E4191"/>
                </a:solidFill>
                <a:effectLst/>
                <a:uLnTx/>
                <a:uFillTx/>
                <a:latin typeface="GE Inspira Pitch" pitchFamily="34" charset="0"/>
                <a:ea typeface="+mn-ea"/>
                <a:cs typeface="Times New Roman" pitchFamily="18" charset="0"/>
              </a:rPr>
              <a:t> </a:t>
            </a:r>
            <a:r>
              <a:rPr kumimoji="0" lang="en-US" sz="2200" b="1" i="0" u="none" strike="noStrike" kern="1200" cap="none" spc="0" normalizeH="0" baseline="0" noProof="0" dirty="0">
                <a:ln>
                  <a:noFill/>
                </a:ln>
                <a:solidFill>
                  <a:schemeClr val="accent1"/>
                </a:solidFill>
                <a:effectLst/>
                <a:uLnTx/>
                <a:uFillTx/>
                <a:latin typeface="GE Inspira Pitch" pitchFamily="34" charset="0"/>
                <a:ea typeface="+mn-ea"/>
                <a:cs typeface="Times New Roman" pitchFamily="18" charset="0"/>
              </a:rPr>
              <a:t>Back-up, Power Quality, Arbitrage, Demand Charges</a:t>
            </a:r>
          </a:p>
        </p:txBody>
      </p:sp>
      <p:sp>
        <p:nvSpPr>
          <p:cNvPr id="12" name="TextBox 11">
            <a:extLst>
              <a:ext uri="{FF2B5EF4-FFF2-40B4-BE49-F238E27FC236}">
                <a16:creationId xmlns:a16="http://schemas.microsoft.com/office/drawing/2014/main" id="{0782B50B-6F41-49AA-B9E3-E01A256401FA}"/>
              </a:ext>
            </a:extLst>
          </p:cNvPr>
          <p:cNvSpPr txBox="1"/>
          <p:nvPr/>
        </p:nvSpPr>
        <p:spPr>
          <a:xfrm>
            <a:off x="8907170" y="1565886"/>
            <a:ext cx="2943225" cy="246221"/>
          </a:xfrm>
          <a:prstGeom prst="rect">
            <a:avLst/>
          </a:prstGeom>
          <a:solidFill>
            <a:schemeClr val="accent1">
              <a:lumMod val="75000"/>
            </a:schemeClr>
          </a:solidFill>
          <a:ln>
            <a:solidFill>
              <a:schemeClr val="tx1"/>
            </a:solidFill>
          </a:ln>
        </p:spPr>
        <p:txBody>
          <a:bodyPr wrap="square" lIns="0" tIns="0" rIns="0" bIns="0" rtlCol="0">
            <a:spAutoFit/>
          </a:bodyPr>
          <a:lstStyle/>
          <a:p>
            <a:r>
              <a:rPr lang="en-US" sz="1600" dirty="0">
                <a:solidFill>
                  <a:schemeClr val="bg1"/>
                </a:solidFill>
              </a:rPr>
              <a:t> Power Quality</a:t>
            </a:r>
          </a:p>
        </p:txBody>
      </p:sp>
      <p:sp>
        <p:nvSpPr>
          <p:cNvPr id="13" name="TextBox 12">
            <a:extLst>
              <a:ext uri="{FF2B5EF4-FFF2-40B4-BE49-F238E27FC236}">
                <a16:creationId xmlns:a16="http://schemas.microsoft.com/office/drawing/2014/main" id="{97482541-B1BE-493C-91E7-7068C6B9F043}"/>
              </a:ext>
            </a:extLst>
          </p:cNvPr>
          <p:cNvSpPr txBox="1"/>
          <p:nvPr/>
        </p:nvSpPr>
        <p:spPr>
          <a:xfrm>
            <a:off x="8907170" y="1816758"/>
            <a:ext cx="2943225" cy="553998"/>
          </a:xfrm>
          <a:prstGeom prst="rect">
            <a:avLst/>
          </a:prstGeom>
          <a:noFill/>
          <a:ln>
            <a:solidFill>
              <a:schemeClr val="tx1"/>
            </a:solidFill>
          </a:ln>
        </p:spPr>
        <p:txBody>
          <a:bodyPr wrap="square" lIns="0" tIns="0" rIns="0" bIns="0" rtlCol="0">
            <a:spAutoFit/>
          </a:bodyPr>
          <a:lstStyle/>
          <a:p>
            <a:r>
              <a:rPr lang="en-US" sz="1200" dirty="0"/>
              <a:t> Storage system size range: 100kW – 100 MW</a:t>
            </a:r>
          </a:p>
          <a:p>
            <a:r>
              <a:rPr lang="en-US" sz="1200" dirty="0"/>
              <a:t> Discharge duration range: 10 sec. – 15min.</a:t>
            </a:r>
          </a:p>
          <a:p>
            <a:r>
              <a:rPr lang="en-US" sz="1200" dirty="0"/>
              <a:t> Minimum cycles/year: 50 - 100</a:t>
            </a:r>
            <a:endParaRPr lang="en-US" sz="1200" dirty="0">
              <a:solidFill>
                <a:schemeClr val="accent2"/>
              </a:solidFill>
            </a:endParaRPr>
          </a:p>
        </p:txBody>
      </p:sp>
      <p:sp>
        <p:nvSpPr>
          <p:cNvPr id="14" name="TextBox 13">
            <a:extLst>
              <a:ext uri="{FF2B5EF4-FFF2-40B4-BE49-F238E27FC236}">
                <a16:creationId xmlns:a16="http://schemas.microsoft.com/office/drawing/2014/main" id="{D61EF0D7-0D4F-4AF9-918B-A371A50166F7}"/>
              </a:ext>
            </a:extLst>
          </p:cNvPr>
          <p:cNvSpPr txBox="1"/>
          <p:nvPr/>
        </p:nvSpPr>
        <p:spPr>
          <a:xfrm>
            <a:off x="8907170" y="2582159"/>
            <a:ext cx="2943225" cy="246221"/>
          </a:xfrm>
          <a:prstGeom prst="rect">
            <a:avLst/>
          </a:prstGeom>
          <a:solidFill>
            <a:schemeClr val="accent1">
              <a:lumMod val="75000"/>
            </a:schemeClr>
          </a:solidFill>
          <a:ln>
            <a:solidFill>
              <a:schemeClr val="tx1"/>
            </a:solidFill>
          </a:ln>
        </p:spPr>
        <p:txBody>
          <a:bodyPr wrap="square" lIns="0" tIns="0" rIns="0" bIns="0" rtlCol="0">
            <a:spAutoFit/>
          </a:bodyPr>
          <a:lstStyle/>
          <a:p>
            <a:r>
              <a:rPr lang="en-US" sz="1600" dirty="0">
                <a:solidFill>
                  <a:schemeClr val="bg1"/>
                </a:solidFill>
              </a:rPr>
              <a:t> Demand Charge Management</a:t>
            </a:r>
          </a:p>
        </p:txBody>
      </p:sp>
      <p:sp>
        <p:nvSpPr>
          <p:cNvPr id="15" name="TextBox 14">
            <a:extLst>
              <a:ext uri="{FF2B5EF4-FFF2-40B4-BE49-F238E27FC236}">
                <a16:creationId xmlns:a16="http://schemas.microsoft.com/office/drawing/2014/main" id="{8909861D-C6BB-4E9E-9221-9E2354962E76}"/>
              </a:ext>
            </a:extLst>
          </p:cNvPr>
          <p:cNvSpPr txBox="1"/>
          <p:nvPr/>
        </p:nvSpPr>
        <p:spPr>
          <a:xfrm>
            <a:off x="8907170" y="2833031"/>
            <a:ext cx="2943225" cy="553998"/>
          </a:xfrm>
          <a:prstGeom prst="rect">
            <a:avLst/>
          </a:prstGeom>
          <a:noFill/>
          <a:ln>
            <a:solidFill>
              <a:schemeClr val="tx1"/>
            </a:solidFill>
          </a:ln>
        </p:spPr>
        <p:txBody>
          <a:bodyPr wrap="square" lIns="0" tIns="0" rIns="0" bIns="0" rtlCol="0">
            <a:spAutoFit/>
          </a:bodyPr>
          <a:lstStyle/>
          <a:p>
            <a:r>
              <a:rPr lang="en-US" sz="1200" dirty="0"/>
              <a:t> Storage system size range: 50kW – 10MW</a:t>
            </a:r>
          </a:p>
          <a:p>
            <a:r>
              <a:rPr lang="en-US" sz="1200" dirty="0"/>
              <a:t> Discharge duration range: 1 – 4 hours</a:t>
            </a:r>
          </a:p>
          <a:p>
            <a:r>
              <a:rPr lang="en-US" sz="1200" dirty="0"/>
              <a:t> Minimum cycles/year: 50 - 100</a:t>
            </a:r>
            <a:endParaRPr lang="en-US" sz="1200" dirty="0">
              <a:solidFill>
                <a:schemeClr val="accent2"/>
              </a:solidFill>
            </a:endParaRPr>
          </a:p>
        </p:txBody>
      </p:sp>
      <p:grpSp>
        <p:nvGrpSpPr>
          <p:cNvPr id="6" name="Group 5">
            <a:extLst>
              <a:ext uri="{FF2B5EF4-FFF2-40B4-BE49-F238E27FC236}">
                <a16:creationId xmlns:a16="http://schemas.microsoft.com/office/drawing/2014/main" id="{4400CE29-ADCD-41F4-8694-9BF94F1F942C}"/>
              </a:ext>
            </a:extLst>
          </p:cNvPr>
          <p:cNvGrpSpPr/>
          <p:nvPr/>
        </p:nvGrpSpPr>
        <p:grpSpPr>
          <a:xfrm>
            <a:off x="271936" y="999412"/>
            <a:ext cx="7827035" cy="5201512"/>
            <a:chOff x="341605" y="737734"/>
            <a:chExt cx="8235950" cy="5694728"/>
          </a:xfrm>
        </p:grpSpPr>
        <p:pic>
          <p:nvPicPr>
            <p:cNvPr id="21" name="Picture 3" descr="SmartGrid_Updated2.tif">
              <a:extLst>
                <a:ext uri="{FF2B5EF4-FFF2-40B4-BE49-F238E27FC236}">
                  <a16:creationId xmlns:a16="http://schemas.microsoft.com/office/drawing/2014/main" id="{9FB94653-CCCF-4815-93A2-5C9B115A2E96}"/>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1605" y="737734"/>
              <a:ext cx="8235950" cy="558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Oval 3">
              <a:extLst>
                <a:ext uri="{FF2B5EF4-FFF2-40B4-BE49-F238E27FC236}">
                  <a16:creationId xmlns:a16="http://schemas.microsoft.com/office/drawing/2014/main" id="{44CE2B32-F875-42CB-8C53-4B6FFC804A6F}"/>
                </a:ext>
              </a:extLst>
            </p:cNvPr>
            <p:cNvSpPr>
              <a:spLocks noChangeArrowheads="1"/>
            </p:cNvSpPr>
            <p:nvPr/>
          </p:nvSpPr>
          <p:spPr bwMode="auto">
            <a:xfrm>
              <a:off x="6269831" y="3846389"/>
              <a:ext cx="2016125" cy="1558925"/>
            </a:xfrm>
            <a:prstGeom prst="ellipse">
              <a:avLst/>
            </a:prstGeom>
            <a:noFill/>
            <a:ln w="28575">
              <a:solidFill>
                <a:srgbClr val="0070C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p>
          </p:txBody>
        </p:sp>
        <p:sp>
          <p:nvSpPr>
            <p:cNvPr id="27" name="Oval 3">
              <a:extLst>
                <a:ext uri="{FF2B5EF4-FFF2-40B4-BE49-F238E27FC236}">
                  <a16:creationId xmlns:a16="http://schemas.microsoft.com/office/drawing/2014/main" id="{EC1BD2A7-F5FF-4BDA-87B6-C79477D3943D}"/>
                </a:ext>
              </a:extLst>
            </p:cNvPr>
            <p:cNvSpPr>
              <a:spLocks noChangeArrowheads="1"/>
            </p:cNvSpPr>
            <p:nvPr/>
          </p:nvSpPr>
          <p:spPr bwMode="auto">
            <a:xfrm>
              <a:off x="4253706" y="4873537"/>
              <a:ext cx="2016125" cy="1558925"/>
            </a:xfrm>
            <a:prstGeom prst="ellipse">
              <a:avLst/>
            </a:prstGeom>
            <a:noFill/>
            <a:ln w="28575">
              <a:solidFill>
                <a:srgbClr val="0070C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p>
          </p:txBody>
        </p:sp>
      </p:grpSp>
      <p:sp>
        <p:nvSpPr>
          <p:cNvPr id="16" name="TextBox 21">
            <a:extLst>
              <a:ext uri="{FF2B5EF4-FFF2-40B4-BE49-F238E27FC236}">
                <a16:creationId xmlns:a16="http://schemas.microsoft.com/office/drawing/2014/main" id="{AD25DCD1-9194-44A1-AF4E-8215BEC264CC}"/>
              </a:ext>
            </a:extLst>
          </p:cNvPr>
          <p:cNvSpPr txBox="1"/>
          <p:nvPr/>
        </p:nvSpPr>
        <p:spPr>
          <a:xfrm>
            <a:off x="3840480" y="6399982"/>
            <a:ext cx="5765074" cy="247839"/>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GE Inspira Sans"/>
                <a:ea typeface="+mn-ea"/>
                <a:cs typeface="+mn-cs"/>
              </a:rPr>
              <a:t>© 2021 General Electric Company. </a:t>
            </a:r>
          </a:p>
        </p:txBody>
      </p:sp>
    </p:spTree>
    <p:extLst>
      <p:ext uri="{BB962C8B-B14F-4D97-AF65-F5344CB8AC3E}">
        <p14:creationId xmlns:p14="http://schemas.microsoft.com/office/powerpoint/2010/main" val="33272447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5">
            <a:extLst>
              <a:ext uri="{FF2B5EF4-FFF2-40B4-BE49-F238E27FC236}">
                <a16:creationId xmlns:a16="http://schemas.microsoft.com/office/drawing/2014/main" id="{8B2E31D0-8072-4BAE-A4C6-9166680D336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102280" y="4047127"/>
            <a:ext cx="3598388" cy="20797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2">
            <a:extLst>
              <a:ext uri="{FF2B5EF4-FFF2-40B4-BE49-F238E27FC236}">
                <a16:creationId xmlns:a16="http://schemas.microsoft.com/office/drawing/2014/main" id="{7ADA0320-8548-478B-9CD0-0A7A4D6FA5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39741" y="1239550"/>
            <a:ext cx="4110847" cy="238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Date Placeholder 1">
            <a:extLst>
              <a:ext uri="{FF2B5EF4-FFF2-40B4-BE49-F238E27FC236}">
                <a16:creationId xmlns:a16="http://schemas.microsoft.com/office/drawing/2014/main" id="{2285CEFF-64C3-4347-AA09-E69FEFCF7894}"/>
              </a:ext>
            </a:extLst>
          </p:cNvPr>
          <p:cNvSpPr>
            <a:spLocks noGrp="1"/>
          </p:cNvSpPr>
          <p:nvPr>
            <p:ph type="dt" sz="half" idx="10"/>
          </p:nvPr>
        </p:nvSpPr>
        <p:spPr/>
        <p:txBody>
          <a:bodyPr/>
          <a:lstStyle/>
          <a:p>
            <a:fld id="{847652F8-2028-47EC-8E89-6F1BC4534984}" type="datetime4">
              <a:rPr lang="en-US" smtClean="0"/>
              <a:t>October 18, 2021</a:t>
            </a:fld>
            <a:endParaRPr lang="en-CA" dirty="0"/>
          </a:p>
        </p:txBody>
      </p:sp>
      <p:sp>
        <p:nvSpPr>
          <p:cNvPr id="3" name="Slide Number Placeholder 2">
            <a:extLst>
              <a:ext uri="{FF2B5EF4-FFF2-40B4-BE49-F238E27FC236}">
                <a16:creationId xmlns:a16="http://schemas.microsoft.com/office/drawing/2014/main" id="{7F367207-ED8C-4313-8676-B4CA93C9ED10}"/>
              </a:ext>
            </a:extLst>
          </p:cNvPr>
          <p:cNvSpPr>
            <a:spLocks noGrp="1"/>
          </p:cNvSpPr>
          <p:nvPr>
            <p:ph type="sldNum" sz="quarter" idx="12"/>
          </p:nvPr>
        </p:nvSpPr>
        <p:spPr/>
        <p:txBody>
          <a:bodyPr/>
          <a:lstStyle/>
          <a:p>
            <a:fld id="{00E6A5BD-C011-4A45-AA3A-201790FB7F2B}" type="slidenum">
              <a:rPr lang="en-CA" smtClean="0"/>
              <a:pPr/>
              <a:t>18</a:t>
            </a:fld>
            <a:endParaRPr lang="en-CA" dirty="0"/>
          </a:p>
        </p:txBody>
      </p:sp>
      <p:sp>
        <p:nvSpPr>
          <p:cNvPr id="5" name="Rectangle 3">
            <a:extLst>
              <a:ext uri="{FF2B5EF4-FFF2-40B4-BE49-F238E27FC236}">
                <a16:creationId xmlns:a16="http://schemas.microsoft.com/office/drawing/2014/main" id="{98AF76B0-8BFF-457A-AA6B-D00AD725D95B}"/>
              </a:ext>
            </a:extLst>
          </p:cNvPr>
          <p:cNvSpPr>
            <a:spLocks noChangeArrowheads="1"/>
          </p:cNvSpPr>
          <p:nvPr/>
        </p:nvSpPr>
        <p:spPr bwMode="auto">
          <a:xfrm>
            <a:off x="166214" y="173488"/>
            <a:ext cx="8810625" cy="998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3200" b="1" i="0" u="none" strike="noStrike" kern="1200" cap="none" spc="0" normalizeH="0" baseline="0" noProof="0" dirty="0">
                <a:ln>
                  <a:noFill/>
                </a:ln>
                <a:effectLst/>
                <a:uLnTx/>
                <a:uFillTx/>
                <a:latin typeface="GE Inspira Pitch" pitchFamily="34" charset="0"/>
                <a:ea typeface="+mn-ea"/>
                <a:cs typeface="Times New Roman" pitchFamily="18" charset="0"/>
              </a:rPr>
              <a:t>Renewables…</a:t>
            </a:r>
            <a:r>
              <a:rPr kumimoji="0" lang="en-US" sz="3200" b="1" i="0" u="none" strike="noStrike" kern="1200" cap="none" spc="0" normalizeH="0" baseline="0" noProof="0" dirty="0">
                <a:ln>
                  <a:noFill/>
                </a:ln>
                <a:solidFill>
                  <a:srgbClr val="1E4191"/>
                </a:solidFill>
                <a:effectLst/>
                <a:uLnTx/>
                <a:uFillTx/>
                <a:latin typeface="GE Inspira Pitch" pitchFamily="34" charset="0"/>
                <a:ea typeface="+mn-ea"/>
                <a:cs typeface="Times New Roman" pitchFamily="18" charset="0"/>
              </a:rPr>
              <a:t> </a:t>
            </a:r>
            <a:r>
              <a:rPr lang="en-US" sz="2200" b="1" dirty="0">
                <a:solidFill>
                  <a:schemeClr val="accent1"/>
                </a:solidFill>
                <a:latin typeface="GE Inspira Pitch" pitchFamily="34" charset="0"/>
              </a:rPr>
              <a:t>Smoothing, Congestion/Curtailment Relief</a:t>
            </a:r>
            <a:endParaRPr kumimoji="0" lang="en-US" sz="2200" b="1" i="0" u="none" strike="noStrike" kern="1200" cap="none" spc="0" normalizeH="0" baseline="0" noProof="0" dirty="0">
              <a:ln>
                <a:noFill/>
              </a:ln>
              <a:solidFill>
                <a:schemeClr val="accent1"/>
              </a:solidFill>
              <a:effectLst/>
              <a:uLnTx/>
              <a:uFillTx/>
              <a:latin typeface="GE Inspira Pitch" pitchFamily="34" charset="0"/>
              <a:ea typeface="+mn-ea"/>
              <a:cs typeface="Times New Roman" pitchFamily="18" charset="0"/>
            </a:endParaRPr>
          </a:p>
        </p:txBody>
      </p:sp>
      <p:grpSp>
        <p:nvGrpSpPr>
          <p:cNvPr id="7" name="Group 6">
            <a:extLst>
              <a:ext uri="{FF2B5EF4-FFF2-40B4-BE49-F238E27FC236}">
                <a16:creationId xmlns:a16="http://schemas.microsoft.com/office/drawing/2014/main" id="{3B7A2405-66BF-4544-B1FE-C4A98EBF3139}"/>
              </a:ext>
            </a:extLst>
          </p:cNvPr>
          <p:cNvGrpSpPr/>
          <p:nvPr/>
        </p:nvGrpSpPr>
        <p:grpSpPr>
          <a:xfrm>
            <a:off x="8525626" y="672756"/>
            <a:ext cx="2943225" cy="804870"/>
            <a:chOff x="8907170" y="1565886"/>
            <a:chExt cx="2943225" cy="804870"/>
          </a:xfrm>
        </p:grpSpPr>
        <p:sp>
          <p:nvSpPr>
            <p:cNvPr id="12" name="TextBox 11">
              <a:extLst>
                <a:ext uri="{FF2B5EF4-FFF2-40B4-BE49-F238E27FC236}">
                  <a16:creationId xmlns:a16="http://schemas.microsoft.com/office/drawing/2014/main" id="{0782B50B-6F41-49AA-B9E3-E01A256401FA}"/>
                </a:ext>
              </a:extLst>
            </p:cNvPr>
            <p:cNvSpPr txBox="1"/>
            <p:nvPr/>
          </p:nvSpPr>
          <p:spPr>
            <a:xfrm>
              <a:off x="8907170" y="1565886"/>
              <a:ext cx="2943225" cy="246221"/>
            </a:xfrm>
            <a:prstGeom prst="rect">
              <a:avLst/>
            </a:prstGeom>
            <a:solidFill>
              <a:schemeClr val="accent1">
                <a:lumMod val="75000"/>
              </a:schemeClr>
            </a:solidFill>
            <a:ln>
              <a:solidFill>
                <a:schemeClr val="tx1"/>
              </a:solidFill>
            </a:ln>
          </p:spPr>
          <p:txBody>
            <a:bodyPr wrap="square" lIns="0" tIns="0" rIns="0" bIns="0" rtlCol="0">
              <a:spAutoFit/>
            </a:bodyPr>
            <a:lstStyle/>
            <a:p>
              <a:r>
                <a:rPr lang="en-US" sz="1600" dirty="0">
                  <a:solidFill>
                    <a:schemeClr val="bg1"/>
                  </a:solidFill>
                </a:rPr>
                <a:t> Renewable firming</a:t>
              </a:r>
            </a:p>
          </p:txBody>
        </p:sp>
        <p:sp>
          <p:nvSpPr>
            <p:cNvPr id="13" name="TextBox 12">
              <a:extLst>
                <a:ext uri="{FF2B5EF4-FFF2-40B4-BE49-F238E27FC236}">
                  <a16:creationId xmlns:a16="http://schemas.microsoft.com/office/drawing/2014/main" id="{97482541-B1BE-493C-91E7-7068C6B9F043}"/>
                </a:ext>
              </a:extLst>
            </p:cNvPr>
            <p:cNvSpPr txBox="1"/>
            <p:nvPr/>
          </p:nvSpPr>
          <p:spPr>
            <a:xfrm>
              <a:off x="8907170" y="1816758"/>
              <a:ext cx="2943225" cy="553998"/>
            </a:xfrm>
            <a:prstGeom prst="rect">
              <a:avLst/>
            </a:prstGeom>
            <a:solidFill>
              <a:schemeClr val="bg1"/>
            </a:solidFill>
            <a:ln>
              <a:solidFill>
                <a:schemeClr val="tx1"/>
              </a:solidFill>
            </a:ln>
          </p:spPr>
          <p:txBody>
            <a:bodyPr wrap="square" lIns="0" tIns="0" rIns="0" bIns="0" rtlCol="0">
              <a:spAutoFit/>
            </a:bodyPr>
            <a:lstStyle/>
            <a:p>
              <a:r>
                <a:rPr lang="en-US" sz="1200" dirty="0"/>
                <a:t> Storage system size range: 1 – 100 MW</a:t>
              </a:r>
            </a:p>
            <a:p>
              <a:r>
                <a:rPr lang="en-US" sz="1200" dirty="0"/>
                <a:t> Discharge duration range: 15min. – 1 hour</a:t>
              </a:r>
            </a:p>
            <a:p>
              <a:r>
                <a:rPr lang="en-US" sz="1200" dirty="0"/>
                <a:t> Minimum cycles/year: N/A</a:t>
              </a:r>
              <a:endParaRPr lang="en-US" sz="1200" dirty="0">
                <a:solidFill>
                  <a:schemeClr val="accent2"/>
                </a:solidFill>
              </a:endParaRPr>
            </a:p>
          </p:txBody>
        </p:sp>
      </p:grpSp>
      <p:sp>
        <p:nvSpPr>
          <p:cNvPr id="14" name="TextBox 13">
            <a:extLst>
              <a:ext uri="{FF2B5EF4-FFF2-40B4-BE49-F238E27FC236}">
                <a16:creationId xmlns:a16="http://schemas.microsoft.com/office/drawing/2014/main" id="{D61EF0D7-0D4F-4AF9-918B-A371A50166F7}"/>
              </a:ext>
            </a:extLst>
          </p:cNvPr>
          <p:cNvSpPr txBox="1"/>
          <p:nvPr/>
        </p:nvSpPr>
        <p:spPr>
          <a:xfrm>
            <a:off x="8549490" y="3981021"/>
            <a:ext cx="2943225" cy="246221"/>
          </a:xfrm>
          <a:prstGeom prst="rect">
            <a:avLst/>
          </a:prstGeom>
          <a:solidFill>
            <a:schemeClr val="accent1">
              <a:lumMod val="75000"/>
            </a:schemeClr>
          </a:solidFill>
          <a:ln>
            <a:solidFill>
              <a:schemeClr val="tx1"/>
            </a:solidFill>
          </a:ln>
        </p:spPr>
        <p:txBody>
          <a:bodyPr wrap="square" lIns="0" tIns="0" rIns="0" bIns="0" rtlCol="0">
            <a:spAutoFit/>
          </a:bodyPr>
          <a:lstStyle/>
          <a:p>
            <a:r>
              <a:rPr lang="en-US" sz="1600" dirty="0">
                <a:solidFill>
                  <a:schemeClr val="bg1"/>
                </a:solidFill>
              </a:rPr>
              <a:t> Ramp rate control of RE Plants</a:t>
            </a:r>
          </a:p>
        </p:txBody>
      </p:sp>
      <p:grpSp>
        <p:nvGrpSpPr>
          <p:cNvPr id="4" name="Group 3">
            <a:extLst>
              <a:ext uri="{FF2B5EF4-FFF2-40B4-BE49-F238E27FC236}">
                <a16:creationId xmlns:a16="http://schemas.microsoft.com/office/drawing/2014/main" id="{41CC514C-A948-48CB-BE45-FB42FD913FFB}"/>
              </a:ext>
            </a:extLst>
          </p:cNvPr>
          <p:cNvGrpSpPr/>
          <p:nvPr/>
        </p:nvGrpSpPr>
        <p:grpSpPr>
          <a:xfrm>
            <a:off x="398463" y="868363"/>
            <a:ext cx="7421834" cy="4530951"/>
            <a:chOff x="398463" y="868363"/>
            <a:chExt cx="8291512" cy="5589587"/>
          </a:xfrm>
        </p:grpSpPr>
        <p:pic>
          <p:nvPicPr>
            <p:cNvPr id="16" name="Picture 3" descr="SmartGrid_Updated2.tif">
              <a:extLst>
                <a:ext uri="{FF2B5EF4-FFF2-40B4-BE49-F238E27FC236}">
                  <a16:creationId xmlns:a16="http://schemas.microsoft.com/office/drawing/2014/main" id="{AE69B51A-A7EA-4A82-8D92-37E18A3920C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4025" y="868363"/>
              <a:ext cx="8235950" cy="558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Oval 3">
              <a:extLst>
                <a:ext uri="{FF2B5EF4-FFF2-40B4-BE49-F238E27FC236}">
                  <a16:creationId xmlns:a16="http://schemas.microsoft.com/office/drawing/2014/main" id="{FDB4C64D-2CC6-48B2-B069-DB10D0E2CD93}"/>
                </a:ext>
              </a:extLst>
            </p:cNvPr>
            <p:cNvSpPr>
              <a:spLocks noChangeArrowheads="1"/>
            </p:cNvSpPr>
            <p:nvPr/>
          </p:nvSpPr>
          <p:spPr bwMode="auto">
            <a:xfrm>
              <a:off x="398463" y="2298700"/>
              <a:ext cx="2546350" cy="1968500"/>
            </a:xfrm>
            <a:prstGeom prst="ellipse">
              <a:avLst/>
            </a:prstGeom>
            <a:noFill/>
            <a:ln w="28575">
              <a:solidFill>
                <a:srgbClr val="0070C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dirty="0"/>
            </a:p>
          </p:txBody>
        </p:sp>
      </p:grpSp>
      <p:sp>
        <p:nvSpPr>
          <p:cNvPr id="20" name="TextBox 19">
            <a:extLst>
              <a:ext uri="{FF2B5EF4-FFF2-40B4-BE49-F238E27FC236}">
                <a16:creationId xmlns:a16="http://schemas.microsoft.com/office/drawing/2014/main" id="{78878FC7-40DC-4752-AF2B-3F689663A223}"/>
              </a:ext>
            </a:extLst>
          </p:cNvPr>
          <p:cNvSpPr txBox="1"/>
          <p:nvPr/>
        </p:nvSpPr>
        <p:spPr>
          <a:xfrm>
            <a:off x="2989217" y="3242156"/>
            <a:ext cx="6135188" cy="369332"/>
          </a:xfrm>
          <a:prstGeom prst="rect">
            <a:avLst/>
          </a:prstGeom>
          <a:noFill/>
        </p:spPr>
        <p:txBody>
          <a:bodyPr wrap="square">
            <a:spAutoFit/>
          </a:bodyPr>
          <a:lstStyle/>
          <a:p>
            <a:r>
              <a:rPr lang="en-US" dirty="0"/>
              <a:t>CAES</a:t>
            </a:r>
          </a:p>
        </p:txBody>
      </p:sp>
      <p:sp>
        <p:nvSpPr>
          <p:cNvPr id="15" name="TextBox 21">
            <a:extLst>
              <a:ext uri="{FF2B5EF4-FFF2-40B4-BE49-F238E27FC236}">
                <a16:creationId xmlns:a16="http://schemas.microsoft.com/office/drawing/2014/main" id="{8EBAE558-CBB7-45E2-B0AC-2C8D0D697136}"/>
              </a:ext>
            </a:extLst>
          </p:cNvPr>
          <p:cNvSpPr txBox="1"/>
          <p:nvPr/>
        </p:nvSpPr>
        <p:spPr>
          <a:xfrm>
            <a:off x="3840480" y="6399982"/>
            <a:ext cx="5765074" cy="247839"/>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GE Inspira Sans"/>
                <a:ea typeface="+mn-ea"/>
                <a:cs typeface="+mn-cs"/>
              </a:rPr>
              <a:t>© 2021 General Electric Company. </a:t>
            </a:r>
          </a:p>
        </p:txBody>
      </p:sp>
    </p:spTree>
    <p:extLst>
      <p:ext uri="{BB962C8B-B14F-4D97-AF65-F5344CB8AC3E}">
        <p14:creationId xmlns:p14="http://schemas.microsoft.com/office/powerpoint/2010/main" val="555239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B0FA45-761F-44CF-A518-EAE3B3633775}"/>
              </a:ext>
            </a:extLst>
          </p:cNvPr>
          <p:cNvSpPr>
            <a:spLocks noGrp="1"/>
          </p:cNvSpPr>
          <p:nvPr>
            <p:ph type="dt" sz="half" idx="10"/>
          </p:nvPr>
        </p:nvSpPr>
        <p:spPr/>
        <p:txBody>
          <a:bodyPr/>
          <a:lstStyle/>
          <a:p>
            <a:fld id="{847652F8-2028-47EC-8E89-6F1BC4534984}" type="datetime4">
              <a:rPr lang="en-US" smtClean="0"/>
              <a:t>October 18, 2021</a:t>
            </a:fld>
            <a:endParaRPr lang="en-CA" dirty="0"/>
          </a:p>
        </p:txBody>
      </p:sp>
      <p:sp>
        <p:nvSpPr>
          <p:cNvPr id="3" name="Slide Number Placeholder 2">
            <a:extLst>
              <a:ext uri="{FF2B5EF4-FFF2-40B4-BE49-F238E27FC236}">
                <a16:creationId xmlns:a16="http://schemas.microsoft.com/office/drawing/2014/main" id="{0E8849C6-AB00-417B-9596-8174C27E5717}"/>
              </a:ext>
            </a:extLst>
          </p:cNvPr>
          <p:cNvSpPr>
            <a:spLocks noGrp="1"/>
          </p:cNvSpPr>
          <p:nvPr>
            <p:ph type="sldNum" sz="quarter" idx="12"/>
          </p:nvPr>
        </p:nvSpPr>
        <p:spPr/>
        <p:txBody>
          <a:bodyPr/>
          <a:lstStyle/>
          <a:p>
            <a:fld id="{00E6A5BD-C011-4A45-AA3A-201790FB7F2B}" type="slidenum">
              <a:rPr lang="en-CA" smtClean="0"/>
              <a:pPr/>
              <a:t>19</a:t>
            </a:fld>
            <a:endParaRPr lang="en-CA" dirty="0"/>
          </a:p>
        </p:txBody>
      </p:sp>
      <p:pic>
        <p:nvPicPr>
          <p:cNvPr id="6" name="Picture 5">
            <a:extLst>
              <a:ext uri="{FF2B5EF4-FFF2-40B4-BE49-F238E27FC236}">
                <a16:creationId xmlns:a16="http://schemas.microsoft.com/office/drawing/2014/main" id="{60FF1722-E5AB-4766-B453-C68F000D64E7}"/>
              </a:ext>
            </a:extLst>
          </p:cNvPr>
          <p:cNvPicPr>
            <a:picLocks noChangeAspect="1"/>
          </p:cNvPicPr>
          <p:nvPr/>
        </p:nvPicPr>
        <p:blipFill>
          <a:blip r:embed="rId2"/>
          <a:stretch>
            <a:fillRect/>
          </a:stretch>
        </p:blipFill>
        <p:spPr>
          <a:xfrm>
            <a:off x="1499643" y="781091"/>
            <a:ext cx="9001125" cy="4591050"/>
          </a:xfrm>
          <a:prstGeom prst="rect">
            <a:avLst/>
          </a:prstGeom>
        </p:spPr>
      </p:pic>
      <p:sp>
        <p:nvSpPr>
          <p:cNvPr id="7" name="Rectangle 40">
            <a:extLst>
              <a:ext uri="{FF2B5EF4-FFF2-40B4-BE49-F238E27FC236}">
                <a16:creationId xmlns:a16="http://schemas.microsoft.com/office/drawing/2014/main" id="{CFB49536-CDA2-40C5-9238-0C6B9634A465}"/>
              </a:ext>
            </a:extLst>
          </p:cNvPr>
          <p:cNvSpPr>
            <a:spLocks noChangeArrowheads="1"/>
          </p:cNvSpPr>
          <p:nvPr/>
        </p:nvSpPr>
        <p:spPr bwMode="auto">
          <a:xfrm>
            <a:off x="0" y="5762778"/>
            <a:ext cx="12192000" cy="400110"/>
          </a:xfrm>
          <a:prstGeom prst="rect">
            <a:avLst/>
          </a:prstGeom>
          <a:solidFill>
            <a:srgbClr val="1E4191"/>
          </a:solidFill>
          <a:ln w="25400" cap="rnd">
            <a:solidFill>
              <a:srgbClr val="1E4191"/>
            </a:solidFill>
            <a:round/>
            <a:headEnd/>
            <a:tailEnd/>
          </a:ln>
        </p:spPr>
        <p:txBody>
          <a:bodyPr wrap="square" lIns="45720" rIns="45720">
            <a:spAutoFit/>
          </a:bodyPr>
          <a:lstStyle/>
          <a:p>
            <a:pPr marL="0" marR="0" lvl="0" indent="0" algn="ctr" defTabSz="914400" eaLnBrk="0" fontAlgn="base" latinLnBrk="0" hangingPunct="0">
              <a:lnSpc>
                <a:spcPct val="100000"/>
              </a:lnSpc>
              <a:spcBef>
                <a:spcPct val="0"/>
              </a:spcBef>
              <a:spcAft>
                <a:spcPct val="0"/>
              </a:spcAft>
              <a:buClr>
                <a:srgbClr val="004880"/>
              </a:buClr>
              <a:buSzTx/>
              <a:buFontTx/>
              <a:buNone/>
              <a:tabLst/>
              <a:defRPr/>
            </a:pPr>
            <a:r>
              <a:rPr kumimoji="0" lang="en-US" sz="2000" b="1" i="0" u="none" strike="noStrike" kern="0" cap="none" spc="0" normalizeH="0" baseline="0" noProof="0" dirty="0">
                <a:ln>
                  <a:noFill/>
                </a:ln>
                <a:solidFill>
                  <a:srgbClr val="FFFFFF"/>
                </a:solidFill>
                <a:effectLst/>
                <a:uLnTx/>
                <a:uFillTx/>
                <a:latin typeface="GE Inspira Pitch" pitchFamily="34" charset="0"/>
                <a:cs typeface="Times New Roman" pitchFamily="18" charset="0"/>
              </a:rPr>
              <a:t>Energy Storage can provide all of these services but must choose which few to provide in each application…</a:t>
            </a:r>
          </a:p>
        </p:txBody>
      </p:sp>
      <p:sp>
        <p:nvSpPr>
          <p:cNvPr id="8" name="Title 3">
            <a:extLst>
              <a:ext uri="{FF2B5EF4-FFF2-40B4-BE49-F238E27FC236}">
                <a16:creationId xmlns:a16="http://schemas.microsoft.com/office/drawing/2014/main" id="{B8051C2E-DDDF-430B-8E6A-02212A1CB411}"/>
              </a:ext>
            </a:extLst>
          </p:cNvPr>
          <p:cNvSpPr>
            <a:spLocks noGrp="1"/>
          </p:cNvSpPr>
          <p:nvPr>
            <p:ph type="title"/>
          </p:nvPr>
        </p:nvSpPr>
        <p:spPr>
          <a:xfrm>
            <a:off x="495300" y="162538"/>
            <a:ext cx="11201400" cy="914400"/>
          </a:xfrm>
        </p:spPr>
        <p:txBody>
          <a:bodyPr/>
          <a:lstStyle/>
          <a:p>
            <a:pPr algn="ctr"/>
            <a:r>
              <a:rPr lang="en-US" dirty="0"/>
              <a:t>Stackable Value Streams for Energy Storage Systems</a:t>
            </a:r>
          </a:p>
        </p:txBody>
      </p:sp>
      <p:sp>
        <p:nvSpPr>
          <p:cNvPr id="9" name="TextBox 21">
            <a:extLst>
              <a:ext uri="{FF2B5EF4-FFF2-40B4-BE49-F238E27FC236}">
                <a16:creationId xmlns:a16="http://schemas.microsoft.com/office/drawing/2014/main" id="{C812BC9C-4F66-4EBA-80D1-CF80EF8E7539}"/>
              </a:ext>
            </a:extLst>
          </p:cNvPr>
          <p:cNvSpPr txBox="1"/>
          <p:nvPr/>
        </p:nvSpPr>
        <p:spPr>
          <a:xfrm>
            <a:off x="3840480" y="6399982"/>
            <a:ext cx="5765074" cy="247839"/>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GE Inspira Sans"/>
                <a:ea typeface="+mn-ea"/>
                <a:cs typeface="+mn-cs"/>
              </a:rPr>
              <a:t>© 2021 General Electric Company. </a:t>
            </a:r>
          </a:p>
        </p:txBody>
      </p:sp>
    </p:spTree>
    <p:extLst>
      <p:ext uri="{BB962C8B-B14F-4D97-AF65-F5344CB8AC3E}">
        <p14:creationId xmlns:p14="http://schemas.microsoft.com/office/powerpoint/2010/main" val="25800303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7152" y="480936"/>
            <a:ext cx="8997696" cy="914400"/>
          </a:xfrm>
        </p:spPr>
        <p:txBody>
          <a:bodyPr/>
          <a:lstStyle/>
          <a:p>
            <a:pPr algn="ctr"/>
            <a:r>
              <a:rPr lang="en-US" sz="6000" dirty="0"/>
              <a:t>Agenda</a:t>
            </a:r>
          </a:p>
        </p:txBody>
      </p:sp>
      <p:sp>
        <p:nvSpPr>
          <p:cNvPr id="5" name="Slide Number Placeholder 4"/>
          <p:cNvSpPr>
            <a:spLocks noGrp="1"/>
          </p:cNvSpPr>
          <p:nvPr>
            <p:ph type="sldNum" sz="quarter" idx="12"/>
          </p:nvPr>
        </p:nvSpPr>
        <p:spPr/>
        <p:txBody>
          <a:bodyPr/>
          <a:lstStyle/>
          <a:p>
            <a:fld id="{00E6A5BD-C011-4A45-AA3A-201790FB7F2B}" type="slidenum">
              <a:rPr lang="en-US" smtClean="0"/>
              <a:t>2</a:t>
            </a:fld>
            <a:endParaRPr lang="en-US" dirty="0"/>
          </a:p>
        </p:txBody>
      </p:sp>
      <p:grpSp>
        <p:nvGrpSpPr>
          <p:cNvPr id="49" name="Group 48">
            <a:extLst>
              <a:ext uri="{FF2B5EF4-FFF2-40B4-BE49-F238E27FC236}">
                <a16:creationId xmlns:a16="http://schemas.microsoft.com/office/drawing/2014/main" id="{60CE274F-68CE-410A-A62A-AA8028EAD3F7}"/>
              </a:ext>
            </a:extLst>
          </p:cNvPr>
          <p:cNvGrpSpPr/>
          <p:nvPr/>
        </p:nvGrpSpPr>
        <p:grpSpPr>
          <a:xfrm>
            <a:off x="898598" y="1412676"/>
            <a:ext cx="10431254" cy="3105962"/>
            <a:chOff x="898598" y="1412676"/>
            <a:chExt cx="10431254" cy="3105962"/>
          </a:xfrm>
        </p:grpSpPr>
        <p:sp>
          <p:nvSpPr>
            <p:cNvPr id="19" name="Rectangle 18">
              <a:extLst>
                <a:ext uri="{FF2B5EF4-FFF2-40B4-BE49-F238E27FC236}">
                  <a16:creationId xmlns:a16="http://schemas.microsoft.com/office/drawing/2014/main" id="{60F3BE6D-510A-41FE-A23B-3D578E6467E1}"/>
                </a:ext>
              </a:extLst>
            </p:cNvPr>
            <p:cNvSpPr/>
            <p:nvPr/>
          </p:nvSpPr>
          <p:spPr>
            <a:xfrm>
              <a:off x="898598" y="1412676"/>
              <a:ext cx="1059960" cy="634636"/>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3600" b="1" dirty="0">
                  <a:solidFill>
                    <a:schemeClr val="accent3">
                      <a:lumMod val="75000"/>
                    </a:schemeClr>
                  </a:solidFill>
                </a:rPr>
                <a:t>01</a:t>
              </a:r>
              <a:r>
                <a:rPr lang="en-US" sz="4800" b="1" dirty="0">
                  <a:solidFill>
                    <a:schemeClr val="tx1"/>
                  </a:solidFill>
                </a:rPr>
                <a:t> </a:t>
              </a:r>
            </a:p>
            <a:p>
              <a:endParaRPr lang="en-US" sz="3600" dirty="0">
                <a:solidFill>
                  <a:schemeClr val="tx1"/>
                </a:solidFill>
              </a:endParaRPr>
            </a:p>
            <a:p>
              <a:pPr marL="342900" indent="-342900">
                <a:buFont typeface="+mj-lt"/>
                <a:buAutoNum type="arabicPeriod"/>
              </a:pPr>
              <a:endParaRPr lang="en-US" sz="2800" dirty="0">
                <a:solidFill>
                  <a:schemeClr val="tx1"/>
                </a:solidFill>
              </a:endParaRPr>
            </a:p>
          </p:txBody>
        </p:sp>
        <p:grpSp>
          <p:nvGrpSpPr>
            <p:cNvPr id="48" name="Group 47">
              <a:extLst>
                <a:ext uri="{FF2B5EF4-FFF2-40B4-BE49-F238E27FC236}">
                  <a16:creationId xmlns:a16="http://schemas.microsoft.com/office/drawing/2014/main" id="{DDC4D537-E838-40C6-B776-EC7630375D4C}"/>
                </a:ext>
              </a:extLst>
            </p:cNvPr>
            <p:cNvGrpSpPr/>
            <p:nvPr/>
          </p:nvGrpSpPr>
          <p:grpSpPr>
            <a:xfrm>
              <a:off x="898598" y="1599076"/>
              <a:ext cx="10431254" cy="2919562"/>
              <a:chOff x="898598" y="1599076"/>
              <a:chExt cx="10431254" cy="2919562"/>
            </a:xfrm>
          </p:grpSpPr>
          <p:sp>
            <p:nvSpPr>
              <p:cNvPr id="7" name="Rectangle 6">
                <a:extLst>
                  <a:ext uri="{FF2B5EF4-FFF2-40B4-BE49-F238E27FC236}">
                    <a16:creationId xmlns:a16="http://schemas.microsoft.com/office/drawing/2014/main" id="{DA9840D4-FFD9-451D-922A-F7DEA51586CD}"/>
                  </a:ext>
                </a:extLst>
              </p:cNvPr>
              <p:cNvSpPr/>
              <p:nvPr/>
            </p:nvSpPr>
            <p:spPr>
              <a:xfrm>
                <a:off x="2420983" y="1599076"/>
                <a:ext cx="8908869" cy="5464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t> </a:t>
                </a:r>
                <a:r>
                  <a:rPr lang="en-US" sz="2400" dirty="0">
                    <a:solidFill>
                      <a:schemeClr val="tx1"/>
                    </a:solidFill>
                  </a:rPr>
                  <a:t>Evolving energy transition globally and in Southern Africa</a:t>
                </a:r>
                <a:endParaRPr lang="en-US" sz="2800" dirty="0">
                  <a:solidFill>
                    <a:schemeClr val="tx1"/>
                  </a:solidFill>
                </a:endParaRPr>
              </a:p>
            </p:txBody>
          </p:sp>
          <p:cxnSp>
            <p:nvCxnSpPr>
              <p:cNvPr id="11" name="Straight Connector 10">
                <a:extLst>
                  <a:ext uri="{FF2B5EF4-FFF2-40B4-BE49-F238E27FC236}">
                    <a16:creationId xmlns:a16="http://schemas.microsoft.com/office/drawing/2014/main" id="{5B1924DB-8E75-45A8-A886-F47C8E10A044}"/>
                  </a:ext>
                </a:extLst>
              </p:cNvPr>
              <p:cNvCxnSpPr/>
              <p:nvPr/>
            </p:nvCxnSpPr>
            <p:spPr>
              <a:xfrm>
                <a:off x="898598" y="2142311"/>
                <a:ext cx="10431254" cy="0"/>
              </a:xfrm>
              <a:prstGeom prst="line">
                <a:avLst/>
              </a:prstGeom>
              <a:ln>
                <a:solidFill>
                  <a:schemeClr val="tx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1EF6402D-7C92-444B-B76B-245C342EAC1E}"/>
                  </a:ext>
                </a:extLst>
              </p:cNvPr>
              <p:cNvGrpSpPr/>
              <p:nvPr/>
            </p:nvGrpSpPr>
            <p:grpSpPr>
              <a:xfrm>
                <a:off x="898598" y="2029118"/>
                <a:ext cx="10431254" cy="720590"/>
                <a:chOff x="567672" y="2417723"/>
                <a:chExt cx="10431254" cy="720590"/>
              </a:xfrm>
            </p:grpSpPr>
            <p:sp>
              <p:nvSpPr>
                <p:cNvPr id="16" name="Rectangle 15">
                  <a:extLst>
                    <a:ext uri="{FF2B5EF4-FFF2-40B4-BE49-F238E27FC236}">
                      <a16:creationId xmlns:a16="http://schemas.microsoft.com/office/drawing/2014/main" id="{534775D9-6146-4E9C-A924-5B751093B833}"/>
                    </a:ext>
                  </a:extLst>
                </p:cNvPr>
                <p:cNvSpPr/>
                <p:nvPr/>
              </p:nvSpPr>
              <p:spPr>
                <a:xfrm>
                  <a:off x="567672" y="2417723"/>
                  <a:ext cx="1059960" cy="622329"/>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3600" b="1" dirty="0">
                      <a:solidFill>
                        <a:schemeClr val="accent3">
                          <a:lumMod val="75000"/>
                        </a:schemeClr>
                      </a:solidFill>
                    </a:rPr>
                    <a:t>02</a:t>
                  </a:r>
                  <a:r>
                    <a:rPr lang="en-US" sz="4800" dirty="0">
                      <a:solidFill>
                        <a:schemeClr val="tx1"/>
                      </a:solidFill>
                    </a:rPr>
                    <a:t> </a:t>
                  </a:r>
                </a:p>
                <a:p>
                  <a:endParaRPr lang="en-US" sz="3600" dirty="0">
                    <a:solidFill>
                      <a:schemeClr val="tx1"/>
                    </a:solidFill>
                  </a:endParaRPr>
                </a:p>
                <a:p>
                  <a:pPr marL="342900" indent="-342900">
                    <a:buFont typeface="+mj-lt"/>
                    <a:buAutoNum type="arabicPeriod"/>
                  </a:pPr>
                  <a:endParaRPr lang="en-US" sz="2800" dirty="0">
                    <a:solidFill>
                      <a:schemeClr val="tx1"/>
                    </a:solidFill>
                  </a:endParaRPr>
                </a:p>
              </p:txBody>
            </p:sp>
            <p:sp>
              <p:nvSpPr>
                <p:cNvPr id="18" name="Rectangle 17">
                  <a:extLst>
                    <a:ext uri="{FF2B5EF4-FFF2-40B4-BE49-F238E27FC236}">
                      <a16:creationId xmlns:a16="http://schemas.microsoft.com/office/drawing/2014/main" id="{7A18F0B1-F72D-412B-A267-27F3D7501337}"/>
                    </a:ext>
                  </a:extLst>
                </p:cNvPr>
                <p:cNvSpPr/>
                <p:nvPr/>
              </p:nvSpPr>
              <p:spPr>
                <a:xfrm>
                  <a:off x="2090057" y="2591817"/>
                  <a:ext cx="8908869" cy="5464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t> </a:t>
                  </a:r>
                  <a:r>
                    <a:rPr lang="en-US" sz="2400" dirty="0">
                      <a:solidFill>
                        <a:schemeClr val="tx1"/>
                      </a:solidFill>
                    </a:rPr>
                    <a:t>Grid challenges related to energy transition</a:t>
                  </a:r>
                  <a:endParaRPr lang="en-US" sz="2800" dirty="0">
                    <a:solidFill>
                      <a:schemeClr val="tx1"/>
                    </a:solidFill>
                  </a:endParaRPr>
                </a:p>
              </p:txBody>
            </p:sp>
            <p:cxnSp>
              <p:nvCxnSpPr>
                <p:cNvPr id="20" name="Straight Connector 19">
                  <a:extLst>
                    <a:ext uri="{FF2B5EF4-FFF2-40B4-BE49-F238E27FC236}">
                      <a16:creationId xmlns:a16="http://schemas.microsoft.com/office/drawing/2014/main" id="{A9023564-E634-4168-920B-F7B0B8734485}"/>
                    </a:ext>
                  </a:extLst>
                </p:cNvPr>
                <p:cNvCxnSpPr/>
                <p:nvPr/>
              </p:nvCxnSpPr>
              <p:spPr>
                <a:xfrm>
                  <a:off x="567672" y="3138313"/>
                  <a:ext cx="10431254" cy="0"/>
                </a:xfrm>
                <a:prstGeom prst="line">
                  <a:avLst/>
                </a:prstGeom>
                <a:ln>
                  <a:solidFill>
                    <a:schemeClr val="tx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459A882C-B0BE-4D8E-B5ED-AD3CEAA2C85F}"/>
                  </a:ext>
                </a:extLst>
              </p:cNvPr>
              <p:cNvGrpSpPr/>
              <p:nvPr/>
            </p:nvGrpSpPr>
            <p:grpSpPr>
              <a:xfrm>
                <a:off x="898598" y="2626749"/>
                <a:ext cx="10431254" cy="720590"/>
                <a:chOff x="567672" y="2417723"/>
                <a:chExt cx="10431254" cy="720590"/>
              </a:xfrm>
            </p:grpSpPr>
            <p:sp>
              <p:nvSpPr>
                <p:cNvPr id="24" name="Rectangle 23">
                  <a:extLst>
                    <a:ext uri="{FF2B5EF4-FFF2-40B4-BE49-F238E27FC236}">
                      <a16:creationId xmlns:a16="http://schemas.microsoft.com/office/drawing/2014/main" id="{ECBAC06D-24BC-45DC-9442-55BC593FF010}"/>
                    </a:ext>
                  </a:extLst>
                </p:cNvPr>
                <p:cNvSpPr/>
                <p:nvPr/>
              </p:nvSpPr>
              <p:spPr>
                <a:xfrm>
                  <a:off x="567672" y="2417723"/>
                  <a:ext cx="1059960" cy="622329"/>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3600" b="1" dirty="0">
                      <a:solidFill>
                        <a:schemeClr val="accent3">
                          <a:lumMod val="75000"/>
                        </a:schemeClr>
                      </a:solidFill>
                    </a:rPr>
                    <a:t>03</a:t>
                  </a:r>
                  <a:r>
                    <a:rPr lang="en-US" sz="4800" dirty="0">
                      <a:solidFill>
                        <a:schemeClr val="tx1"/>
                      </a:solidFill>
                    </a:rPr>
                    <a:t> </a:t>
                  </a:r>
                </a:p>
                <a:p>
                  <a:endParaRPr lang="en-US" sz="3600" dirty="0">
                    <a:solidFill>
                      <a:schemeClr val="tx1"/>
                    </a:solidFill>
                  </a:endParaRPr>
                </a:p>
                <a:p>
                  <a:pPr marL="342900" indent="-342900">
                    <a:buFont typeface="+mj-lt"/>
                    <a:buAutoNum type="arabicPeriod"/>
                  </a:pPr>
                  <a:endParaRPr lang="en-US" sz="2800" dirty="0">
                    <a:solidFill>
                      <a:schemeClr val="tx1"/>
                    </a:solidFill>
                  </a:endParaRPr>
                </a:p>
              </p:txBody>
            </p:sp>
            <p:sp>
              <p:nvSpPr>
                <p:cNvPr id="25" name="Rectangle 24">
                  <a:extLst>
                    <a:ext uri="{FF2B5EF4-FFF2-40B4-BE49-F238E27FC236}">
                      <a16:creationId xmlns:a16="http://schemas.microsoft.com/office/drawing/2014/main" id="{9BA1B000-6974-49E8-BE58-A2AF0F01EF78}"/>
                    </a:ext>
                  </a:extLst>
                </p:cNvPr>
                <p:cNvSpPr/>
                <p:nvPr/>
              </p:nvSpPr>
              <p:spPr>
                <a:xfrm>
                  <a:off x="2090057" y="2591817"/>
                  <a:ext cx="8908869" cy="5464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t> </a:t>
                  </a:r>
                  <a:r>
                    <a:rPr lang="en-US" sz="2400" dirty="0">
                      <a:solidFill>
                        <a:schemeClr val="tx1"/>
                      </a:solidFill>
                    </a:rPr>
                    <a:t>Grid-scale energy storage as enabler of renewable transition</a:t>
                  </a:r>
                  <a:endParaRPr lang="en-US" sz="2800" dirty="0">
                    <a:solidFill>
                      <a:schemeClr val="tx1"/>
                    </a:solidFill>
                  </a:endParaRPr>
                </a:p>
              </p:txBody>
            </p:sp>
            <p:cxnSp>
              <p:nvCxnSpPr>
                <p:cNvPr id="26" name="Straight Connector 25">
                  <a:extLst>
                    <a:ext uri="{FF2B5EF4-FFF2-40B4-BE49-F238E27FC236}">
                      <a16:creationId xmlns:a16="http://schemas.microsoft.com/office/drawing/2014/main" id="{041DF037-FF13-40A1-86DE-C569C54E40B8}"/>
                    </a:ext>
                  </a:extLst>
                </p:cNvPr>
                <p:cNvCxnSpPr/>
                <p:nvPr/>
              </p:nvCxnSpPr>
              <p:spPr>
                <a:xfrm>
                  <a:off x="567672" y="3138313"/>
                  <a:ext cx="10431254" cy="0"/>
                </a:xfrm>
                <a:prstGeom prst="line">
                  <a:avLst/>
                </a:prstGeom>
                <a:ln>
                  <a:solidFill>
                    <a:schemeClr val="tx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BEA03107-551B-41E7-B52F-39EF0F2E3A98}"/>
                  </a:ext>
                </a:extLst>
              </p:cNvPr>
              <p:cNvGrpSpPr/>
              <p:nvPr/>
            </p:nvGrpSpPr>
            <p:grpSpPr>
              <a:xfrm>
                <a:off x="898598" y="3202554"/>
                <a:ext cx="10431254" cy="720590"/>
                <a:chOff x="567672" y="2417723"/>
                <a:chExt cx="10431254" cy="720590"/>
              </a:xfrm>
            </p:grpSpPr>
            <p:sp>
              <p:nvSpPr>
                <p:cNvPr id="29" name="Rectangle 28">
                  <a:extLst>
                    <a:ext uri="{FF2B5EF4-FFF2-40B4-BE49-F238E27FC236}">
                      <a16:creationId xmlns:a16="http://schemas.microsoft.com/office/drawing/2014/main" id="{7ABC6ACD-8190-445E-ACFE-CF6DCCCB51C1}"/>
                    </a:ext>
                  </a:extLst>
                </p:cNvPr>
                <p:cNvSpPr/>
                <p:nvPr/>
              </p:nvSpPr>
              <p:spPr>
                <a:xfrm>
                  <a:off x="567672" y="2417723"/>
                  <a:ext cx="1059960" cy="622329"/>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3600" b="1" dirty="0">
                      <a:solidFill>
                        <a:schemeClr val="accent3">
                          <a:lumMod val="75000"/>
                        </a:schemeClr>
                      </a:solidFill>
                    </a:rPr>
                    <a:t>04</a:t>
                  </a:r>
                  <a:r>
                    <a:rPr lang="en-US" sz="4800" dirty="0">
                      <a:solidFill>
                        <a:schemeClr val="tx1"/>
                      </a:solidFill>
                    </a:rPr>
                    <a:t> </a:t>
                  </a:r>
                </a:p>
                <a:p>
                  <a:endParaRPr lang="en-US" sz="3600" dirty="0">
                    <a:solidFill>
                      <a:schemeClr val="tx1"/>
                    </a:solidFill>
                  </a:endParaRPr>
                </a:p>
                <a:p>
                  <a:pPr marL="342900" indent="-342900">
                    <a:buFont typeface="+mj-lt"/>
                    <a:buAutoNum type="arabicPeriod"/>
                  </a:pPr>
                  <a:endParaRPr lang="en-US" sz="2800" dirty="0">
                    <a:solidFill>
                      <a:schemeClr val="tx1"/>
                    </a:solidFill>
                  </a:endParaRPr>
                </a:p>
              </p:txBody>
            </p:sp>
            <p:sp>
              <p:nvSpPr>
                <p:cNvPr id="30" name="Rectangle 29">
                  <a:extLst>
                    <a:ext uri="{FF2B5EF4-FFF2-40B4-BE49-F238E27FC236}">
                      <a16:creationId xmlns:a16="http://schemas.microsoft.com/office/drawing/2014/main" id="{D066BD03-A726-4229-A27F-47D7EDE45C98}"/>
                    </a:ext>
                  </a:extLst>
                </p:cNvPr>
                <p:cNvSpPr/>
                <p:nvPr/>
              </p:nvSpPr>
              <p:spPr>
                <a:xfrm>
                  <a:off x="2090057" y="2591817"/>
                  <a:ext cx="8908869" cy="5464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t> </a:t>
                  </a:r>
                  <a:endParaRPr lang="en-US" sz="2800" dirty="0">
                    <a:solidFill>
                      <a:schemeClr val="tx1"/>
                    </a:solidFill>
                  </a:endParaRPr>
                </a:p>
              </p:txBody>
            </p:sp>
            <p:cxnSp>
              <p:nvCxnSpPr>
                <p:cNvPr id="31" name="Straight Connector 30">
                  <a:extLst>
                    <a:ext uri="{FF2B5EF4-FFF2-40B4-BE49-F238E27FC236}">
                      <a16:creationId xmlns:a16="http://schemas.microsoft.com/office/drawing/2014/main" id="{AFECE137-4812-4C55-9C59-5CAF7EAE3E7D}"/>
                    </a:ext>
                  </a:extLst>
                </p:cNvPr>
                <p:cNvCxnSpPr/>
                <p:nvPr/>
              </p:nvCxnSpPr>
              <p:spPr>
                <a:xfrm>
                  <a:off x="567672" y="3138313"/>
                  <a:ext cx="10431254" cy="0"/>
                </a:xfrm>
                <a:prstGeom prst="line">
                  <a:avLst/>
                </a:prstGeom>
                <a:ln>
                  <a:solidFill>
                    <a:schemeClr val="tx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2CF483FB-40F8-41B9-BC5A-726312305F0E}"/>
                  </a:ext>
                </a:extLst>
              </p:cNvPr>
              <p:cNvGrpSpPr/>
              <p:nvPr/>
            </p:nvGrpSpPr>
            <p:grpSpPr>
              <a:xfrm>
                <a:off x="898598" y="3798048"/>
                <a:ext cx="10431254" cy="720590"/>
                <a:chOff x="567672" y="2417723"/>
                <a:chExt cx="10431254" cy="720590"/>
              </a:xfrm>
            </p:grpSpPr>
            <p:sp>
              <p:nvSpPr>
                <p:cNvPr id="33" name="Rectangle 32">
                  <a:extLst>
                    <a:ext uri="{FF2B5EF4-FFF2-40B4-BE49-F238E27FC236}">
                      <a16:creationId xmlns:a16="http://schemas.microsoft.com/office/drawing/2014/main" id="{D5B39F31-5790-4124-825F-D0A1D9815621}"/>
                    </a:ext>
                  </a:extLst>
                </p:cNvPr>
                <p:cNvSpPr/>
                <p:nvPr/>
              </p:nvSpPr>
              <p:spPr>
                <a:xfrm>
                  <a:off x="567672" y="2417723"/>
                  <a:ext cx="1059960" cy="622329"/>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3600" b="1" dirty="0">
                      <a:solidFill>
                        <a:schemeClr val="accent3">
                          <a:lumMod val="75000"/>
                        </a:schemeClr>
                      </a:solidFill>
                    </a:rPr>
                    <a:t>05</a:t>
                  </a:r>
                  <a:r>
                    <a:rPr lang="en-US" sz="4800" dirty="0">
                      <a:solidFill>
                        <a:schemeClr val="tx1"/>
                      </a:solidFill>
                    </a:rPr>
                    <a:t> </a:t>
                  </a:r>
                </a:p>
                <a:p>
                  <a:endParaRPr lang="en-US" sz="3600" dirty="0">
                    <a:solidFill>
                      <a:schemeClr val="tx1"/>
                    </a:solidFill>
                  </a:endParaRPr>
                </a:p>
                <a:p>
                  <a:pPr marL="342900" indent="-342900">
                    <a:buFont typeface="+mj-lt"/>
                    <a:buAutoNum type="arabicPeriod"/>
                  </a:pPr>
                  <a:endParaRPr lang="en-US" sz="2800" dirty="0">
                    <a:solidFill>
                      <a:schemeClr val="tx1"/>
                    </a:solidFill>
                  </a:endParaRPr>
                </a:p>
              </p:txBody>
            </p:sp>
            <p:cxnSp>
              <p:nvCxnSpPr>
                <p:cNvPr id="35" name="Straight Connector 34">
                  <a:extLst>
                    <a:ext uri="{FF2B5EF4-FFF2-40B4-BE49-F238E27FC236}">
                      <a16:creationId xmlns:a16="http://schemas.microsoft.com/office/drawing/2014/main" id="{B9B9A172-1453-49CE-A3EB-F76C3999C73D}"/>
                    </a:ext>
                  </a:extLst>
                </p:cNvPr>
                <p:cNvCxnSpPr/>
                <p:nvPr/>
              </p:nvCxnSpPr>
              <p:spPr>
                <a:xfrm>
                  <a:off x="567672" y="3138313"/>
                  <a:ext cx="10431254" cy="0"/>
                </a:xfrm>
                <a:prstGeom prst="line">
                  <a:avLst/>
                </a:prstGeom>
                <a:ln>
                  <a:solidFill>
                    <a:schemeClr val="tx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grpSp>
      <p:sp>
        <p:nvSpPr>
          <p:cNvPr id="50" name="Rectangle 49">
            <a:extLst>
              <a:ext uri="{FF2B5EF4-FFF2-40B4-BE49-F238E27FC236}">
                <a16:creationId xmlns:a16="http://schemas.microsoft.com/office/drawing/2014/main" id="{3F139D8A-66A2-49E7-A1E8-BFC710709F15}"/>
              </a:ext>
            </a:extLst>
          </p:cNvPr>
          <p:cNvSpPr/>
          <p:nvPr/>
        </p:nvSpPr>
        <p:spPr>
          <a:xfrm>
            <a:off x="2420983" y="3327518"/>
            <a:ext cx="8908869" cy="5464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Grid-scale energy storage use cases for grid flexibility</a:t>
            </a:r>
            <a:endParaRPr lang="en-US" sz="2800" dirty="0">
              <a:solidFill>
                <a:schemeClr val="tx1"/>
              </a:solidFill>
            </a:endParaRPr>
          </a:p>
        </p:txBody>
      </p:sp>
      <p:sp>
        <p:nvSpPr>
          <p:cNvPr id="51" name="Rectangle 50">
            <a:extLst>
              <a:ext uri="{FF2B5EF4-FFF2-40B4-BE49-F238E27FC236}">
                <a16:creationId xmlns:a16="http://schemas.microsoft.com/office/drawing/2014/main" id="{624C46E7-2D79-4164-A9FA-951B343CF2A9}"/>
              </a:ext>
            </a:extLst>
          </p:cNvPr>
          <p:cNvSpPr/>
          <p:nvPr/>
        </p:nvSpPr>
        <p:spPr>
          <a:xfrm>
            <a:off x="2384533" y="3932956"/>
            <a:ext cx="8908869" cy="5464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tx1"/>
                </a:solidFill>
              </a:rPr>
              <a:t> GE Energy Storage integration solutions…</a:t>
            </a:r>
            <a:endParaRPr lang="en-US" sz="2800" dirty="0">
              <a:solidFill>
                <a:schemeClr val="tx1"/>
              </a:solidFill>
            </a:endParaRPr>
          </a:p>
        </p:txBody>
      </p:sp>
      <p:sp>
        <p:nvSpPr>
          <p:cNvPr id="34" name="TextBox 21">
            <a:extLst>
              <a:ext uri="{FF2B5EF4-FFF2-40B4-BE49-F238E27FC236}">
                <a16:creationId xmlns:a16="http://schemas.microsoft.com/office/drawing/2014/main" id="{6439A02A-9C9A-49DD-B6AE-6EEEF57C8166}"/>
              </a:ext>
            </a:extLst>
          </p:cNvPr>
          <p:cNvSpPr txBox="1"/>
          <p:nvPr/>
        </p:nvSpPr>
        <p:spPr>
          <a:xfrm>
            <a:off x="3884023" y="6492497"/>
            <a:ext cx="5765074" cy="247839"/>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GE Inspira Sans"/>
                <a:ea typeface="+mn-ea"/>
                <a:cs typeface="+mn-cs"/>
              </a:rPr>
              <a:t>© 2021 General Electric Company. </a:t>
            </a:r>
          </a:p>
        </p:txBody>
      </p:sp>
    </p:spTree>
    <p:extLst>
      <p:ext uri="{BB962C8B-B14F-4D97-AF65-F5344CB8AC3E}">
        <p14:creationId xmlns:p14="http://schemas.microsoft.com/office/powerpoint/2010/main" val="10328355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201BAEF-37B7-4046-BEE8-20BA24136E04}"/>
              </a:ext>
            </a:extLst>
          </p:cNvPr>
          <p:cNvSpPr>
            <a:spLocks noGrp="1"/>
          </p:cNvSpPr>
          <p:nvPr>
            <p:ph type="dt" sz="half" idx="10"/>
          </p:nvPr>
        </p:nvSpPr>
        <p:spPr/>
        <p:txBody>
          <a:bodyPr/>
          <a:lstStyle/>
          <a:p>
            <a:fld id="{847652F8-2028-47EC-8E89-6F1BC4534984}" type="datetime4">
              <a:rPr lang="en-US" smtClean="0"/>
              <a:t>October 18, 2021</a:t>
            </a:fld>
            <a:endParaRPr lang="en-CA" dirty="0"/>
          </a:p>
        </p:txBody>
      </p:sp>
      <p:sp>
        <p:nvSpPr>
          <p:cNvPr id="3" name="Slide Number Placeholder 2">
            <a:extLst>
              <a:ext uri="{FF2B5EF4-FFF2-40B4-BE49-F238E27FC236}">
                <a16:creationId xmlns:a16="http://schemas.microsoft.com/office/drawing/2014/main" id="{9F0F43BF-4C14-4222-B87F-90CAAED105C9}"/>
              </a:ext>
            </a:extLst>
          </p:cNvPr>
          <p:cNvSpPr>
            <a:spLocks noGrp="1"/>
          </p:cNvSpPr>
          <p:nvPr>
            <p:ph type="sldNum" sz="quarter" idx="12"/>
          </p:nvPr>
        </p:nvSpPr>
        <p:spPr/>
        <p:txBody>
          <a:bodyPr/>
          <a:lstStyle/>
          <a:p>
            <a:fld id="{00E6A5BD-C011-4A45-AA3A-201790FB7F2B}" type="slidenum">
              <a:rPr lang="en-CA" smtClean="0"/>
              <a:pPr/>
              <a:t>20</a:t>
            </a:fld>
            <a:endParaRPr lang="en-CA" dirty="0"/>
          </a:p>
        </p:txBody>
      </p:sp>
      <p:sp>
        <p:nvSpPr>
          <p:cNvPr id="46" name="Text Box 1038">
            <a:extLst>
              <a:ext uri="{FF2B5EF4-FFF2-40B4-BE49-F238E27FC236}">
                <a16:creationId xmlns:a16="http://schemas.microsoft.com/office/drawing/2014/main" id="{53F26EC6-8012-44DD-B135-25DDDB08264A}"/>
              </a:ext>
            </a:extLst>
          </p:cNvPr>
          <p:cNvSpPr txBox="1">
            <a:spLocks noChangeArrowheads="1"/>
          </p:cNvSpPr>
          <p:nvPr/>
        </p:nvSpPr>
        <p:spPr bwMode="auto">
          <a:xfrm>
            <a:off x="4714750" y="593659"/>
            <a:ext cx="3514725" cy="461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501" tIns="46250" rIns="92501" bIns="46250">
            <a:spAutoFit/>
          </a:bodyPr>
          <a:lstStyle>
            <a:lvl1pPr defTabSz="925513" eaLnBrk="0" hangingPunct="0">
              <a:defRPr sz="1400">
                <a:solidFill>
                  <a:schemeClr val="tx1"/>
                </a:solidFill>
                <a:latin typeface="GE Inspira" pitchFamily="34" charset="0"/>
              </a:defRPr>
            </a:lvl1pPr>
            <a:lvl2pPr marL="742950" indent="-285750" defTabSz="925513" eaLnBrk="0" hangingPunct="0">
              <a:defRPr sz="1400">
                <a:solidFill>
                  <a:schemeClr val="tx1"/>
                </a:solidFill>
                <a:latin typeface="GE Inspira" pitchFamily="34" charset="0"/>
              </a:defRPr>
            </a:lvl2pPr>
            <a:lvl3pPr marL="1143000" indent="-228600" defTabSz="925513" eaLnBrk="0" hangingPunct="0">
              <a:defRPr sz="1400">
                <a:solidFill>
                  <a:schemeClr val="tx1"/>
                </a:solidFill>
                <a:latin typeface="GE Inspira" pitchFamily="34" charset="0"/>
              </a:defRPr>
            </a:lvl3pPr>
            <a:lvl4pPr marL="1600200" indent="-228600" defTabSz="925513" eaLnBrk="0" hangingPunct="0">
              <a:defRPr sz="1400">
                <a:solidFill>
                  <a:schemeClr val="tx1"/>
                </a:solidFill>
                <a:latin typeface="GE Inspira" pitchFamily="34" charset="0"/>
              </a:defRPr>
            </a:lvl4pPr>
            <a:lvl5pPr marL="2057400" indent="-228600" defTabSz="925513" eaLnBrk="0" hangingPunct="0">
              <a:defRPr sz="1400">
                <a:solidFill>
                  <a:schemeClr val="tx1"/>
                </a:solidFill>
                <a:latin typeface="GE Inspira" pitchFamily="34" charset="0"/>
              </a:defRPr>
            </a:lvl5pPr>
            <a:lvl6pPr marL="2514600" indent="-228600" defTabSz="925513" eaLnBrk="0" fontAlgn="base" hangingPunct="0">
              <a:spcBef>
                <a:spcPct val="0"/>
              </a:spcBef>
              <a:spcAft>
                <a:spcPct val="0"/>
              </a:spcAft>
              <a:defRPr sz="1400">
                <a:solidFill>
                  <a:schemeClr val="tx1"/>
                </a:solidFill>
                <a:latin typeface="GE Inspira" pitchFamily="34" charset="0"/>
              </a:defRPr>
            </a:lvl6pPr>
            <a:lvl7pPr marL="2971800" indent="-228600" defTabSz="925513" eaLnBrk="0" fontAlgn="base" hangingPunct="0">
              <a:spcBef>
                <a:spcPct val="0"/>
              </a:spcBef>
              <a:spcAft>
                <a:spcPct val="0"/>
              </a:spcAft>
              <a:defRPr sz="1400">
                <a:solidFill>
                  <a:schemeClr val="tx1"/>
                </a:solidFill>
                <a:latin typeface="GE Inspira" pitchFamily="34" charset="0"/>
              </a:defRPr>
            </a:lvl7pPr>
            <a:lvl8pPr marL="3429000" indent="-228600" defTabSz="925513" eaLnBrk="0" fontAlgn="base" hangingPunct="0">
              <a:spcBef>
                <a:spcPct val="0"/>
              </a:spcBef>
              <a:spcAft>
                <a:spcPct val="0"/>
              </a:spcAft>
              <a:defRPr sz="1400">
                <a:solidFill>
                  <a:schemeClr val="tx1"/>
                </a:solidFill>
                <a:latin typeface="GE Inspira" pitchFamily="34" charset="0"/>
              </a:defRPr>
            </a:lvl8pPr>
            <a:lvl9pPr marL="3886200" indent="-228600" defTabSz="925513" eaLnBrk="0" fontAlgn="base" hangingPunct="0">
              <a:spcBef>
                <a:spcPct val="0"/>
              </a:spcBef>
              <a:spcAft>
                <a:spcPct val="0"/>
              </a:spcAft>
              <a:defRPr sz="1400">
                <a:solidFill>
                  <a:schemeClr val="tx1"/>
                </a:solidFill>
                <a:latin typeface="GE Inspira" pitchFamily="34" charset="0"/>
              </a:defRPr>
            </a:lvl9pPr>
          </a:lstStyle>
          <a:p>
            <a:pPr algn="ctr" eaLnBrk="1" fontAlgn="base" hangingPunct="1">
              <a:spcBef>
                <a:spcPct val="50000"/>
              </a:spcBef>
              <a:spcAft>
                <a:spcPct val="0"/>
              </a:spcAft>
            </a:pPr>
            <a:r>
              <a:rPr lang="en-US" sz="2400" b="1" dirty="0">
                <a:solidFill>
                  <a:srgbClr val="1E4191"/>
                </a:solidFill>
                <a:latin typeface="GE Inspira Pitch" pitchFamily="34" charset="0"/>
                <a:cs typeface="Times New Roman" pitchFamily="18" charset="0"/>
              </a:rPr>
              <a:t>Energy</a:t>
            </a:r>
          </a:p>
        </p:txBody>
      </p:sp>
      <p:grpSp>
        <p:nvGrpSpPr>
          <p:cNvPr id="83" name="Group 82">
            <a:extLst>
              <a:ext uri="{FF2B5EF4-FFF2-40B4-BE49-F238E27FC236}">
                <a16:creationId xmlns:a16="http://schemas.microsoft.com/office/drawing/2014/main" id="{0AA9D8A0-6834-485E-A2BF-93FF5BEC128A}"/>
              </a:ext>
            </a:extLst>
          </p:cNvPr>
          <p:cNvGrpSpPr/>
          <p:nvPr/>
        </p:nvGrpSpPr>
        <p:grpSpPr>
          <a:xfrm>
            <a:off x="0" y="968057"/>
            <a:ext cx="12192000" cy="5194831"/>
            <a:chOff x="-951576" y="1028700"/>
            <a:chExt cx="11260451" cy="5358181"/>
          </a:xfrm>
        </p:grpSpPr>
        <p:sp>
          <p:nvSpPr>
            <p:cNvPr id="33" name="Rectangle 40">
              <a:extLst>
                <a:ext uri="{FF2B5EF4-FFF2-40B4-BE49-F238E27FC236}">
                  <a16:creationId xmlns:a16="http://schemas.microsoft.com/office/drawing/2014/main" id="{0CE477F0-AC3F-483D-94DC-A27612F4B2EE}"/>
                </a:ext>
              </a:extLst>
            </p:cNvPr>
            <p:cNvSpPr>
              <a:spLocks noChangeArrowheads="1"/>
            </p:cNvSpPr>
            <p:nvPr/>
          </p:nvSpPr>
          <p:spPr bwMode="auto">
            <a:xfrm>
              <a:off x="-951576" y="5974190"/>
              <a:ext cx="11260451" cy="412691"/>
            </a:xfrm>
            <a:prstGeom prst="rect">
              <a:avLst/>
            </a:prstGeom>
            <a:solidFill>
              <a:srgbClr val="1E4191"/>
            </a:solidFill>
            <a:ln w="25400" cap="rnd">
              <a:solidFill>
                <a:srgbClr val="1E4191"/>
              </a:solidFill>
              <a:round/>
              <a:headEnd/>
              <a:tailEnd/>
            </a:ln>
          </p:spPr>
          <p:txBody>
            <a:bodyPr wrap="square" lIns="45720" rIns="45720">
              <a:spAutoFit/>
            </a:bodyPr>
            <a:lstStyle/>
            <a:p>
              <a:pPr marL="0" marR="0" lvl="0" indent="0" algn="ctr" defTabSz="914400" eaLnBrk="0" fontAlgn="base" latinLnBrk="0" hangingPunct="0">
                <a:lnSpc>
                  <a:spcPct val="100000"/>
                </a:lnSpc>
                <a:spcBef>
                  <a:spcPct val="0"/>
                </a:spcBef>
                <a:spcAft>
                  <a:spcPct val="0"/>
                </a:spcAft>
                <a:buClr>
                  <a:srgbClr val="004880"/>
                </a:buClr>
                <a:buSzTx/>
                <a:buFontTx/>
                <a:buNone/>
                <a:tabLst/>
                <a:defRPr/>
              </a:pPr>
              <a:r>
                <a:rPr kumimoji="0" lang="en-US" sz="2000" b="1" i="0" u="none" strike="noStrike" kern="0" cap="none" spc="0" normalizeH="0" baseline="0" noProof="0" dirty="0">
                  <a:ln>
                    <a:noFill/>
                  </a:ln>
                  <a:solidFill>
                    <a:srgbClr val="FFFFFF"/>
                  </a:solidFill>
                  <a:effectLst/>
                  <a:uLnTx/>
                  <a:uFillTx/>
                  <a:latin typeface="GE Inspira Pitch" pitchFamily="34" charset="0"/>
                  <a:cs typeface="Times New Roman" pitchFamily="18" charset="0"/>
                </a:rPr>
                <a:t>A wide range of storage technologies needed to cover the wide range of power and energy needs</a:t>
              </a:r>
            </a:p>
          </p:txBody>
        </p:sp>
        <p:sp>
          <p:nvSpPr>
            <p:cNvPr id="34" name="AutoShape 1101">
              <a:extLst>
                <a:ext uri="{FF2B5EF4-FFF2-40B4-BE49-F238E27FC236}">
                  <a16:creationId xmlns:a16="http://schemas.microsoft.com/office/drawing/2014/main" id="{ABDC6301-94E7-4834-913A-EB1FE0F9FCFA}"/>
                </a:ext>
              </a:extLst>
            </p:cNvPr>
            <p:cNvSpPr>
              <a:spLocks noChangeArrowheads="1"/>
            </p:cNvSpPr>
            <p:nvPr/>
          </p:nvSpPr>
          <p:spPr bwMode="auto">
            <a:xfrm>
              <a:off x="6804025" y="3556000"/>
              <a:ext cx="1839913" cy="2108200"/>
            </a:xfrm>
            <a:prstGeom prst="roundRect">
              <a:avLst>
                <a:gd name="adj" fmla="val 10231"/>
              </a:avLst>
            </a:prstGeom>
            <a:solidFill>
              <a:srgbClr val="FF6600">
                <a:lumMod val="60000"/>
                <a:lumOff val="40000"/>
              </a:srgbClr>
            </a:solidFill>
            <a:ln>
              <a:noFill/>
            </a:ln>
            <a:effectLst/>
          </p:spPr>
          <p:txBody>
            <a:bodyPr wrap="none"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1E4191"/>
                </a:solidFill>
                <a:effectLst/>
                <a:uLnTx/>
                <a:uFillTx/>
                <a:latin typeface="GE Inspira Pitch" pitchFamily="34" charset="0"/>
                <a:cs typeface="Times New Roman" pitchFamily="18" charset="0"/>
              </a:endParaRPr>
            </a:p>
          </p:txBody>
        </p:sp>
        <p:sp>
          <p:nvSpPr>
            <p:cNvPr id="35" name="AutoShape 1100">
              <a:extLst>
                <a:ext uri="{FF2B5EF4-FFF2-40B4-BE49-F238E27FC236}">
                  <a16:creationId xmlns:a16="http://schemas.microsoft.com/office/drawing/2014/main" id="{1544BAD5-4BE1-4C2B-AE70-8586EEFE04BA}"/>
                </a:ext>
              </a:extLst>
            </p:cNvPr>
            <p:cNvSpPr>
              <a:spLocks noChangeArrowheads="1"/>
            </p:cNvSpPr>
            <p:nvPr/>
          </p:nvSpPr>
          <p:spPr bwMode="auto">
            <a:xfrm>
              <a:off x="6794500" y="1341438"/>
              <a:ext cx="1849438" cy="2079625"/>
            </a:xfrm>
            <a:prstGeom prst="roundRect">
              <a:avLst>
                <a:gd name="adj" fmla="val 16667"/>
              </a:avLst>
            </a:prstGeom>
            <a:solidFill>
              <a:srgbClr val="23A7DE">
                <a:lumMod val="60000"/>
                <a:lumOff val="40000"/>
              </a:srgbClr>
            </a:solidFill>
            <a:ln>
              <a:noFill/>
            </a:ln>
            <a:effectLst/>
          </p:spPr>
          <p:txBody>
            <a:bodyPr wrap="none"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1E4191"/>
                </a:solidFill>
                <a:effectLst/>
                <a:uLnTx/>
                <a:uFillTx/>
                <a:latin typeface="GE Inspira Pitch" pitchFamily="34" charset="0"/>
                <a:cs typeface="Times New Roman" pitchFamily="18" charset="0"/>
              </a:endParaRPr>
            </a:p>
          </p:txBody>
        </p:sp>
        <p:sp>
          <p:nvSpPr>
            <p:cNvPr id="36" name="AutoShape 1053">
              <a:extLst>
                <a:ext uri="{FF2B5EF4-FFF2-40B4-BE49-F238E27FC236}">
                  <a16:creationId xmlns:a16="http://schemas.microsoft.com/office/drawing/2014/main" id="{627B926C-5BCE-4BD7-91FE-8C535F8F5A6F}"/>
                </a:ext>
              </a:extLst>
            </p:cNvPr>
            <p:cNvSpPr>
              <a:spLocks noChangeArrowheads="1"/>
            </p:cNvSpPr>
            <p:nvPr/>
          </p:nvSpPr>
          <p:spPr bwMode="auto">
            <a:xfrm>
              <a:off x="2701925" y="1363663"/>
              <a:ext cx="3900488" cy="2425700"/>
            </a:xfrm>
            <a:prstGeom prst="roundRect">
              <a:avLst>
                <a:gd name="adj" fmla="val 16667"/>
              </a:avLst>
            </a:prstGeom>
            <a:solidFill>
              <a:srgbClr val="23A7DE">
                <a:lumMod val="60000"/>
                <a:lumOff val="40000"/>
              </a:srgbClr>
            </a:solidFill>
            <a:ln w="25400">
              <a:solidFill>
                <a:srgbClr val="000000"/>
              </a:solidFill>
              <a:prstDash val="sysDash"/>
              <a:round/>
              <a:headEnd/>
              <a:tailEnd/>
            </a:ln>
            <a:effectLst/>
          </p:spPr>
          <p:txBody>
            <a:bodyPr wrap="none"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1E4191"/>
                </a:solidFill>
                <a:effectLst/>
                <a:uLnTx/>
                <a:uFillTx/>
                <a:latin typeface="GE Inspira Pitch" pitchFamily="34" charset="0"/>
                <a:cs typeface="Times New Roman" pitchFamily="18" charset="0"/>
              </a:endParaRPr>
            </a:p>
          </p:txBody>
        </p:sp>
        <p:sp>
          <p:nvSpPr>
            <p:cNvPr id="37" name="AutoShape 1029">
              <a:extLst>
                <a:ext uri="{FF2B5EF4-FFF2-40B4-BE49-F238E27FC236}">
                  <a16:creationId xmlns:a16="http://schemas.microsoft.com/office/drawing/2014/main" id="{7D6066D5-FF5B-49C5-A1A5-64BBBB5BBF34}"/>
                </a:ext>
              </a:extLst>
            </p:cNvPr>
            <p:cNvSpPr>
              <a:spLocks noChangeArrowheads="1"/>
            </p:cNvSpPr>
            <p:nvPr/>
          </p:nvSpPr>
          <p:spPr bwMode="auto">
            <a:xfrm>
              <a:off x="3309938" y="3314700"/>
              <a:ext cx="3292475" cy="2339975"/>
            </a:xfrm>
            <a:prstGeom prst="roundRect">
              <a:avLst>
                <a:gd name="adj" fmla="val 10231"/>
              </a:avLst>
            </a:prstGeom>
            <a:solidFill>
              <a:srgbClr val="FF6600">
                <a:lumMod val="60000"/>
                <a:lumOff val="40000"/>
              </a:srgbClr>
            </a:solidFill>
            <a:ln w="25400">
              <a:solidFill>
                <a:srgbClr val="000000"/>
              </a:solidFill>
              <a:prstDash val="sysDash"/>
            </a:ln>
            <a:effectLst/>
          </p:spPr>
          <p:txBody>
            <a:bodyPr wrap="none"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1E4191"/>
                </a:solidFill>
                <a:effectLst/>
                <a:uLnTx/>
                <a:uFillTx/>
                <a:latin typeface="GE Inspira Pitch" pitchFamily="34" charset="0"/>
                <a:cs typeface="Times New Roman" pitchFamily="18" charset="0"/>
              </a:endParaRPr>
            </a:p>
          </p:txBody>
        </p:sp>
        <p:sp>
          <p:nvSpPr>
            <p:cNvPr id="38" name="Rectangle 1030">
              <a:extLst>
                <a:ext uri="{FF2B5EF4-FFF2-40B4-BE49-F238E27FC236}">
                  <a16:creationId xmlns:a16="http://schemas.microsoft.com/office/drawing/2014/main" id="{B9D6AFCE-3B3D-4714-A6C8-C5E4D6CFF80B}"/>
                </a:ext>
              </a:extLst>
            </p:cNvPr>
            <p:cNvSpPr>
              <a:spLocks noChangeArrowheads="1"/>
            </p:cNvSpPr>
            <p:nvPr/>
          </p:nvSpPr>
          <p:spPr bwMode="auto">
            <a:xfrm>
              <a:off x="1477963" y="1349375"/>
              <a:ext cx="5126037" cy="4286250"/>
            </a:xfrm>
            <a:prstGeom prst="rect">
              <a:avLst/>
            </a:prstGeom>
            <a:noFill/>
            <a:ln w="9525">
              <a:solidFill>
                <a:srgbClr val="1E4191"/>
              </a:solidFill>
              <a:miter lim="800000"/>
              <a:headEnd/>
              <a:tailEnd/>
            </a:ln>
            <a:effectLst/>
            <a:extLst>
              <a:ext uri="{909E8E84-426E-40DD-AFC4-6F175D3DCCD1}">
                <a14:hiddenFill xmlns:a14="http://schemas.microsoft.com/office/drawing/2010/main">
                  <a:gradFill rotWithShape="0">
                    <a:gsLst>
                      <a:gs pos="0">
                        <a:srgbClr val="E1E1FF"/>
                      </a:gs>
                      <a:gs pos="100000">
                        <a:srgbClr val="CCCCFF"/>
                      </a:gs>
                    </a:gsLst>
                    <a:lin ang="5400000" scaled="1"/>
                  </a:gra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1E4191"/>
                </a:solidFill>
                <a:effectLst/>
                <a:uLnTx/>
                <a:uFillTx/>
                <a:latin typeface="GE Inspira Pitch" pitchFamily="34" charset="0"/>
                <a:cs typeface="Times New Roman" pitchFamily="18" charset="0"/>
              </a:endParaRPr>
            </a:p>
          </p:txBody>
        </p:sp>
        <p:sp>
          <p:nvSpPr>
            <p:cNvPr id="39" name="Text Box 1031">
              <a:extLst>
                <a:ext uri="{FF2B5EF4-FFF2-40B4-BE49-F238E27FC236}">
                  <a16:creationId xmlns:a16="http://schemas.microsoft.com/office/drawing/2014/main" id="{8EB5F734-9AD1-4BA2-9A0E-938FCC62097C}"/>
                </a:ext>
              </a:extLst>
            </p:cNvPr>
            <p:cNvSpPr txBox="1">
              <a:spLocks noChangeArrowheads="1"/>
            </p:cNvSpPr>
            <p:nvPr/>
          </p:nvSpPr>
          <p:spPr bwMode="auto">
            <a:xfrm>
              <a:off x="703263" y="2311400"/>
              <a:ext cx="7334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501" tIns="46250" rIns="92501" bIns="46250">
              <a:spAutoFit/>
            </a:bodyPr>
            <a:lstStyle>
              <a:lvl1pPr defTabSz="925513" eaLnBrk="0" hangingPunct="0">
                <a:defRPr sz="1400">
                  <a:solidFill>
                    <a:schemeClr val="tx1"/>
                  </a:solidFill>
                  <a:latin typeface="GE Inspira" pitchFamily="34" charset="0"/>
                </a:defRPr>
              </a:lvl1pPr>
              <a:lvl2pPr marL="742950" indent="-285750" defTabSz="925513" eaLnBrk="0" hangingPunct="0">
                <a:defRPr sz="1400">
                  <a:solidFill>
                    <a:schemeClr val="tx1"/>
                  </a:solidFill>
                  <a:latin typeface="GE Inspira" pitchFamily="34" charset="0"/>
                </a:defRPr>
              </a:lvl2pPr>
              <a:lvl3pPr marL="1143000" indent="-228600" defTabSz="925513" eaLnBrk="0" hangingPunct="0">
                <a:defRPr sz="1400">
                  <a:solidFill>
                    <a:schemeClr val="tx1"/>
                  </a:solidFill>
                  <a:latin typeface="GE Inspira" pitchFamily="34" charset="0"/>
                </a:defRPr>
              </a:lvl3pPr>
              <a:lvl4pPr marL="1600200" indent="-228600" defTabSz="925513" eaLnBrk="0" hangingPunct="0">
                <a:defRPr sz="1400">
                  <a:solidFill>
                    <a:schemeClr val="tx1"/>
                  </a:solidFill>
                  <a:latin typeface="GE Inspira" pitchFamily="34" charset="0"/>
                </a:defRPr>
              </a:lvl4pPr>
              <a:lvl5pPr marL="2057400" indent="-228600" defTabSz="925513" eaLnBrk="0" hangingPunct="0">
                <a:defRPr sz="1400">
                  <a:solidFill>
                    <a:schemeClr val="tx1"/>
                  </a:solidFill>
                  <a:latin typeface="GE Inspira" pitchFamily="34" charset="0"/>
                </a:defRPr>
              </a:lvl5pPr>
              <a:lvl6pPr marL="2514600" indent="-228600" defTabSz="925513" eaLnBrk="0" fontAlgn="base" hangingPunct="0">
                <a:spcBef>
                  <a:spcPct val="0"/>
                </a:spcBef>
                <a:spcAft>
                  <a:spcPct val="0"/>
                </a:spcAft>
                <a:defRPr sz="1400">
                  <a:solidFill>
                    <a:schemeClr val="tx1"/>
                  </a:solidFill>
                  <a:latin typeface="GE Inspira" pitchFamily="34" charset="0"/>
                </a:defRPr>
              </a:lvl6pPr>
              <a:lvl7pPr marL="2971800" indent="-228600" defTabSz="925513" eaLnBrk="0" fontAlgn="base" hangingPunct="0">
                <a:spcBef>
                  <a:spcPct val="0"/>
                </a:spcBef>
                <a:spcAft>
                  <a:spcPct val="0"/>
                </a:spcAft>
                <a:defRPr sz="1400">
                  <a:solidFill>
                    <a:schemeClr val="tx1"/>
                  </a:solidFill>
                  <a:latin typeface="GE Inspira" pitchFamily="34" charset="0"/>
                </a:defRPr>
              </a:lvl7pPr>
              <a:lvl8pPr marL="3429000" indent="-228600" defTabSz="925513" eaLnBrk="0" fontAlgn="base" hangingPunct="0">
                <a:spcBef>
                  <a:spcPct val="0"/>
                </a:spcBef>
                <a:spcAft>
                  <a:spcPct val="0"/>
                </a:spcAft>
                <a:defRPr sz="1400">
                  <a:solidFill>
                    <a:schemeClr val="tx1"/>
                  </a:solidFill>
                  <a:latin typeface="GE Inspira" pitchFamily="34" charset="0"/>
                </a:defRPr>
              </a:lvl8pPr>
              <a:lvl9pPr marL="3886200" indent="-228600" defTabSz="925513" eaLnBrk="0" fontAlgn="base" hangingPunct="0">
                <a:spcBef>
                  <a:spcPct val="0"/>
                </a:spcBef>
                <a:spcAft>
                  <a:spcPct val="0"/>
                </a:spcAft>
                <a:defRPr sz="1400">
                  <a:solidFill>
                    <a:schemeClr val="tx1"/>
                  </a:solidFill>
                  <a:latin typeface="GE Inspira" pitchFamily="34" charset="0"/>
                </a:defRPr>
              </a:lvl9pPr>
            </a:lstStyle>
            <a:p>
              <a:pPr algn="r" eaLnBrk="1" fontAlgn="base" hangingPunct="1">
                <a:spcBef>
                  <a:spcPct val="50000"/>
                </a:spcBef>
                <a:spcAft>
                  <a:spcPct val="0"/>
                </a:spcAft>
              </a:pPr>
              <a:r>
                <a:rPr lang="en-US" dirty="0">
                  <a:solidFill>
                    <a:srgbClr val="1E4191"/>
                  </a:solidFill>
                  <a:latin typeface="GE Inspira Pitch" pitchFamily="34" charset="0"/>
                  <a:cs typeface="Times New Roman" pitchFamily="18" charset="0"/>
                </a:rPr>
                <a:t>15 min</a:t>
              </a:r>
            </a:p>
          </p:txBody>
        </p:sp>
        <p:sp>
          <p:nvSpPr>
            <p:cNvPr id="40" name="Text Box 1032">
              <a:extLst>
                <a:ext uri="{FF2B5EF4-FFF2-40B4-BE49-F238E27FC236}">
                  <a16:creationId xmlns:a16="http://schemas.microsoft.com/office/drawing/2014/main" id="{2AA83DB1-723D-4770-86FF-4B5FB8ABE0D4}"/>
                </a:ext>
              </a:extLst>
            </p:cNvPr>
            <p:cNvSpPr txBox="1">
              <a:spLocks noChangeArrowheads="1"/>
            </p:cNvSpPr>
            <p:nvPr/>
          </p:nvSpPr>
          <p:spPr bwMode="auto">
            <a:xfrm>
              <a:off x="703263" y="3184525"/>
              <a:ext cx="7334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501" tIns="46250" rIns="92501" bIns="46250">
              <a:spAutoFit/>
            </a:bodyPr>
            <a:lstStyle>
              <a:lvl1pPr defTabSz="925513" eaLnBrk="0" hangingPunct="0">
                <a:defRPr sz="1400">
                  <a:solidFill>
                    <a:schemeClr val="tx1"/>
                  </a:solidFill>
                  <a:latin typeface="GE Inspira" pitchFamily="34" charset="0"/>
                </a:defRPr>
              </a:lvl1pPr>
              <a:lvl2pPr marL="742950" indent="-285750" defTabSz="925513" eaLnBrk="0" hangingPunct="0">
                <a:defRPr sz="1400">
                  <a:solidFill>
                    <a:schemeClr val="tx1"/>
                  </a:solidFill>
                  <a:latin typeface="GE Inspira" pitchFamily="34" charset="0"/>
                </a:defRPr>
              </a:lvl2pPr>
              <a:lvl3pPr marL="1143000" indent="-228600" defTabSz="925513" eaLnBrk="0" hangingPunct="0">
                <a:defRPr sz="1400">
                  <a:solidFill>
                    <a:schemeClr val="tx1"/>
                  </a:solidFill>
                  <a:latin typeface="GE Inspira" pitchFamily="34" charset="0"/>
                </a:defRPr>
              </a:lvl3pPr>
              <a:lvl4pPr marL="1600200" indent="-228600" defTabSz="925513" eaLnBrk="0" hangingPunct="0">
                <a:defRPr sz="1400">
                  <a:solidFill>
                    <a:schemeClr val="tx1"/>
                  </a:solidFill>
                  <a:latin typeface="GE Inspira" pitchFamily="34" charset="0"/>
                </a:defRPr>
              </a:lvl4pPr>
              <a:lvl5pPr marL="2057400" indent="-228600" defTabSz="925513" eaLnBrk="0" hangingPunct="0">
                <a:defRPr sz="1400">
                  <a:solidFill>
                    <a:schemeClr val="tx1"/>
                  </a:solidFill>
                  <a:latin typeface="GE Inspira" pitchFamily="34" charset="0"/>
                </a:defRPr>
              </a:lvl5pPr>
              <a:lvl6pPr marL="2514600" indent="-228600" defTabSz="925513" eaLnBrk="0" fontAlgn="base" hangingPunct="0">
                <a:spcBef>
                  <a:spcPct val="0"/>
                </a:spcBef>
                <a:spcAft>
                  <a:spcPct val="0"/>
                </a:spcAft>
                <a:defRPr sz="1400">
                  <a:solidFill>
                    <a:schemeClr val="tx1"/>
                  </a:solidFill>
                  <a:latin typeface="GE Inspira" pitchFamily="34" charset="0"/>
                </a:defRPr>
              </a:lvl6pPr>
              <a:lvl7pPr marL="2971800" indent="-228600" defTabSz="925513" eaLnBrk="0" fontAlgn="base" hangingPunct="0">
                <a:spcBef>
                  <a:spcPct val="0"/>
                </a:spcBef>
                <a:spcAft>
                  <a:spcPct val="0"/>
                </a:spcAft>
                <a:defRPr sz="1400">
                  <a:solidFill>
                    <a:schemeClr val="tx1"/>
                  </a:solidFill>
                  <a:latin typeface="GE Inspira" pitchFamily="34" charset="0"/>
                </a:defRPr>
              </a:lvl7pPr>
              <a:lvl8pPr marL="3429000" indent="-228600" defTabSz="925513" eaLnBrk="0" fontAlgn="base" hangingPunct="0">
                <a:spcBef>
                  <a:spcPct val="0"/>
                </a:spcBef>
                <a:spcAft>
                  <a:spcPct val="0"/>
                </a:spcAft>
                <a:defRPr sz="1400">
                  <a:solidFill>
                    <a:schemeClr val="tx1"/>
                  </a:solidFill>
                  <a:latin typeface="GE Inspira" pitchFamily="34" charset="0"/>
                </a:defRPr>
              </a:lvl8pPr>
              <a:lvl9pPr marL="3886200" indent="-228600" defTabSz="925513" eaLnBrk="0" fontAlgn="base" hangingPunct="0">
                <a:spcBef>
                  <a:spcPct val="0"/>
                </a:spcBef>
                <a:spcAft>
                  <a:spcPct val="0"/>
                </a:spcAft>
                <a:defRPr sz="1400">
                  <a:solidFill>
                    <a:schemeClr val="tx1"/>
                  </a:solidFill>
                  <a:latin typeface="GE Inspira" pitchFamily="34" charset="0"/>
                </a:defRPr>
              </a:lvl9pPr>
            </a:lstStyle>
            <a:p>
              <a:pPr algn="r" eaLnBrk="1" fontAlgn="base" hangingPunct="1">
                <a:spcBef>
                  <a:spcPct val="50000"/>
                </a:spcBef>
                <a:spcAft>
                  <a:spcPct val="0"/>
                </a:spcAft>
              </a:pPr>
              <a:r>
                <a:rPr lang="en-US" dirty="0">
                  <a:solidFill>
                    <a:srgbClr val="1E4191"/>
                  </a:solidFill>
                  <a:latin typeface="GE Inspira Pitch" pitchFamily="34" charset="0"/>
                  <a:cs typeface="Times New Roman" pitchFamily="18" charset="0"/>
                </a:rPr>
                <a:t>30 min</a:t>
              </a:r>
            </a:p>
          </p:txBody>
        </p:sp>
        <p:sp>
          <p:nvSpPr>
            <p:cNvPr id="41" name="Text Box 1033">
              <a:extLst>
                <a:ext uri="{FF2B5EF4-FFF2-40B4-BE49-F238E27FC236}">
                  <a16:creationId xmlns:a16="http://schemas.microsoft.com/office/drawing/2014/main" id="{6D450FE8-6DD2-43FE-BFBF-7094F1F0102E}"/>
                </a:ext>
              </a:extLst>
            </p:cNvPr>
            <p:cNvSpPr txBox="1">
              <a:spLocks noChangeArrowheads="1"/>
            </p:cNvSpPr>
            <p:nvPr/>
          </p:nvSpPr>
          <p:spPr bwMode="auto">
            <a:xfrm>
              <a:off x="703263" y="4090988"/>
              <a:ext cx="7334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501" tIns="46250" rIns="92501" bIns="46250">
              <a:spAutoFit/>
            </a:bodyPr>
            <a:lstStyle>
              <a:lvl1pPr defTabSz="925513" eaLnBrk="0" hangingPunct="0">
                <a:defRPr sz="1400">
                  <a:solidFill>
                    <a:schemeClr val="tx1"/>
                  </a:solidFill>
                  <a:latin typeface="GE Inspira" pitchFamily="34" charset="0"/>
                </a:defRPr>
              </a:lvl1pPr>
              <a:lvl2pPr marL="742950" indent="-285750" defTabSz="925513" eaLnBrk="0" hangingPunct="0">
                <a:defRPr sz="1400">
                  <a:solidFill>
                    <a:schemeClr val="tx1"/>
                  </a:solidFill>
                  <a:latin typeface="GE Inspira" pitchFamily="34" charset="0"/>
                </a:defRPr>
              </a:lvl2pPr>
              <a:lvl3pPr marL="1143000" indent="-228600" defTabSz="925513" eaLnBrk="0" hangingPunct="0">
                <a:defRPr sz="1400">
                  <a:solidFill>
                    <a:schemeClr val="tx1"/>
                  </a:solidFill>
                  <a:latin typeface="GE Inspira" pitchFamily="34" charset="0"/>
                </a:defRPr>
              </a:lvl3pPr>
              <a:lvl4pPr marL="1600200" indent="-228600" defTabSz="925513" eaLnBrk="0" hangingPunct="0">
                <a:defRPr sz="1400">
                  <a:solidFill>
                    <a:schemeClr val="tx1"/>
                  </a:solidFill>
                  <a:latin typeface="GE Inspira" pitchFamily="34" charset="0"/>
                </a:defRPr>
              </a:lvl4pPr>
              <a:lvl5pPr marL="2057400" indent="-228600" defTabSz="925513" eaLnBrk="0" hangingPunct="0">
                <a:defRPr sz="1400">
                  <a:solidFill>
                    <a:schemeClr val="tx1"/>
                  </a:solidFill>
                  <a:latin typeface="GE Inspira" pitchFamily="34" charset="0"/>
                </a:defRPr>
              </a:lvl5pPr>
              <a:lvl6pPr marL="2514600" indent="-228600" defTabSz="925513" eaLnBrk="0" fontAlgn="base" hangingPunct="0">
                <a:spcBef>
                  <a:spcPct val="0"/>
                </a:spcBef>
                <a:spcAft>
                  <a:spcPct val="0"/>
                </a:spcAft>
                <a:defRPr sz="1400">
                  <a:solidFill>
                    <a:schemeClr val="tx1"/>
                  </a:solidFill>
                  <a:latin typeface="GE Inspira" pitchFamily="34" charset="0"/>
                </a:defRPr>
              </a:lvl6pPr>
              <a:lvl7pPr marL="2971800" indent="-228600" defTabSz="925513" eaLnBrk="0" fontAlgn="base" hangingPunct="0">
                <a:spcBef>
                  <a:spcPct val="0"/>
                </a:spcBef>
                <a:spcAft>
                  <a:spcPct val="0"/>
                </a:spcAft>
                <a:defRPr sz="1400">
                  <a:solidFill>
                    <a:schemeClr val="tx1"/>
                  </a:solidFill>
                  <a:latin typeface="GE Inspira" pitchFamily="34" charset="0"/>
                </a:defRPr>
              </a:lvl7pPr>
              <a:lvl8pPr marL="3429000" indent="-228600" defTabSz="925513" eaLnBrk="0" fontAlgn="base" hangingPunct="0">
                <a:spcBef>
                  <a:spcPct val="0"/>
                </a:spcBef>
                <a:spcAft>
                  <a:spcPct val="0"/>
                </a:spcAft>
                <a:defRPr sz="1400">
                  <a:solidFill>
                    <a:schemeClr val="tx1"/>
                  </a:solidFill>
                  <a:latin typeface="GE Inspira" pitchFamily="34" charset="0"/>
                </a:defRPr>
              </a:lvl8pPr>
              <a:lvl9pPr marL="3886200" indent="-228600" defTabSz="925513" eaLnBrk="0" fontAlgn="base" hangingPunct="0">
                <a:spcBef>
                  <a:spcPct val="0"/>
                </a:spcBef>
                <a:spcAft>
                  <a:spcPct val="0"/>
                </a:spcAft>
                <a:defRPr sz="1400">
                  <a:solidFill>
                    <a:schemeClr val="tx1"/>
                  </a:solidFill>
                  <a:latin typeface="GE Inspira" pitchFamily="34" charset="0"/>
                </a:defRPr>
              </a:lvl9pPr>
            </a:lstStyle>
            <a:p>
              <a:pPr algn="r" eaLnBrk="1" fontAlgn="base" hangingPunct="1">
                <a:spcBef>
                  <a:spcPct val="50000"/>
                </a:spcBef>
                <a:spcAft>
                  <a:spcPct val="0"/>
                </a:spcAft>
              </a:pPr>
              <a:r>
                <a:rPr lang="en-US" dirty="0">
                  <a:solidFill>
                    <a:srgbClr val="1E4191"/>
                  </a:solidFill>
                  <a:latin typeface="GE Inspira Pitch" pitchFamily="34" charset="0"/>
                  <a:cs typeface="Times New Roman" pitchFamily="18" charset="0"/>
                </a:rPr>
                <a:t>1 hour</a:t>
              </a:r>
            </a:p>
          </p:txBody>
        </p:sp>
        <p:sp>
          <p:nvSpPr>
            <p:cNvPr id="42" name="Text Box 1034">
              <a:extLst>
                <a:ext uri="{FF2B5EF4-FFF2-40B4-BE49-F238E27FC236}">
                  <a16:creationId xmlns:a16="http://schemas.microsoft.com/office/drawing/2014/main" id="{675F9AB6-C717-4C0B-9BE6-0B42F2715C56}"/>
                </a:ext>
              </a:extLst>
            </p:cNvPr>
            <p:cNvSpPr txBox="1">
              <a:spLocks noChangeArrowheads="1"/>
            </p:cNvSpPr>
            <p:nvPr/>
          </p:nvSpPr>
          <p:spPr bwMode="auto">
            <a:xfrm>
              <a:off x="728663" y="5370513"/>
              <a:ext cx="7080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501" tIns="46250" rIns="92501" bIns="46250">
              <a:spAutoFit/>
            </a:bodyPr>
            <a:lstStyle>
              <a:lvl1pPr defTabSz="925513" eaLnBrk="0" hangingPunct="0">
                <a:defRPr sz="1400">
                  <a:solidFill>
                    <a:schemeClr val="tx1"/>
                  </a:solidFill>
                  <a:latin typeface="GE Inspira" pitchFamily="34" charset="0"/>
                </a:defRPr>
              </a:lvl1pPr>
              <a:lvl2pPr marL="742950" indent="-285750" defTabSz="925513" eaLnBrk="0" hangingPunct="0">
                <a:defRPr sz="1400">
                  <a:solidFill>
                    <a:schemeClr val="tx1"/>
                  </a:solidFill>
                  <a:latin typeface="GE Inspira" pitchFamily="34" charset="0"/>
                </a:defRPr>
              </a:lvl2pPr>
              <a:lvl3pPr marL="1143000" indent="-228600" defTabSz="925513" eaLnBrk="0" hangingPunct="0">
                <a:defRPr sz="1400">
                  <a:solidFill>
                    <a:schemeClr val="tx1"/>
                  </a:solidFill>
                  <a:latin typeface="GE Inspira" pitchFamily="34" charset="0"/>
                </a:defRPr>
              </a:lvl3pPr>
              <a:lvl4pPr marL="1600200" indent="-228600" defTabSz="925513" eaLnBrk="0" hangingPunct="0">
                <a:defRPr sz="1400">
                  <a:solidFill>
                    <a:schemeClr val="tx1"/>
                  </a:solidFill>
                  <a:latin typeface="GE Inspira" pitchFamily="34" charset="0"/>
                </a:defRPr>
              </a:lvl4pPr>
              <a:lvl5pPr marL="2057400" indent="-228600" defTabSz="925513" eaLnBrk="0" hangingPunct="0">
                <a:defRPr sz="1400">
                  <a:solidFill>
                    <a:schemeClr val="tx1"/>
                  </a:solidFill>
                  <a:latin typeface="GE Inspira" pitchFamily="34" charset="0"/>
                </a:defRPr>
              </a:lvl5pPr>
              <a:lvl6pPr marL="2514600" indent="-228600" defTabSz="925513" eaLnBrk="0" fontAlgn="base" hangingPunct="0">
                <a:spcBef>
                  <a:spcPct val="0"/>
                </a:spcBef>
                <a:spcAft>
                  <a:spcPct val="0"/>
                </a:spcAft>
                <a:defRPr sz="1400">
                  <a:solidFill>
                    <a:schemeClr val="tx1"/>
                  </a:solidFill>
                  <a:latin typeface="GE Inspira" pitchFamily="34" charset="0"/>
                </a:defRPr>
              </a:lvl6pPr>
              <a:lvl7pPr marL="2971800" indent="-228600" defTabSz="925513" eaLnBrk="0" fontAlgn="base" hangingPunct="0">
                <a:spcBef>
                  <a:spcPct val="0"/>
                </a:spcBef>
                <a:spcAft>
                  <a:spcPct val="0"/>
                </a:spcAft>
                <a:defRPr sz="1400">
                  <a:solidFill>
                    <a:schemeClr val="tx1"/>
                  </a:solidFill>
                  <a:latin typeface="GE Inspira" pitchFamily="34" charset="0"/>
                </a:defRPr>
              </a:lvl7pPr>
              <a:lvl8pPr marL="3429000" indent="-228600" defTabSz="925513" eaLnBrk="0" fontAlgn="base" hangingPunct="0">
                <a:spcBef>
                  <a:spcPct val="0"/>
                </a:spcBef>
                <a:spcAft>
                  <a:spcPct val="0"/>
                </a:spcAft>
                <a:defRPr sz="1400">
                  <a:solidFill>
                    <a:schemeClr val="tx1"/>
                  </a:solidFill>
                  <a:latin typeface="GE Inspira" pitchFamily="34" charset="0"/>
                </a:defRPr>
              </a:lvl8pPr>
              <a:lvl9pPr marL="3886200" indent="-228600" defTabSz="925513" eaLnBrk="0" fontAlgn="base" hangingPunct="0">
                <a:spcBef>
                  <a:spcPct val="0"/>
                </a:spcBef>
                <a:spcAft>
                  <a:spcPct val="0"/>
                </a:spcAft>
                <a:defRPr sz="1400">
                  <a:solidFill>
                    <a:schemeClr val="tx1"/>
                  </a:solidFill>
                  <a:latin typeface="GE Inspira" pitchFamily="34" charset="0"/>
                </a:defRPr>
              </a:lvl9pPr>
            </a:lstStyle>
            <a:p>
              <a:pPr algn="r" eaLnBrk="1" fontAlgn="base" hangingPunct="1">
                <a:spcBef>
                  <a:spcPct val="50000"/>
                </a:spcBef>
                <a:spcAft>
                  <a:spcPct val="0"/>
                </a:spcAft>
              </a:pPr>
              <a:r>
                <a:rPr lang="en-US" dirty="0">
                  <a:solidFill>
                    <a:srgbClr val="1E4191"/>
                  </a:solidFill>
                  <a:latin typeface="GE Inspira Pitch" pitchFamily="34" charset="0"/>
                  <a:cs typeface="Times New Roman" pitchFamily="18" charset="0"/>
                </a:rPr>
                <a:t>8 hour</a:t>
              </a:r>
            </a:p>
          </p:txBody>
        </p:sp>
        <p:sp>
          <p:nvSpPr>
            <p:cNvPr id="43" name="Text Box 1035">
              <a:extLst>
                <a:ext uri="{FF2B5EF4-FFF2-40B4-BE49-F238E27FC236}">
                  <a16:creationId xmlns:a16="http://schemas.microsoft.com/office/drawing/2014/main" id="{90BB3986-D550-419D-8FFB-66188A01B105}"/>
                </a:ext>
              </a:extLst>
            </p:cNvPr>
            <p:cNvSpPr txBox="1">
              <a:spLocks noChangeArrowheads="1"/>
            </p:cNvSpPr>
            <p:nvPr/>
          </p:nvSpPr>
          <p:spPr bwMode="auto">
            <a:xfrm>
              <a:off x="2279650" y="1028700"/>
              <a:ext cx="10302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501" tIns="46250" rIns="92501" bIns="46250">
              <a:spAutoFit/>
            </a:bodyPr>
            <a:lstStyle>
              <a:lvl1pPr defTabSz="925513" eaLnBrk="0" hangingPunct="0">
                <a:defRPr sz="1400">
                  <a:solidFill>
                    <a:schemeClr val="tx1"/>
                  </a:solidFill>
                  <a:latin typeface="GE Inspira" pitchFamily="34" charset="0"/>
                </a:defRPr>
              </a:lvl1pPr>
              <a:lvl2pPr marL="742950" indent="-285750" defTabSz="925513" eaLnBrk="0" hangingPunct="0">
                <a:defRPr sz="1400">
                  <a:solidFill>
                    <a:schemeClr val="tx1"/>
                  </a:solidFill>
                  <a:latin typeface="GE Inspira" pitchFamily="34" charset="0"/>
                </a:defRPr>
              </a:lvl2pPr>
              <a:lvl3pPr marL="1143000" indent="-228600" defTabSz="925513" eaLnBrk="0" hangingPunct="0">
                <a:defRPr sz="1400">
                  <a:solidFill>
                    <a:schemeClr val="tx1"/>
                  </a:solidFill>
                  <a:latin typeface="GE Inspira" pitchFamily="34" charset="0"/>
                </a:defRPr>
              </a:lvl3pPr>
              <a:lvl4pPr marL="1600200" indent="-228600" defTabSz="925513" eaLnBrk="0" hangingPunct="0">
                <a:defRPr sz="1400">
                  <a:solidFill>
                    <a:schemeClr val="tx1"/>
                  </a:solidFill>
                  <a:latin typeface="GE Inspira" pitchFamily="34" charset="0"/>
                </a:defRPr>
              </a:lvl4pPr>
              <a:lvl5pPr marL="2057400" indent="-228600" defTabSz="925513" eaLnBrk="0" hangingPunct="0">
                <a:defRPr sz="1400">
                  <a:solidFill>
                    <a:schemeClr val="tx1"/>
                  </a:solidFill>
                  <a:latin typeface="GE Inspira" pitchFamily="34" charset="0"/>
                </a:defRPr>
              </a:lvl5pPr>
              <a:lvl6pPr marL="2514600" indent="-228600" defTabSz="925513" eaLnBrk="0" fontAlgn="base" hangingPunct="0">
                <a:spcBef>
                  <a:spcPct val="0"/>
                </a:spcBef>
                <a:spcAft>
                  <a:spcPct val="0"/>
                </a:spcAft>
                <a:defRPr sz="1400">
                  <a:solidFill>
                    <a:schemeClr val="tx1"/>
                  </a:solidFill>
                  <a:latin typeface="GE Inspira" pitchFamily="34" charset="0"/>
                </a:defRPr>
              </a:lvl6pPr>
              <a:lvl7pPr marL="2971800" indent="-228600" defTabSz="925513" eaLnBrk="0" fontAlgn="base" hangingPunct="0">
                <a:spcBef>
                  <a:spcPct val="0"/>
                </a:spcBef>
                <a:spcAft>
                  <a:spcPct val="0"/>
                </a:spcAft>
                <a:defRPr sz="1400">
                  <a:solidFill>
                    <a:schemeClr val="tx1"/>
                  </a:solidFill>
                  <a:latin typeface="GE Inspira" pitchFamily="34" charset="0"/>
                </a:defRPr>
              </a:lvl7pPr>
              <a:lvl8pPr marL="3429000" indent="-228600" defTabSz="925513" eaLnBrk="0" fontAlgn="base" hangingPunct="0">
                <a:spcBef>
                  <a:spcPct val="0"/>
                </a:spcBef>
                <a:spcAft>
                  <a:spcPct val="0"/>
                </a:spcAft>
                <a:defRPr sz="1400">
                  <a:solidFill>
                    <a:schemeClr val="tx1"/>
                  </a:solidFill>
                  <a:latin typeface="GE Inspira" pitchFamily="34" charset="0"/>
                </a:defRPr>
              </a:lvl8pPr>
              <a:lvl9pPr marL="3886200" indent="-228600" defTabSz="925513" eaLnBrk="0" fontAlgn="base" hangingPunct="0">
                <a:spcBef>
                  <a:spcPct val="0"/>
                </a:spcBef>
                <a:spcAft>
                  <a:spcPct val="0"/>
                </a:spcAft>
                <a:defRPr sz="1400">
                  <a:solidFill>
                    <a:schemeClr val="tx1"/>
                  </a:solidFill>
                  <a:latin typeface="GE Inspira" pitchFamily="34" charset="0"/>
                </a:defRPr>
              </a:lvl9pPr>
            </a:lstStyle>
            <a:p>
              <a:pPr eaLnBrk="1" fontAlgn="base" hangingPunct="1">
                <a:spcBef>
                  <a:spcPct val="50000"/>
                </a:spcBef>
                <a:spcAft>
                  <a:spcPct val="0"/>
                </a:spcAft>
              </a:pPr>
              <a:r>
                <a:rPr lang="en-US" dirty="0">
                  <a:solidFill>
                    <a:srgbClr val="1E4191"/>
                  </a:solidFill>
                  <a:latin typeface="GE Inspira Pitch" pitchFamily="34" charset="0"/>
                  <a:cs typeface="Times New Roman" pitchFamily="18" charset="0"/>
                </a:rPr>
                <a:t>100 kWh</a:t>
              </a:r>
            </a:p>
          </p:txBody>
        </p:sp>
        <p:sp>
          <p:nvSpPr>
            <p:cNvPr id="44" name="Text Box 1036">
              <a:extLst>
                <a:ext uri="{FF2B5EF4-FFF2-40B4-BE49-F238E27FC236}">
                  <a16:creationId xmlns:a16="http://schemas.microsoft.com/office/drawing/2014/main" id="{E8424FFA-BFD9-4849-9904-1632165D742B}"/>
                </a:ext>
              </a:extLst>
            </p:cNvPr>
            <p:cNvSpPr txBox="1">
              <a:spLocks noChangeArrowheads="1"/>
            </p:cNvSpPr>
            <p:nvPr/>
          </p:nvSpPr>
          <p:spPr bwMode="auto">
            <a:xfrm>
              <a:off x="3584575" y="1028700"/>
              <a:ext cx="8382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501" tIns="46250" rIns="92501" bIns="46250">
              <a:spAutoFit/>
            </a:bodyPr>
            <a:lstStyle>
              <a:lvl1pPr defTabSz="925513" eaLnBrk="0" hangingPunct="0">
                <a:defRPr sz="1400">
                  <a:solidFill>
                    <a:schemeClr val="tx1"/>
                  </a:solidFill>
                  <a:latin typeface="GE Inspira" pitchFamily="34" charset="0"/>
                </a:defRPr>
              </a:lvl1pPr>
              <a:lvl2pPr marL="742950" indent="-285750" defTabSz="925513" eaLnBrk="0" hangingPunct="0">
                <a:defRPr sz="1400">
                  <a:solidFill>
                    <a:schemeClr val="tx1"/>
                  </a:solidFill>
                  <a:latin typeface="GE Inspira" pitchFamily="34" charset="0"/>
                </a:defRPr>
              </a:lvl2pPr>
              <a:lvl3pPr marL="1143000" indent="-228600" defTabSz="925513" eaLnBrk="0" hangingPunct="0">
                <a:defRPr sz="1400">
                  <a:solidFill>
                    <a:schemeClr val="tx1"/>
                  </a:solidFill>
                  <a:latin typeface="GE Inspira" pitchFamily="34" charset="0"/>
                </a:defRPr>
              </a:lvl3pPr>
              <a:lvl4pPr marL="1600200" indent="-228600" defTabSz="925513" eaLnBrk="0" hangingPunct="0">
                <a:defRPr sz="1400">
                  <a:solidFill>
                    <a:schemeClr val="tx1"/>
                  </a:solidFill>
                  <a:latin typeface="GE Inspira" pitchFamily="34" charset="0"/>
                </a:defRPr>
              </a:lvl4pPr>
              <a:lvl5pPr marL="2057400" indent="-228600" defTabSz="925513" eaLnBrk="0" hangingPunct="0">
                <a:defRPr sz="1400">
                  <a:solidFill>
                    <a:schemeClr val="tx1"/>
                  </a:solidFill>
                  <a:latin typeface="GE Inspira" pitchFamily="34" charset="0"/>
                </a:defRPr>
              </a:lvl5pPr>
              <a:lvl6pPr marL="2514600" indent="-228600" defTabSz="925513" eaLnBrk="0" fontAlgn="base" hangingPunct="0">
                <a:spcBef>
                  <a:spcPct val="0"/>
                </a:spcBef>
                <a:spcAft>
                  <a:spcPct val="0"/>
                </a:spcAft>
                <a:defRPr sz="1400">
                  <a:solidFill>
                    <a:schemeClr val="tx1"/>
                  </a:solidFill>
                  <a:latin typeface="GE Inspira" pitchFamily="34" charset="0"/>
                </a:defRPr>
              </a:lvl6pPr>
              <a:lvl7pPr marL="2971800" indent="-228600" defTabSz="925513" eaLnBrk="0" fontAlgn="base" hangingPunct="0">
                <a:spcBef>
                  <a:spcPct val="0"/>
                </a:spcBef>
                <a:spcAft>
                  <a:spcPct val="0"/>
                </a:spcAft>
                <a:defRPr sz="1400">
                  <a:solidFill>
                    <a:schemeClr val="tx1"/>
                  </a:solidFill>
                  <a:latin typeface="GE Inspira" pitchFamily="34" charset="0"/>
                </a:defRPr>
              </a:lvl7pPr>
              <a:lvl8pPr marL="3429000" indent="-228600" defTabSz="925513" eaLnBrk="0" fontAlgn="base" hangingPunct="0">
                <a:spcBef>
                  <a:spcPct val="0"/>
                </a:spcBef>
                <a:spcAft>
                  <a:spcPct val="0"/>
                </a:spcAft>
                <a:defRPr sz="1400">
                  <a:solidFill>
                    <a:schemeClr val="tx1"/>
                  </a:solidFill>
                  <a:latin typeface="GE Inspira" pitchFamily="34" charset="0"/>
                </a:defRPr>
              </a:lvl8pPr>
              <a:lvl9pPr marL="3886200" indent="-228600" defTabSz="925513" eaLnBrk="0" fontAlgn="base" hangingPunct="0">
                <a:spcBef>
                  <a:spcPct val="0"/>
                </a:spcBef>
                <a:spcAft>
                  <a:spcPct val="0"/>
                </a:spcAft>
                <a:defRPr sz="1400">
                  <a:solidFill>
                    <a:schemeClr val="tx1"/>
                  </a:solidFill>
                  <a:latin typeface="GE Inspira" pitchFamily="34" charset="0"/>
                </a:defRPr>
              </a:lvl9pPr>
            </a:lstStyle>
            <a:p>
              <a:pPr eaLnBrk="1" fontAlgn="base" hangingPunct="1">
                <a:spcBef>
                  <a:spcPct val="50000"/>
                </a:spcBef>
                <a:spcAft>
                  <a:spcPct val="0"/>
                </a:spcAft>
              </a:pPr>
              <a:r>
                <a:rPr lang="en-US" dirty="0">
                  <a:solidFill>
                    <a:srgbClr val="1E4191"/>
                  </a:solidFill>
                  <a:latin typeface="GE Inspira Pitch" pitchFamily="34" charset="0"/>
                  <a:cs typeface="Times New Roman" pitchFamily="18" charset="0"/>
                </a:rPr>
                <a:t>1 MWh</a:t>
              </a:r>
            </a:p>
          </p:txBody>
        </p:sp>
        <p:sp>
          <p:nvSpPr>
            <p:cNvPr id="45" name="Text Box 1037">
              <a:extLst>
                <a:ext uri="{FF2B5EF4-FFF2-40B4-BE49-F238E27FC236}">
                  <a16:creationId xmlns:a16="http://schemas.microsoft.com/office/drawing/2014/main" id="{A0753448-BB0E-4245-A268-454EBBB1AC62}"/>
                </a:ext>
              </a:extLst>
            </p:cNvPr>
            <p:cNvSpPr txBox="1">
              <a:spLocks noChangeArrowheads="1"/>
            </p:cNvSpPr>
            <p:nvPr/>
          </p:nvSpPr>
          <p:spPr bwMode="auto">
            <a:xfrm>
              <a:off x="4737100" y="1028700"/>
              <a:ext cx="97631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501" tIns="46250" rIns="92501" bIns="46250">
              <a:spAutoFit/>
            </a:bodyPr>
            <a:lstStyle>
              <a:lvl1pPr defTabSz="925513" eaLnBrk="0" hangingPunct="0">
                <a:defRPr sz="1400">
                  <a:solidFill>
                    <a:schemeClr val="tx1"/>
                  </a:solidFill>
                  <a:latin typeface="GE Inspira" pitchFamily="34" charset="0"/>
                </a:defRPr>
              </a:lvl1pPr>
              <a:lvl2pPr marL="742950" indent="-285750" defTabSz="925513" eaLnBrk="0" hangingPunct="0">
                <a:defRPr sz="1400">
                  <a:solidFill>
                    <a:schemeClr val="tx1"/>
                  </a:solidFill>
                  <a:latin typeface="GE Inspira" pitchFamily="34" charset="0"/>
                </a:defRPr>
              </a:lvl2pPr>
              <a:lvl3pPr marL="1143000" indent="-228600" defTabSz="925513" eaLnBrk="0" hangingPunct="0">
                <a:defRPr sz="1400">
                  <a:solidFill>
                    <a:schemeClr val="tx1"/>
                  </a:solidFill>
                  <a:latin typeface="GE Inspira" pitchFamily="34" charset="0"/>
                </a:defRPr>
              </a:lvl3pPr>
              <a:lvl4pPr marL="1600200" indent="-228600" defTabSz="925513" eaLnBrk="0" hangingPunct="0">
                <a:defRPr sz="1400">
                  <a:solidFill>
                    <a:schemeClr val="tx1"/>
                  </a:solidFill>
                  <a:latin typeface="GE Inspira" pitchFamily="34" charset="0"/>
                </a:defRPr>
              </a:lvl4pPr>
              <a:lvl5pPr marL="2057400" indent="-228600" defTabSz="925513" eaLnBrk="0" hangingPunct="0">
                <a:defRPr sz="1400">
                  <a:solidFill>
                    <a:schemeClr val="tx1"/>
                  </a:solidFill>
                  <a:latin typeface="GE Inspira" pitchFamily="34" charset="0"/>
                </a:defRPr>
              </a:lvl5pPr>
              <a:lvl6pPr marL="2514600" indent="-228600" defTabSz="925513" eaLnBrk="0" fontAlgn="base" hangingPunct="0">
                <a:spcBef>
                  <a:spcPct val="0"/>
                </a:spcBef>
                <a:spcAft>
                  <a:spcPct val="0"/>
                </a:spcAft>
                <a:defRPr sz="1400">
                  <a:solidFill>
                    <a:schemeClr val="tx1"/>
                  </a:solidFill>
                  <a:latin typeface="GE Inspira" pitchFamily="34" charset="0"/>
                </a:defRPr>
              </a:lvl6pPr>
              <a:lvl7pPr marL="2971800" indent="-228600" defTabSz="925513" eaLnBrk="0" fontAlgn="base" hangingPunct="0">
                <a:spcBef>
                  <a:spcPct val="0"/>
                </a:spcBef>
                <a:spcAft>
                  <a:spcPct val="0"/>
                </a:spcAft>
                <a:defRPr sz="1400">
                  <a:solidFill>
                    <a:schemeClr val="tx1"/>
                  </a:solidFill>
                  <a:latin typeface="GE Inspira" pitchFamily="34" charset="0"/>
                </a:defRPr>
              </a:lvl7pPr>
              <a:lvl8pPr marL="3429000" indent="-228600" defTabSz="925513" eaLnBrk="0" fontAlgn="base" hangingPunct="0">
                <a:spcBef>
                  <a:spcPct val="0"/>
                </a:spcBef>
                <a:spcAft>
                  <a:spcPct val="0"/>
                </a:spcAft>
                <a:defRPr sz="1400">
                  <a:solidFill>
                    <a:schemeClr val="tx1"/>
                  </a:solidFill>
                  <a:latin typeface="GE Inspira" pitchFamily="34" charset="0"/>
                </a:defRPr>
              </a:lvl8pPr>
              <a:lvl9pPr marL="3886200" indent="-228600" defTabSz="925513" eaLnBrk="0" fontAlgn="base" hangingPunct="0">
                <a:spcBef>
                  <a:spcPct val="0"/>
                </a:spcBef>
                <a:spcAft>
                  <a:spcPct val="0"/>
                </a:spcAft>
                <a:defRPr sz="1400">
                  <a:solidFill>
                    <a:schemeClr val="tx1"/>
                  </a:solidFill>
                  <a:latin typeface="GE Inspira" pitchFamily="34" charset="0"/>
                </a:defRPr>
              </a:lvl9pPr>
            </a:lstStyle>
            <a:p>
              <a:pPr eaLnBrk="1" fontAlgn="base" hangingPunct="1">
                <a:spcBef>
                  <a:spcPct val="50000"/>
                </a:spcBef>
                <a:spcAft>
                  <a:spcPct val="0"/>
                </a:spcAft>
              </a:pPr>
              <a:r>
                <a:rPr lang="en-US" dirty="0">
                  <a:solidFill>
                    <a:srgbClr val="1E4191"/>
                  </a:solidFill>
                  <a:latin typeface="GE Inspira Pitch" pitchFamily="34" charset="0"/>
                  <a:cs typeface="Times New Roman" pitchFamily="18" charset="0"/>
                </a:rPr>
                <a:t>10 MWh</a:t>
              </a:r>
            </a:p>
          </p:txBody>
        </p:sp>
        <p:sp>
          <p:nvSpPr>
            <p:cNvPr id="47" name="Text Box 1039">
              <a:extLst>
                <a:ext uri="{FF2B5EF4-FFF2-40B4-BE49-F238E27FC236}">
                  <a16:creationId xmlns:a16="http://schemas.microsoft.com/office/drawing/2014/main" id="{DA3ED376-2A86-471C-AAB9-57B5F4DA1F02}"/>
                </a:ext>
              </a:extLst>
            </p:cNvPr>
            <p:cNvSpPr txBox="1">
              <a:spLocks noChangeArrowheads="1"/>
            </p:cNvSpPr>
            <p:nvPr/>
          </p:nvSpPr>
          <p:spPr bwMode="auto">
            <a:xfrm rot="16200000">
              <a:off x="-934243" y="3248818"/>
              <a:ext cx="2914650" cy="461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501" tIns="46250" rIns="92501" bIns="46250">
              <a:spAutoFit/>
            </a:bodyPr>
            <a:lstStyle>
              <a:lvl1pPr defTabSz="925513" eaLnBrk="0" hangingPunct="0">
                <a:defRPr sz="1400">
                  <a:solidFill>
                    <a:schemeClr val="tx1"/>
                  </a:solidFill>
                  <a:latin typeface="GE Inspira" pitchFamily="34" charset="0"/>
                </a:defRPr>
              </a:lvl1pPr>
              <a:lvl2pPr marL="742950" indent="-285750" defTabSz="925513" eaLnBrk="0" hangingPunct="0">
                <a:defRPr sz="1400">
                  <a:solidFill>
                    <a:schemeClr val="tx1"/>
                  </a:solidFill>
                  <a:latin typeface="GE Inspira" pitchFamily="34" charset="0"/>
                </a:defRPr>
              </a:lvl2pPr>
              <a:lvl3pPr marL="1143000" indent="-228600" defTabSz="925513" eaLnBrk="0" hangingPunct="0">
                <a:defRPr sz="1400">
                  <a:solidFill>
                    <a:schemeClr val="tx1"/>
                  </a:solidFill>
                  <a:latin typeface="GE Inspira" pitchFamily="34" charset="0"/>
                </a:defRPr>
              </a:lvl3pPr>
              <a:lvl4pPr marL="1600200" indent="-228600" defTabSz="925513" eaLnBrk="0" hangingPunct="0">
                <a:defRPr sz="1400">
                  <a:solidFill>
                    <a:schemeClr val="tx1"/>
                  </a:solidFill>
                  <a:latin typeface="GE Inspira" pitchFamily="34" charset="0"/>
                </a:defRPr>
              </a:lvl4pPr>
              <a:lvl5pPr marL="2057400" indent="-228600" defTabSz="925513" eaLnBrk="0" hangingPunct="0">
                <a:defRPr sz="1400">
                  <a:solidFill>
                    <a:schemeClr val="tx1"/>
                  </a:solidFill>
                  <a:latin typeface="GE Inspira" pitchFamily="34" charset="0"/>
                </a:defRPr>
              </a:lvl5pPr>
              <a:lvl6pPr marL="2514600" indent="-228600" defTabSz="925513" eaLnBrk="0" fontAlgn="base" hangingPunct="0">
                <a:spcBef>
                  <a:spcPct val="0"/>
                </a:spcBef>
                <a:spcAft>
                  <a:spcPct val="0"/>
                </a:spcAft>
                <a:defRPr sz="1400">
                  <a:solidFill>
                    <a:schemeClr val="tx1"/>
                  </a:solidFill>
                  <a:latin typeface="GE Inspira" pitchFamily="34" charset="0"/>
                </a:defRPr>
              </a:lvl6pPr>
              <a:lvl7pPr marL="2971800" indent="-228600" defTabSz="925513" eaLnBrk="0" fontAlgn="base" hangingPunct="0">
                <a:spcBef>
                  <a:spcPct val="0"/>
                </a:spcBef>
                <a:spcAft>
                  <a:spcPct val="0"/>
                </a:spcAft>
                <a:defRPr sz="1400">
                  <a:solidFill>
                    <a:schemeClr val="tx1"/>
                  </a:solidFill>
                  <a:latin typeface="GE Inspira" pitchFamily="34" charset="0"/>
                </a:defRPr>
              </a:lvl7pPr>
              <a:lvl8pPr marL="3429000" indent="-228600" defTabSz="925513" eaLnBrk="0" fontAlgn="base" hangingPunct="0">
                <a:spcBef>
                  <a:spcPct val="0"/>
                </a:spcBef>
                <a:spcAft>
                  <a:spcPct val="0"/>
                </a:spcAft>
                <a:defRPr sz="1400">
                  <a:solidFill>
                    <a:schemeClr val="tx1"/>
                  </a:solidFill>
                  <a:latin typeface="GE Inspira" pitchFamily="34" charset="0"/>
                </a:defRPr>
              </a:lvl8pPr>
              <a:lvl9pPr marL="3886200" indent="-228600" defTabSz="925513" eaLnBrk="0" fontAlgn="base" hangingPunct="0">
                <a:spcBef>
                  <a:spcPct val="0"/>
                </a:spcBef>
                <a:spcAft>
                  <a:spcPct val="0"/>
                </a:spcAft>
                <a:defRPr sz="1400">
                  <a:solidFill>
                    <a:schemeClr val="tx1"/>
                  </a:solidFill>
                  <a:latin typeface="GE Inspira" pitchFamily="34" charset="0"/>
                </a:defRPr>
              </a:lvl9pPr>
            </a:lstStyle>
            <a:p>
              <a:pPr algn="ctr" eaLnBrk="1" fontAlgn="base" hangingPunct="1">
                <a:spcBef>
                  <a:spcPct val="50000"/>
                </a:spcBef>
                <a:spcAft>
                  <a:spcPct val="0"/>
                </a:spcAft>
              </a:pPr>
              <a:r>
                <a:rPr lang="en-US" sz="2400" b="1" dirty="0">
                  <a:solidFill>
                    <a:srgbClr val="1E4191"/>
                  </a:solidFill>
                  <a:latin typeface="GE Inspira Pitch" pitchFamily="34" charset="0"/>
                  <a:cs typeface="Times New Roman" pitchFamily="18" charset="0"/>
                </a:rPr>
                <a:t>Discharge Duration</a:t>
              </a:r>
            </a:p>
          </p:txBody>
        </p:sp>
        <p:sp>
          <p:nvSpPr>
            <p:cNvPr id="48" name="Text Box 1040">
              <a:extLst>
                <a:ext uri="{FF2B5EF4-FFF2-40B4-BE49-F238E27FC236}">
                  <a16:creationId xmlns:a16="http://schemas.microsoft.com/office/drawing/2014/main" id="{7F7AAAD0-E4C8-4123-8D1E-20CB610708CA}"/>
                </a:ext>
              </a:extLst>
            </p:cNvPr>
            <p:cNvSpPr txBox="1">
              <a:spLocks noChangeArrowheads="1"/>
            </p:cNvSpPr>
            <p:nvPr/>
          </p:nvSpPr>
          <p:spPr bwMode="auto">
            <a:xfrm>
              <a:off x="600075" y="1320800"/>
              <a:ext cx="83661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501" tIns="46250" rIns="92501" bIns="46250">
              <a:spAutoFit/>
            </a:bodyPr>
            <a:lstStyle>
              <a:lvl1pPr defTabSz="925513" eaLnBrk="0" hangingPunct="0">
                <a:defRPr sz="1400">
                  <a:solidFill>
                    <a:schemeClr val="tx1"/>
                  </a:solidFill>
                  <a:latin typeface="GE Inspira" pitchFamily="34" charset="0"/>
                </a:defRPr>
              </a:lvl1pPr>
              <a:lvl2pPr marL="742950" indent="-285750" defTabSz="925513" eaLnBrk="0" hangingPunct="0">
                <a:defRPr sz="1400">
                  <a:solidFill>
                    <a:schemeClr val="tx1"/>
                  </a:solidFill>
                  <a:latin typeface="GE Inspira" pitchFamily="34" charset="0"/>
                </a:defRPr>
              </a:lvl2pPr>
              <a:lvl3pPr marL="1143000" indent="-228600" defTabSz="925513" eaLnBrk="0" hangingPunct="0">
                <a:defRPr sz="1400">
                  <a:solidFill>
                    <a:schemeClr val="tx1"/>
                  </a:solidFill>
                  <a:latin typeface="GE Inspira" pitchFamily="34" charset="0"/>
                </a:defRPr>
              </a:lvl3pPr>
              <a:lvl4pPr marL="1600200" indent="-228600" defTabSz="925513" eaLnBrk="0" hangingPunct="0">
                <a:defRPr sz="1400">
                  <a:solidFill>
                    <a:schemeClr val="tx1"/>
                  </a:solidFill>
                  <a:latin typeface="GE Inspira" pitchFamily="34" charset="0"/>
                </a:defRPr>
              </a:lvl4pPr>
              <a:lvl5pPr marL="2057400" indent="-228600" defTabSz="925513" eaLnBrk="0" hangingPunct="0">
                <a:defRPr sz="1400">
                  <a:solidFill>
                    <a:schemeClr val="tx1"/>
                  </a:solidFill>
                  <a:latin typeface="GE Inspira" pitchFamily="34" charset="0"/>
                </a:defRPr>
              </a:lvl5pPr>
              <a:lvl6pPr marL="2514600" indent="-228600" defTabSz="925513" eaLnBrk="0" fontAlgn="base" hangingPunct="0">
                <a:spcBef>
                  <a:spcPct val="0"/>
                </a:spcBef>
                <a:spcAft>
                  <a:spcPct val="0"/>
                </a:spcAft>
                <a:defRPr sz="1400">
                  <a:solidFill>
                    <a:schemeClr val="tx1"/>
                  </a:solidFill>
                  <a:latin typeface="GE Inspira" pitchFamily="34" charset="0"/>
                </a:defRPr>
              </a:lvl6pPr>
              <a:lvl7pPr marL="2971800" indent="-228600" defTabSz="925513" eaLnBrk="0" fontAlgn="base" hangingPunct="0">
                <a:spcBef>
                  <a:spcPct val="0"/>
                </a:spcBef>
                <a:spcAft>
                  <a:spcPct val="0"/>
                </a:spcAft>
                <a:defRPr sz="1400">
                  <a:solidFill>
                    <a:schemeClr val="tx1"/>
                  </a:solidFill>
                  <a:latin typeface="GE Inspira" pitchFamily="34" charset="0"/>
                </a:defRPr>
              </a:lvl7pPr>
              <a:lvl8pPr marL="3429000" indent="-228600" defTabSz="925513" eaLnBrk="0" fontAlgn="base" hangingPunct="0">
                <a:spcBef>
                  <a:spcPct val="0"/>
                </a:spcBef>
                <a:spcAft>
                  <a:spcPct val="0"/>
                </a:spcAft>
                <a:defRPr sz="1400">
                  <a:solidFill>
                    <a:schemeClr val="tx1"/>
                  </a:solidFill>
                  <a:latin typeface="GE Inspira" pitchFamily="34" charset="0"/>
                </a:defRPr>
              </a:lvl8pPr>
              <a:lvl9pPr marL="3886200" indent="-228600" defTabSz="925513" eaLnBrk="0" fontAlgn="base" hangingPunct="0">
                <a:spcBef>
                  <a:spcPct val="0"/>
                </a:spcBef>
                <a:spcAft>
                  <a:spcPct val="0"/>
                </a:spcAft>
                <a:defRPr sz="1400">
                  <a:solidFill>
                    <a:schemeClr val="tx1"/>
                  </a:solidFill>
                  <a:latin typeface="GE Inspira" pitchFamily="34" charset="0"/>
                </a:defRPr>
              </a:lvl9pPr>
            </a:lstStyle>
            <a:p>
              <a:pPr algn="r" eaLnBrk="1" fontAlgn="base" hangingPunct="1">
                <a:spcBef>
                  <a:spcPct val="50000"/>
                </a:spcBef>
                <a:spcAft>
                  <a:spcPct val="0"/>
                </a:spcAft>
              </a:pPr>
              <a:r>
                <a:rPr lang="en-US" dirty="0">
                  <a:solidFill>
                    <a:srgbClr val="1E4191"/>
                  </a:solidFill>
                  <a:latin typeface="GE Inspira Pitch" pitchFamily="34" charset="0"/>
                  <a:cs typeface="Times New Roman" pitchFamily="18" charset="0"/>
                </a:rPr>
                <a:t>10 sec</a:t>
              </a:r>
            </a:p>
          </p:txBody>
        </p:sp>
        <p:sp>
          <p:nvSpPr>
            <p:cNvPr id="49" name="Text Box 1051">
              <a:extLst>
                <a:ext uri="{FF2B5EF4-FFF2-40B4-BE49-F238E27FC236}">
                  <a16:creationId xmlns:a16="http://schemas.microsoft.com/office/drawing/2014/main" id="{B5ED559E-A655-4671-9BBE-D44117AB2AC9}"/>
                </a:ext>
              </a:extLst>
            </p:cNvPr>
            <p:cNvSpPr txBox="1">
              <a:spLocks noChangeArrowheads="1"/>
            </p:cNvSpPr>
            <p:nvPr/>
          </p:nvSpPr>
          <p:spPr bwMode="auto">
            <a:xfrm>
              <a:off x="1028700" y="1028700"/>
              <a:ext cx="10001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501" tIns="46250" rIns="92501" bIns="46250">
              <a:spAutoFit/>
            </a:bodyPr>
            <a:lstStyle>
              <a:lvl1pPr defTabSz="925513" eaLnBrk="0" hangingPunct="0">
                <a:defRPr sz="1400">
                  <a:solidFill>
                    <a:schemeClr val="tx1"/>
                  </a:solidFill>
                  <a:latin typeface="GE Inspira" pitchFamily="34" charset="0"/>
                </a:defRPr>
              </a:lvl1pPr>
              <a:lvl2pPr marL="742950" indent="-285750" defTabSz="925513" eaLnBrk="0" hangingPunct="0">
                <a:defRPr sz="1400">
                  <a:solidFill>
                    <a:schemeClr val="tx1"/>
                  </a:solidFill>
                  <a:latin typeface="GE Inspira" pitchFamily="34" charset="0"/>
                </a:defRPr>
              </a:lvl2pPr>
              <a:lvl3pPr marL="1143000" indent="-228600" defTabSz="925513" eaLnBrk="0" hangingPunct="0">
                <a:defRPr sz="1400">
                  <a:solidFill>
                    <a:schemeClr val="tx1"/>
                  </a:solidFill>
                  <a:latin typeface="GE Inspira" pitchFamily="34" charset="0"/>
                </a:defRPr>
              </a:lvl3pPr>
              <a:lvl4pPr marL="1600200" indent="-228600" defTabSz="925513" eaLnBrk="0" hangingPunct="0">
                <a:defRPr sz="1400">
                  <a:solidFill>
                    <a:schemeClr val="tx1"/>
                  </a:solidFill>
                  <a:latin typeface="GE Inspira" pitchFamily="34" charset="0"/>
                </a:defRPr>
              </a:lvl4pPr>
              <a:lvl5pPr marL="2057400" indent="-228600" defTabSz="925513" eaLnBrk="0" hangingPunct="0">
                <a:defRPr sz="1400">
                  <a:solidFill>
                    <a:schemeClr val="tx1"/>
                  </a:solidFill>
                  <a:latin typeface="GE Inspira" pitchFamily="34" charset="0"/>
                </a:defRPr>
              </a:lvl5pPr>
              <a:lvl6pPr marL="2514600" indent="-228600" defTabSz="925513" eaLnBrk="0" fontAlgn="base" hangingPunct="0">
                <a:spcBef>
                  <a:spcPct val="0"/>
                </a:spcBef>
                <a:spcAft>
                  <a:spcPct val="0"/>
                </a:spcAft>
                <a:defRPr sz="1400">
                  <a:solidFill>
                    <a:schemeClr val="tx1"/>
                  </a:solidFill>
                  <a:latin typeface="GE Inspira" pitchFamily="34" charset="0"/>
                </a:defRPr>
              </a:lvl6pPr>
              <a:lvl7pPr marL="2971800" indent="-228600" defTabSz="925513" eaLnBrk="0" fontAlgn="base" hangingPunct="0">
                <a:spcBef>
                  <a:spcPct val="0"/>
                </a:spcBef>
                <a:spcAft>
                  <a:spcPct val="0"/>
                </a:spcAft>
                <a:defRPr sz="1400">
                  <a:solidFill>
                    <a:schemeClr val="tx1"/>
                  </a:solidFill>
                  <a:latin typeface="GE Inspira" pitchFamily="34" charset="0"/>
                </a:defRPr>
              </a:lvl7pPr>
              <a:lvl8pPr marL="3429000" indent="-228600" defTabSz="925513" eaLnBrk="0" fontAlgn="base" hangingPunct="0">
                <a:spcBef>
                  <a:spcPct val="0"/>
                </a:spcBef>
                <a:spcAft>
                  <a:spcPct val="0"/>
                </a:spcAft>
                <a:defRPr sz="1400">
                  <a:solidFill>
                    <a:schemeClr val="tx1"/>
                  </a:solidFill>
                  <a:latin typeface="GE Inspira" pitchFamily="34" charset="0"/>
                </a:defRPr>
              </a:lvl8pPr>
              <a:lvl9pPr marL="3886200" indent="-228600" defTabSz="925513" eaLnBrk="0" fontAlgn="base" hangingPunct="0">
                <a:spcBef>
                  <a:spcPct val="0"/>
                </a:spcBef>
                <a:spcAft>
                  <a:spcPct val="0"/>
                </a:spcAft>
                <a:defRPr sz="1400">
                  <a:solidFill>
                    <a:schemeClr val="tx1"/>
                  </a:solidFill>
                  <a:latin typeface="GE Inspira" pitchFamily="34" charset="0"/>
                </a:defRPr>
              </a:lvl9pPr>
            </a:lstStyle>
            <a:p>
              <a:pPr eaLnBrk="1" fontAlgn="base" hangingPunct="1">
                <a:spcBef>
                  <a:spcPct val="50000"/>
                </a:spcBef>
                <a:spcAft>
                  <a:spcPct val="0"/>
                </a:spcAft>
              </a:pPr>
              <a:r>
                <a:rPr lang="en-US" dirty="0">
                  <a:solidFill>
                    <a:srgbClr val="1E4191"/>
                  </a:solidFill>
                  <a:latin typeface="GE Inspira Pitch" pitchFamily="34" charset="0"/>
                  <a:cs typeface="Times New Roman" pitchFamily="18" charset="0"/>
                </a:rPr>
                <a:t>10 kWh</a:t>
              </a:r>
            </a:p>
          </p:txBody>
        </p:sp>
        <p:sp>
          <p:nvSpPr>
            <p:cNvPr id="50" name="Text Box 1052">
              <a:extLst>
                <a:ext uri="{FF2B5EF4-FFF2-40B4-BE49-F238E27FC236}">
                  <a16:creationId xmlns:a16="http://schemas.microsoft.com/office/drawing/2014/main" id="{52348F9A-BD02-49B4-B760-E9AFB1AEEAB6}"/>
                </a:ext>
              </a:extLst>
            </p:cNvPr>
            <p:cNvSpPr txBox="1">
              <a:spLocks noChangeArrowheads="1"/>
            </p:cNvSpPr>
            <p:nvPr/>
          </p:nvSpPr>
          <p:spPr bwMode="auto">
            <a:xfrm>
              <a:off x="5918200" y="1028700"/>
              <a:ext cx="106045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501" tIns="46250" rIns="92501" bIns="46250">
              <a:spAutoFit/>
            </a:bodyPr>
            <a:lstStyle>
              <a:lvl1pPr defTabSz="925513" eaLnBrk="0" hangingPunct="0">
                <a:defRPr sz="1400">
                  <a:solidFill>
                    <a:schemeClr val="tx1"/>
                  </a:solidFill>
                  <a:latin typeface="GE Inspira" pitchFamily="34" charset="0"/>
                </a:defRPr>
              </a:lvl1pPr>
              <a:lvl2pPr marL="742950" indent="-285750" defTabSz="925513" eaLnBrk="0" hangingPunct="0">
                <a:defRPr sz="1400">
                  <a:solidFill>
                    <a:schemeClr val="tx1"/>
                  </a:solidFill>
                  <a:latin typeface="GE Inspira" pitchFamily="34" charset="0"/>
                </a:defRPr>
              </a:lvl2pPr>
              <a:lvl3pPr marL="1143000" indent="-228600" defTabSz="925513" eaLnBrk="0" hangingPunct="0">
                <a:defRPr sz="1400">
                  <a:solidFill>
                    <a:schemeClr val="tx1"/>
                  </a:solidFill>
                  <a:latin typeface="GE Inspira" pitchFamily="34" charset="0"/>
                </a:defRPr>
              </a:lvl3pPr>
              <a:lvl4pPr marL="1600200" indent="-228600" defTabSz="925513" eaLnBrk="0" hangingPunct="0">
                <a:defRPr sz="1400">
                  <a:solidFill>
                    <a:schemeClr val="tx1"/>
                  </a:solidFill>
                  <a:latin typeface="GE Inspira" pitchFamily="34" charset="0"/>
                </a:defRPr>
              </a:lvl4pPr>
              <a:lvl5pPr marL="2057400" indent="-228600" defTabSz="925513" eaLnBrk="0" hangingPunct="0">
                <a:defRPr sz="1400">
                  <a:solidFill>
                    <a:schemeClr val="tx1"/>
                  </a:solidFill>
                  <a:latin typeface="GE Inspira" pitchFamily="34" charset="0"/>
                </a:defRPr>
              </a:lvl5pPr>
              <a:lvl6pPr marL="2514600" indent="-228600" defTabSz="925513" eaLnBrk="0" fontAlgn="base" hangingPunct="0">
                <a:spcBef>
                  <a:spcPct val="0"/>
                </a:spcBef>
                <a:spcAft>
                  <a:spcPct val="0"/>
                </a:spcAft>
                <a:defRPr sz="1400">
                  <a:solidFill>
                    <a:schemeClr val="tx1"/>
                  </a:solidFill>
                  <a:latin typeface="GE Inspira" pitchFamily="34" charset="0"/>
                </a:defRPr>
              </a:lvl6pPr>
              <a:lvl7pPr marL="2971800" indent="-228600" defTabSz="925513" eaLnBrk="0" fontAlgn="base" hangingPunct="0">
                <a:spcBef>
                  <a:spcPct val="0"/>
                </a:spcBef>
                <a:spcAft>
                  <a:spcPct val="0"/>
                </a:spcAft>
                <a:defRPr sz="1400">
                  <a:solidFill>
                    <a:schemeClr val="tx1"/>
                  </a:solidFill>
                  <a:latin typeface="GE Inspira" pitchFamily="34" charset="0"/>
                </a:defRPr>
              </a:lvl7pPr>
              <a:lvl8pPr marL="3429000" indent="-228600" defTabSz="925513" eaLnBrk="0" fontAlgn="base" hangingPunct="0">
                <a:spcBef>
                  <a:spcPct val="0"/>
                </a:spcBef>
                <a:spcAft>
                  <a:spcPct val="0"/>
                </a:spcAft>
                <a:defRPr sz="1400">
                  <a:solidFill>
                    <a:schemeClr val="tx1"/>
                  </a:solidFill>
                  <a:latin typeface="GE Inspira" pitchFamily="34" charset="0"/>
                </a:defRPr>
              </a:lvl8pPr>
              <a:lvl9pPr marL="3886200" indent="-228600" defTabSz="925513" eaLnBrk="0" fontAlgn="base" hangingPunct="0">
                <a:spcBef>
                  <a:spcPct val="0"/>
                </a:spcBef>
                <a:spcAft>
                  <a:spcPct val="0"/>
                </a:spcAft>
                <a:defRPr sz="1400">
                  <a:solidFill>
                    <a:schemeClr val="tx1"/>
                  </a:solidFill>
                  <a:latin typeface="GE Inspira" pitchFamily="34" charset="0"/>
                </a:defRPr>
              </a:lvl9pPr>
            </a:lstStyle>
            <a:p>
              <a:pPr algn="ctr" eaLnBrk="1" fontAlgn="base" hangingPunct="1">
                <a:spcBef>
                  <a:spcPct val="50000"/>
                </a:spcBef>
                <a:spcAft>
                  <a:spcPct val="0"/>
                </a:spcAft>
              </a:pPr>
              <a:r>
                <a:rPr lang="en-US" dirty="0">
                  <a:solidFill>
                    <a:srgbClr val="1E4191"/>
                  </a:solidFill>
                  <a:latin typeface="GE Inspira Pitch" pitchFamily="34" charset="0"/>
                  <a:cs typeface="Times New Roman" pitchFamily="18" charset="0"/>
                </a:rPr>
                <a:t>100 MWh</a:t>
              </a:r>
            </a:p>
          </p:txBody>
        </p:sp>
        <p:sp>
          <p:nvSpPr>
            <p:cNvPr id="51" name="Text Box 1056">
              <a:extLst>
                <a:ext uri="{FF2B5EF4-FFF2-40B4-BE49-F238E27FC236}">
                  <a16:creationId xmlns:a16="http://schemas.microsoft.com/office/drawing/2014/main" id="{72484542-BF4F-461F-9380-4F952DCF59A5}"/>
                </a:ext>
              </a:extLst>
            </p:cNvPr>
            <p:cNvSpPr txBox="1">
              <a:spLocks noChangeArrowheads="1"/>
            </p:cNvSpPr>
            <p:nvPr/>
          </p:nvSpPr>
          <p:spPr bwMode="auto">
            <a:xfrm>
              <a:off x="2824163" y="1760538"/>
              <a:ext cx="1577975"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71450" indent="-171450" eaLnBrk="0" hangingPunct="0">
                <a:defRPr sz="1400">
                  <a:solidFill>
                    <a:schemeClr val="tx1"/>
                  </a:solidFill>
                  <a:latin typeface="GE Inspira" pitchFamily="34" charset="0"/>
                </a:defRPr>
              </a:lvl1pPr>
              <a:lvl2pPr marL="742950" indent="-285750" eaLnBrk="0" hangingPunct="0">
                <a:defRPr sz="1400">
                  <a:solidFill>
                    <a:schemeClr val="tx1"/>
                  </a:solidFill>
                  <a:latin typeface="GE Inspira" pitchFamily="34" charset="0"/>
                </a:defRPr>
              </a:lvl2pPr>
              <a:lvl3pPr marL="1143000" indent="-228600" eaLnBrk="0" hangingPunct="0">
                <a:defRPr sz="1400">
                  <a:solidFill>
                    <a:schemeClr val="tx1"/>
                  </a:solidFill>
                  <a:latin typeface="GE Inspira" pitchFamily="34" charset="0"/>
                </a:defRPr>
              </a:lvl3pPr>
              <a:lvl4pPr marL="1600200" indent="-228600" eaLnBrk="0" hangingPunct="0">
                <a:defRPr sz="1400">
                  <a:solidFill>
                    <a:schemeClr val="tx1"/>
                  </a:solidFill>
                  <a:latin typeface="GE Inspira" pitchFamily="34" charset="0"/>
                </a:defRPr>
              </a:lvl4pPr>
              <a:lvl5pPr marL="2057400" indent="-228600" eaLnBrk="0" hangingPunct="0">
                <a:defRPr sz="1400">
                  <a:solidFill>
                    <a:schemeClr val="tx1"/>
                  </a:solidFill>
                  <a:latin typeface="GE Inspira" pitchFamily="34" charset="0"/>
                </a:defRPr>
              </a:lvl5pPr>
              <a:lvl6pPr marL="2514600" indent="-228600" eaLnBrk="0" fontAlgn="base" hangingPunct="0">
                <a:spcBef>
                  <a:spcPct val="0"/>
                </a:spcBef>
                <a:spcAft>
                  <a:spcPct val="0"/>
                </a:spcAft>
                <a:defRPr sz="1400">
                  <a:solidFill>
                    <a:schemeClr val="tx1"/>
                  </a:solidFill>
                  <a:latin typeface="GE Inspira" pitchFamily="34" charset="0"/>
                </a:defRPr>
              </a:lvl6pPr>
              <a:lvl7pPr marL="2971800" indent="-228600" eaLnBrk="0" fontAlgn="base" hangingPunct="0">
                <a:spcBef>
                  <a:spcPct val="0"/>
                </a:spcBef>
                <a:spcAft>
                  <a:spcPct val="0"/>
                </a:spcAft>
                <a:defRPr sz="1400">
                  <a:solidFill>
                    <a:schemeClr val="tx1"/>
                  </a:solidFill>
                  <a:latin typeface="GE Inspira" pitchFamily="34" charset="0"/>
                </a:defRPr>
              </a:lvl7pPr>
              <a:lvl8pPr marL="3429000" indent="-228600" eaLnBrk="0" fontAlgn="base" hangingPunct="0">
                <a:spcBef>
                  <a:spcPct val="0"/>
                </a:spcBef>
                <a:spcAft>
                  <a:spcPct val="0"/>
                </a:spcAft>
                <a:defRPr sz="1400">
                  <a:solidFill>
                    <a:schemeClr val="tx1"/>
                  </a:solidFill>
                  <a:latin typeface="GE Inspira" pitchFamily="34" charset="0"/>
                </a:defRPr>
              </a:lvl8pPr>
              <a:lvl9pPr marL="3886200" indent="-228600" eaLnBrk="0" fontAlgn="base" hangingPunct="0">
                <a:spcBef>
                  <a:spcPct val="0"/>
                </a:spcBef>
                <a:spcAft>
                  <a:spcPct val="0"/>
                </a:spcAft>
                <a:defRPr sz="1400">
                  <a:solidFill>
                    <a:schemeClr val="tx1"/>
                  </a:solidFill>
                  <a:latin typeface="GE Inspira" pitchFamily="34" charset="0"/>
                </a:defRPr>
              </a:lvl9pPr>
            </a:lstStyle>
            <a:p>
              <a:pPr algn="ctr" eaLnBrk="1" fontAlgn="base" hangingPunct="1">
                <a:spcBef>
                  <a:spcPct val="0"/>
                </a:spcBef>
                <a:spcAft>
                  <a:spcPct val="0"/>
                </a:spcAft>
              </a:pPr>
              <a:r>
                <a:rPr lang="en-US" dirty="0">
                  <a:solidFill>
                    <a:srgbClr val="1E4191"/>
                  </a:solidFill>
                  <a:latin typeface="GE Inspira Pitch" pitchFamily="34" charset="0"/>
                  <a:cs typeface="Times New Roman" pitchFamily="18" charset="0"/>
                </a:rPr>
                <a:t>Frequency</a:t>
              </a:r>
            </a:p>
            <a:p>
              <a:pPr algn="ctr" eaLnBrk="1" fontAlgn="base" hangingPunct="1">
                <a:spcBef>
                  <a:spcPct val="0"/>
                </a:spcBef>
                <a:spcAft>
                  <a:spcPct val="0"/>
                </a:spcAft>
              </a:pPr>
              <a:r>
                <a:rPr lang="en-US" dirty="0">
                  <a:solidFill>
                    <a:srgbClr val="1E4191"/>
                  </a:solidFill>
                  <a:latin typeface="GE Inspira Pitch" pitchFamily="34" charset="0"/>
                  <a:cs typeface="Times New Roman" pitchFamily="18" charset="0"/>
                </a:rPr>
                <a:t>Regulation</a:t>
              </a:r>
            </a:p>
          </p:txBody>
        </p:sp>
        <p:pic>
          <p:nvPicPr>
            <p:cNvPr id="52" name="Picture 1057">
              <a:extLst>
                <a:ext uri="{FF2B5EF4-FFF2-40B4-BE49-F238E27FC236}">
                  <a16:creationId xmlns:a16="http://schemas.microsoft.com/office/drawing/2014/main" id="{FC7CFAD6-6BB3-4C99-BF8D-AC767DE94EC0}"/>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7428"/>
            <a:stretch>
              <a:fillRect/>
            </a:stretch>
          </p:blipFill>
          <p:spPr bwMode="auto">
            <a:xfrm>
              <a:off x="5381625" y="4222750"/>
              <a:ext cx="1046163" cy="1187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1058" descr="http://www.hydro.com.au/handson/students/images/2202.gif">
              <a:extLst>
                <a:ext uri="{FF2B5EF4-FFF2-40B4-BE49-F238E27FC236}">
                  <a16:creationId xmlns:a16="http://schemas.microsoft.com/office/drawing/2014/main" id="{2D3CA79A-C05A-42D9-B5FF-DFCBDE32DE4F}"/>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73650" y="3384550"/>
              <a:ext cx="469900" cy="808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Text Box 1059">
              <a:extLst>
                <a:ext uri="{FF2B5EF4-FFF2-40B4-BE49-F238E27FC236}">
                  <a16:creationId xmlns:a16="http://schemas.microsoft.com/office/drawing/2014/main" id="{86DC68E4-1AB5-4DD1-824E-FE35CF0D68E0}"/>
                </a:ext>
              </a:extLst>
            </p:cNvPr>
            <p:cNvSpPr txBox="1">
              <a:spLocks noChangeArrowheads="1"/>
            </p:cNvSpPr>
            <p:nvPr/>
          </p:nvSpPr>
          <p:spPr bwMode="auto">
            <a:xfrm>
              <a:off x="5470525" y="5314950"/>
              <a:ext cx="917575"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marL="171450" indent="-171450" eaLnBrk="0" hangingPunct="0">
                <a:defRPr sz="1400">
                  <a:solidFill>
                    <a:schemeClr val="tx1"/>
                  </a:solidFill>
                  <a:latin typeface="GE Inspira" pitchFamily="34" charset="0"/>
                </a:defRPr>
              </a:lvl1pPr>
              <a:lvl2pPr marL="742950" indent="-285750" eaLnBrk="0" hangingPunct="0">
                <a:defRPr sz="1400">
                  <a:solidFill>
                    <a:schemeClr val="tx1"/>
                  </a:solidFill>
                  <a:latin typeface="GE Inspira" pitchFamily="34" charset="0"/>
                </a:defRPr>
              </a:lvl2pPr>
              <a:lvl3pPr marL="1143000" indent="-228600" eaLnBrk="0" hangingPunct="0">
                <a:defRPr sz="1400">
                  <a:solidFill>
                    <a:schemeClr val="tx1"/>
                  </a:solidFill>
                  <a:latin typeface="GE Inspira" pitchFamily="34" charset="0"/>
                </a:defRPr>
              </a:lvl3pPr>
              <a:lvl4pPr marL="1600200" indent="-228600" eaLnBrk="0" hangingPunct="0">
                <a:defRPr sz="1400">
                  <a:solidFill>
                    <a:schemeClr val="tx1"/>
                  </a:solidFill>
                  <a:latin typeface="GE Inspira" pitchFamily="34" charset="0"/>
                </a:defRPr>
              </a:lvl4pPr>
              <a:lvl5pPr marL="2057400" indent="-228600" eaLnBrk="0" hangingPunct="0">
                <a:defRPr sz="1400">
                  <a:solidFill>
                    <a:schemeClr val="tx1"/>
                  </a:solidFill>
                  <a:latin typeface="GE Inspira" pitchFamily="34" charset="0"/>
                </a:defRPr>
              </a:lvl5pPr>
              <a:lvl6pPr marL="2514600" indent="-228600" eaLnBrk="0" fontAlgn="base" hangingPunct="0">
                <a:spcBef>
                  <a:spcPct val="0"/>
                </a:spcBef>
                <a:spcAft>
                  <a:spcPct val="0"/>
                </a:spcAft>
                <a:defRPr sz="1400">
                  <a:solidFill>
                    <a:schemeClr val="tx1"/>
                  </a:solidFill>
                  <a:latin typeface="GE Inspira" pitchFamily="34" charset="0"/>
                </a:defRPr>
              </a:lvl6pPr>
              <a:lvl7pPr marL="2971800" indent="-228600" eaLnBrk="0" fontAlgn="base" hangingPunct="0">
                <a:spcBef>
                  <a:spcPct val="0"/>
                </a:spcBef>
                <a:spcAft>
                  <a:spcPct val="0"/>
                </a:spcAft>
                <a:defRPr sz="1400">
                  <a:solidFill>
                    <a:schemeClr val="tx1"/>
                  </a:solidFill>
                  <a:latin typeface="GE Inspira" pitchFamily="34" charset="0"/>
                </a:defRPr>
              </a:lvl7pPr>
              <a:lvl8pPr marL="3429000" indent="-228600" eaLnBrk="0" fontAlgn="base" hangingPunct="0">
                <a:spcBef>
                  <a:spcPct val="0"/>
                </a:spcBef>
                <a:spcAft>
                  <a:spcPct val="0"/>
                </a:spcAft>
                <a:defRPr sz="1400">
                  <a:solidFill>
                    <a:schemeClr val="tx1"/>
                  </a:solidFill>
                  <a:latin typeface="GE Inspira" pitchFamily="34" charset="0"/>
                </a:defRPr>
              </a:lvl8pPr>
              <a:lvl9pPr marL="3886200" indent="-228600" eaLnBrk="0" fontAlgn="base" hangingPunct="0">
                <a:spcBef>
                  <a:spcPct val="0"/>
                </a:spcBef>
                <a:spcAft>
                  <a:spcPct val="0"/>
                </a:spcAft>
                <a:defRPr sz="1400">
                  <a:solidFill>
                    <a:schemeClr val="tx1"/>
                  </a:solidFill>
                  <a:latin typeface="GE Inspira" pitchFamily="34" charset="0"/>
                </a:defRPr>
              </a:lvl9pPr>
            </a:lstStyle>
            <a:p>
              <a:pPr algn="ctr" eaLnBrk="1" fontAlgn="base" hangingPunct="1">
                <a:spcBef>
                  <a:spcPct val="0"/>
                </a:spcBef>
                <a:spcAft>
                  <a:spcPct val="0"/>
                </a:spcAft>
              </a:pPr>
              <a:r>
                <a:rPr lang="en-US" dirty="0">
                  <a:solidFill>
                    <a:srgbClr val="1E4191"/>
                  </a:solidFill>
                  <a:latin typeface="GE Inspira Pitch" pitchFamily="34" charset="0"/>
                  <a:cs typeface="Times New Roman" pitchFamily="18" charset="0"/>
                </a:rPr>
                <a:t>Arbitrage</a:t>
              </a:r>
            </a:p>
          </p:txBody>
        </p:sp>
        <p:sp>
          <p:nvSpPr>
            <p:cNvPr id="55" name="Text Box 1061">
              <a:extLst>
                <a:ext uri="{FF2B5EF4-FFF2-40B4-BE49-F238E27FC236}">
                  <a16:creationId xmlns:a16="http://schemas.microsoft.com/office/drawing/2014/main" id="{02181225-4F74-4373-A26A-87BC7451A8FF}"/>
                </a:ext>
              </a:extLst>
            </p:cNvPr>
            <p:cNvSpPr txBox="1">
              <a:spLocks noChangeArrowheads="1"/>
            </p:cNvSpPr>
            <p:nvPr/>
          </p:nvSpPr>
          <p:spPr bwMode="auto">
            <a:xfrm>
              <a:off x="5334000" y="3527425"/>
              <a:ext cx="1316038" cy="522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400">
                  <a:solidFill>
                    <a:schemeClr val="tx1"/>
                  </a:solidFill>
                  <a:latin typeface="GE Inspira" pitchFamily="34" charset="0"/>
                </a:defRPr>
              </a:lvl1pPr>
              <a:lvl2pPr marL="742950" indent="-285750" eaLnBrk="0" hangingPunct="0">
                <a:defRPr sz="1400">
                  <a:solidFill>
                    <a:schemeClr val="tx1"/>
                  </a:solidFill>
                  <a:latin typeface="GE Inspira" pitchFamily="34" charset="0"/>
                </a:defRPr>
              </a:lvl2pPr>
              <a:lvl3pPr marL="1143000" indent="-228600" eaLnBrk="0" hangingPunct="0">
                <a:defRPr sz="1400">
                  <a:solidFill>
                    <a:schemeClr val="tx1"/>
                  </a:solidFill>
                  <a:latin typeface="GE Inspira" pitchFamily="34" charset="0"/>
                </a:defRPr>
              </a:lvl3pPr>
              <a:lvl4pPr marL="1600200" indent="-228600" eaLnBrk="0" hangingPunct="0">
                <a:defRPr sz="1400">
                  <a:solidFill>
                    <a:schemeClr val="tx1"/>
                  </a:solidFill>
                  <a:latin typeface="GE Inspira" pitchFamily="34" charset="0"/>
                </a:defRPr>
              </a:lvl4pPr>
              <a:lvl5pPr marL="2057400" indent="-228600" eaLnBrk="0" hangingPunct="0">
                <a:defRPr sz="1400">
                  <a:solidFill>
                    <a:schemeClr val="tx1"/>
                  </a:solidFill>
                  <a:latin typeface="GE Inspira" pitchFamily="34" charset="0"/>
                </a:defRPr>
              </a:lvl5pPr>
              <a:lvl6pPr marL="2514600" indent="-228600" eaLnBrk="0" fontAlgn="base" hangingPunct="0">
                <a:spcBef>
                  <a:spcPct val="0"/>
                </a:spcBef>
                <a:spcAft>
                  <a:spcPct val="0"/>
                </a:spcAft>
                <a:defRPr sz="1400">
                  <a:solidFill>
                    <a:schemeClr val="tx1"/>
                  </a:solidFill>
                  <a:latin typeface="GE Inspira" pitchFamily="34" charset="0"/>
                </a:defRPr>
              </a:lvl6pPr>
              <a:lvl7pPr marL="2971800" indent="-228600" eaLnBrk="0" fontAlgn="base" hangingPunct="0">
                <a:spcBef>
                  <a:spcPct val="0"/>
                </a:spcBef>
                <a:spcAft>
                  <a:spcPct val="0"/>
                </a:spcAft>
                <a:defRPr sz="1400">
                  <a:solidFill>
                    <a:schemeClr val="tx1"/>
                  </a:solidFill>
                  <a:latin typeface="GE Inspira" pitchFamily="34" charset="0"/>
                </a:defRPr>
              </a:lvl7pPr>
              <a:lvl8pPr marL="3429000" indent="-228600" eaLnBrk="0" fontAlgn="base" hangingPunct="0">
                <a:spcBef>
                  <a:spcPct val="0"/>
                </a:spcBef>
                <a:spcAft>
                  <a:spcPct val="0"/>
                </a:spcAft>
                <a:defRPr sz="1400">
                  <a:solidFill>
                    <a:schemeClr val="tx1"/>
                  </a:solidFill>
                  <a:latin typeface="GE Inspira" pitchFamily="34" charset="0"/>
                </a:defRPr>
              </a:lvl8pPr>
              <a:lvl9pPr marL="3886200" indent="-228600" eaLnBrk="0" fontAlgn="base" hangingPunct="0">
                <a:spcBef>
                  <a:spcPct val="0"/>
                </a:spcBef>
                <a:spcAft>
                  <a:spcPct val="0"/>
                </a:spcAft>
                <a:defRPr sz="1400">
                  <a:solidFill>
                    <a:schemeClr val="tx1"/>
                  </a:solidFill>
                  <a:latin typeface="GE Inspira" pitchFamily="34" charset="0"/>
                </a:defRPr>
              </a:lvl9pPr>
            </a:lstStyle>
            <a:p>
              <a:pPr algn="ctr" eaLnBrk="1" fontAlgn="base" hangingPunct="1">
                <a:spcBef>
                  <a:spcPct val="0"/>
                </a:spcBef>
                <a:spcAft>
                  <a:spcPct val="0"/>
                </a:spcAft>
              </a:pPr>
              <a:r>
                <a:rPr lang="en-US" dirty="0">
                  <a:solidFill>
                    <a:srgbClr val="1E4191"/>
                  </a:solidFill>
                  <a:latin typeface="GE Inspira Pitch" pitchFamily="34" charset="0"/>
                  <a:cs typeface="Times New Roman" pitchFamily="18" charset="0"/>
                </a:rPr>
                <a:t>Line Congestion</a:t>
              </a:r>
            </a:p>
          </p:txBody>
        </p:sp>
        <p:sp>
          <p:nvSpPr>
            <p:cNvPr id="56" name="Text Box 1062">
              <a:extLst>
                <a:ext uri="{FF2B5EF4-FFF2-40B4-BE49-F238E27FC236}">
                  <a16:creationId xmlns:a16="http://schemas.microsoft.com/office/drawing/2014/main" id="{6628D1F9-600C-4437-9B03-86665FFA1992}"/>
                </a:ext>
              </a:extLst>
            </p:cNvPr>
            <p:cNvSpPr txBox="1">
              <a:spLocks noChangeArrowheads="1"/>
            </p:cNvSpPr>
            <p:nvPr/>
          </p:nvSpPr>
          <p:spPr bwMode="auto">
            <a:xfrm>
              <a:off x="3424238" y="5100638"/>
              <a:ext cx="1641475" cy="522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400">
                  <a:solidFill>
                    <a:schemeClr val="tx1"/>
                  </a:solidFill>
                  <a:latin typeface="GE Inspira" pitchFamily="34" charset="0"/>
                </a:defRPr>
              </a:lvl1pPr>
              <a:lvl2pPr marL="742950" indent="-285750" eaLnBrk="0" hangingPunct="0">
                <a:defRPr sz="1400">
                  <a:solidFill>
                    <a:schemeClr val="tx1"/>
                  </a:solidFill>
                  <a:latin typeface="GE Inspira" pitchFamily="34" charset="0"/>
                </a:defRPr>
              </a:lvl2pPr>
              <a:lvl3pPr marL="1143000" indent="-228600" eaLnBrk="0" hangingPunct="0">
                <a:defRPr sz="1400">
                  <a:solidFill>
                    <a:schemeClr val="tx1"/>
                  </a:solidFill>
                  <a:latin typeface="GE Inspira" pitchFamily="34" charset="0"/>
                </a:defRPr>
              </a:lvl3pPr>
              <a:lvl4pPr marL="1600200" indent="-228600" eaLnBrk="0" hangingPunct="0">
                <a:defRPr sz="1400">
                  <a:solidFill>
                    <a:schemeClr val="tx1"/>
                  </a:solidFill>
                  <a:latin typeface="GE Inspira" pitchFamily="34" charset="0"/>
                </a:defRPr>
              </a:lvl4pPr>
              <a:lvl5pPr marL="2057400" indent="-228600" eaLnBrk="0" hangingPunct="0">
                <a:defRPr sz="1400">
                  <a:solidFill>
                    <a:schemeClr val="tx1"/>
                  </a:solidFill>
                  <a:latin typeface="GE Inspira" pitchFamily="34" charset="0"/>
                </a:defRPr>
              </a:lvl5pPr>
              <a:lvl6pPr marL="2514600" indent="-228600" eaLnBrk="0" fontAlgn="base" hangingPunct="0">
                <a:spcBef>
                  <a:spcPct val="0"/>
                </a:spcBef>
                <a:spcAft>
                  <a:spcPct val="0"/>
                </a:spcAft>
                <a:defRPr sz="1400">
                  <a:solidFill>
                    <a:schemeClr val="tx1"/>
                  </a:solidFill>
                  <a:latin typeface="GE Inspira" pitchFamily="34" charset="0"/>
                </a:defRPr>
              </a:lvl6pPr>
              <a:lvl7pPr marL="2971800" indent="-228600" eaLnBrk="0" fontAlgn="base" hangingPunct="0">
                <a:spcBef>
                  <a:spcPct val="0"/>
                </a:spcBef>
                <a:spcAft>
                  <a:spcPct val="0"/>
                </a:spcAft>
                <a:defRPr sz="1400">
                  <a:solidFill>
                    <a:schemeClr val="tx1"/>
                  </a:solidFill>
                  <a:latin typeface="GE Inspira" pitchFamily="34" charset="0"/>
                </a:defRPr>
              </a:lvl7pPr>
              <a:lvl8pPr marL="3429000" indent="-228600" eaLnBrk="0" fontAlgn="base" hangingPunct="0">
                <a:spcBef>
                  <a:spcPct val="0"/>
                </a:spcBef>
                <a:spcAft>
                  <a:spcPct val="0"/>
                </a:spcAft>
                <a:defRPr sz="1400">
                  <a:solidFill>
                    <a:schemeClr val="tx1"/>
                  </a:solidFill>
                  <a:latin typeface="GE Inspira" pitchFamily="34" charset="0"/>
                </a:defRPr>
              </a:lvl8pPr>
              <a:lvl9pPr marL="3886200" indent="-228600" eaLnBrk="0" fontAlgn="base" hangingPunct="0">
                <a:spcBef>
                  <a:spcPct val="0"/>
                </a:spcBef>
                <a:spcAft>
                  <a:spcPct val="0"/>
                </a:spcAft>
                <a:defRPr sz="1400">
                  <a:solidFill>
                    <a:schemeClr val="tx1"/>
                  </a:solidFill>
                  <a:latin typeface="GE Inspira" pitchFamily="34" charset="0"/>
                </a:defRPr>
              </a:lvl9pPr>
            </a:lstStyle>
            <a:p>
              <a:pPr algn="ctr" eaLnBrk="1" fontAlgn="base" hangingPunct="1">
                <a:spcBef>
                  <a:spcPct val="0"/>
                </a:spcBef>
                <a:spcAft>
                  <a:spcPct val="0"/>
                </a:spcAft>
              </a:pPr>
              <a:r>
                <a:rPr lang="en-US" dirty="0">
                  <a:solidFill>
                    <a:srgbClr val="1E4191"/>
                  </a:solidFill>
                  <a:latin typeface="GE Inspira Pitch" pitchFamily="34" charset="0"/>
                  <a:cs typeface="Times New Roman" pitchFamily="18" charset="0"/>
                </a:rPr>
                <a:t>Equipment Capacity</a:t>
              </a:r>
            </a:p>
          </p:txBody>
        </p:sp>
        <p:sp>
          <p:nvSpPr>
            <p:cNvPr id="57" name="Text Box 1063">
              <a:extLst>
                <a:ext uri="{FF2B5EF4-FFF2-40B4-BE49-F238E27FC236}">
                  <a16:creationId xmlns:a16="http://schemas.microsoft.com/office/drawing/2014/main" id="{A3C6E075-EB9F-4E0E-8DA8-FAFB071E6965}"/>
                </a:ext>
              </a:extLst>
            </p:cNvPr>
            <p:cNvSpPr txBox="1">
              <a:spLocks noChangeArrowheads="1"/>
            </p:cNvSpPr>
            <p:nvPr/>
          </p:nvSpPr>
          <p:spPr bwMode="auto">
            <a:xfrm>
              <a:off x="3714750" y="2303463"/>
              <a:ext cx="1265238" cy="522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400">
                  <a:solidFill>
                    <a:schemeClr val="tx1"/>
                  </a:solidFill>
                  <a:latin typeface="GE Inspira" pitchFamily="34" charset="0"/>
                </a:defRPr>
              </a:lvl1pPr>
              <a:lvl2pPr marL="742950" indent="-285750" eaLnBrk="0" hangingPunct="0">
                <a:defRPr sz="1400">
                  <a:solidFill>
                    <a:schemeClr val="tx1"/>
                  </a:solidFill>
                  <a:latin typeface="GE Inspira" pitchFamily="34" charset="0"/>
                </a:defRPr>
              </a:lvl2pPr>
              <a:lvl3pPr marL="1143000" indent="-228600" eaLnBrk="0" hangingPunct="0">
                <a:defRPr sz="1400">
                  <a:solidFill>
                    <a:schemeClr val="tx1"/>
                  </a:solidFill>
                  <a:latin typeface="GE Inspira" pitchFamily="34" charset="0"/>
                </a:defRPr>
              </a:lvl3pPr>
              <a:lvl4pPr marL="1600200" indent="-228600" eaLnBrk="0" hangingPunct="0">
                <a:defRPr sz="1400">
                  <a:solidFill>
                    <a:schemeClr val="tx1"/>
                  </a:solidFill>
                  <a:latin typeface="GE Inspira" pitchFamily="34" charset="0"/>
                </a:defRPr>
              </a:lvl4pPr>
              <a:lvl5pPr marL="2057400" indent="-228600" eaLnBrk="0" hangingPunct="0">
                <a:defRPr sz="1400">
                  <a:solidFill>
                    <a:schemeClr val="tx1"/>
                  </a:solidFill>
                  <a:latin typeface="GE Inspira" pitchFamily="34" charset="0"/>
                </a:defRPr>
              </a:lvl5pPr>
              <a:lvl6pPr marL="2514600" indent="-228600" eaLnBrk="0" fontAlgn="base" hangingPunct="0">
                <a:spcBef>
                  <a:spcPct val="0"/>
                </a:spcBef>
                <a:spcAft>
                  <a:spcPct val="0"/>
                </a:spcAft>
                <a:defRPr sz="1400">
                  <a:solidFill>
                    <a:schemeClr val="tx1"/>
                  </a:solidFill>
                  <a:latin typeface="GE Inspira" pitchFamily="34" charset="0"/>
                </a:defRPr>
              </a:lvl6pPr>
              <a:lvl7pPr marL="2971800" indent="-228600" eaLnBrk="0" fontAlgn="base" hangingPunct="0">
                <a:spcBef>
                  <a:spcPct val="0"/>
                </a:spcBef>
                <a:spcAft>
                  <a:spcPct val="0"/>
                </a:spcAft>
                <a:defRPr sz="1400">
                  <a:solidFill>
                    <a:schemeClr val="tx1"/>
                  </a:solidFill>
                  <a:latin typeface="GE Inspira" pitchFamily="34" charset="0"/>
                </a:defRPr>
              </a:lvl7pPr>
              <a:lvl8pPr marL="3429000" indent="-228600" eaLnBrk="0" fontAlgn="base" hangingPunct="0">
                <a:spcBef>
                  <a:spcPct val="0"/>
                </a:spcBef>
                <a:spcAft>
                  <a:spcPct val="0"/>
                </a:spcAft>
                <a:defRPr sz="1400">
                  <a:solidFill>
                    <a:schemeClr val="tx1"/>
                  </a:solidFill>
                  <a:latin typeface="GE Inspira" pitchFamily="34" charset="0"/>
                </a:defRPr>
              </a:lvl8pPr>
              <a:lvl9pPr marL="3886200" indent="-228600" eaLnBrk="0" fontAlgn="base" hangingPunct="0">
                <a:spcBef>
                  <a:spcPct val="0"/>
                </a:spcBef>
                <a:spcAft>
                  <a:spcPct val="0"/>
                </a:spcAft>
                <a:defRPr sz="1400">
                  <a:solidFill>
                    <a:schemeClr val="tx1"/>
                  </a:solidFill>
                  <a:latin typeface="GE Inspira" pitchFamily="34" charset="0"/>
                </a:defRPr>
              </a:lvl9pPr>
            </a:lstStyle>
            <a:p>
              <a:pPr algn="ctr" eaLnBrk="1" fontAlgn="base" hangingPunct="1">
                <a:spcBef>
                  <a:spcPct val="0"/>
                </a:spcBef>
                <a:spcAft>
                  <a:spcPct val="0"/>
                </a:spcAft>
              </a:pPr>
              <a:r>
                <a:rPr lang="en-US" dirty="0">
                  <a:solidFill>
                    <a:srgbClr val="1E4191"/>
                  </a:solidFill>
                  <a:latin typeface="GE Inspira Pitch" pitchFamily="34" charset="0"/>
                  <a:cs typeface="Times New Roman" pitchFamily="18" charset="0"/>
                </a:rPr>
                <a:t>Wind/Solar Smoothing</a:t>
              </a:r>
            </a:p>
          </p:txBody>
        </p:sp>
        <p:pic>
          <p:nvPicPr>
            <p:cNvPr id="58" name="Picture 1090">
              <a:extLst>
                <a:ext uri="{FF2B5EF4-FFF2-40B4-BE49-F238E27FC236}">
                  <a16:creationId xmlns:a16="http://schemas.microsoft.com/office/drawing/2014/main" id="{EFEEB55A-29DF-4361-A204-6C069CD3FFB7}"/>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35904" t="43846" r="39905" b="28244"/>
            <a:stretch>
              <a:fillRect/>
            </a:stretch>
          </p:blipFill>
          <p:spPr bwMode="auto">
            <a:xfrm>
              <a:off x="4148138" y="1797050"/>
              <a:ext cx="650875" cy="469900"/>
            </a:xfrm>
            <a:prstGeom prst="rect">
              <a:avLst/>
            </a:prstGeom>
            <a:noFill/>
            <a:ln w="12700">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1091">
              <a:extLst>
                <a:ext uri="{FF2B5EF4-FFF2-40B4-BE49-F238E27FC236}">
                  <a16:creationId xmlns:a16="http://schemas.microsoft.com/office/drawing/2014/main" id="{FC5DC7C6-D291-4973-9B14-C501FB4DD93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73938" y="1741488"/>
              <a:ext cx="666750" cy="58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0" name="Picture 1092">
              <a:extLst>
                <a:ext uri="{FF2B5EF4-FFF2-40B4-BE49-F238E27FC236}">
                  <a16:creationId xmlns:a16="http://schemas.microsoft.com/office/drawing/2014/main" id="{4897E058-56CB-4B53-8BEB-6AAC0694EDC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78763" y="2655888"/>
              <a:ext cx="550862" cy="427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 name="Picture 1094">
              <a:extLst>
                <a:ext uri="{FF2B5EF4-FFF2-40B4-BE49-F238E27FC236}">
                  <a16:creationId xmlns:a16="http://schemas.microsoft.com/office/drawing/2014/main" id="{29B077B4-352F-4CFA-BC59-C16F1B66B4A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45325" y="4706938"/>
              <a:ext cx="490538"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1095">
              <a:extLst>
                <a:ext uri="{FF2B5EF4-FFF2-40B4-BE49-F238E27FC236}">
                  <a16:creationId xmlns:a16="http://schemas.microsoft.com/office/drawing/2014/main" id="{6E401E5A-0E8B-439D-8C0D-68DAB8682DD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58113" y="4700588"/>
              <a:ext cx="836612" cy="739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1096">
              <a:extLst>
                <a:ext uri="{FF2B5EF4-FFF2-40B4-BE49-F238E27FC236}">
                  <a16:creationId xmlns:a16="http://schemas.microsoft.com/office/drawing/2014/main" id="{4C5AE074-2484-4AD7-9887-39CDCBB08E3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056438" y="2671763"/>
              <a:ext cx="557212" cy="411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1097">
              <a:extLst>
                <a:ext uri="{FF2B5EF4-FFF2-40B4-BE49-F238E27FC236}">
                  <a16:creationId xmlns:a16="http://schemas.microsoft.com/office/drawing/2014/main" id="{F1A26E13-982B-4544-8A06-D6984352AAF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872413" y="4027488"/>
              <a:ext cx="557212" cy="411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5" name="Text Box 1103">
              <a:extLst>
                <a:ext uri="{FF2B5EF4-FFF2-40B4-BE49-F238E27FC236}">
                  <a16:creationId xmlns:a16="http://schemas.microsoft.com/office/drawing/2014/main" id="{2302D4DE-531F-440C-B44D-746AE79D176A}"/>
                </a:ext>
              </a:extLst>
            </p:cNvPr>
            <p:cNvSpPr txBox="1">
              <a:spLocks noChangeArrowheads="1"/>
            </p:cNvSpPr>
            <p:nvPr/>
          </p:nvSpPr>
          <p:spPr bwMode="auto">
            <a:xfrm>
              <a:off x="6886575" y="1322388"/>
              <a:ext cx="1681163"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501" tIns="46250" rIns="92501" bIns="46250">
              <a:spAutoFit/>
            </a:bodyPr>
            <a:lstStyle>
              <a:lvl1pPr defTabSz="925513" eaLnBrk="0" hangingPunct="0">
                <a:defRPr sz="1400">
                  <a:solidFill>
                    <a:schemeClr val="tx1"/>
                  </a:solidFill>
                  <a:latin typeface="GE Inspira" pitchFamily="34" charset="0"/>
                </a:defRPr>
              </a:lvl1pPr>
              <a:lvl2pPr marL="742950" indent="-285750" defTabSz="925513" eaLnBrk="0" hangingPunct="0">
                <a:defRPr sz="1400">
                  <a:solidFill>
                    <a:schemeClr val="tx1"/>
                  </a:solidFill>
                  <a:latin typeface="GE Inspira" pitchFamily="34" charset="0"/>
                </a:defRPr>
              </a:lvl2pPr>
              <a:lvl3pPr marL="1143000" indent="-228600" defTabSz="925513" eaLnBrk="0" hangingPunct="0">
                <a:defRPr sz="1400">
                  <a:solidFill>
                    <a:schemeClr val="tx1"/>
                  </a:solidFill>
                  <a:latin typeface="GE Inspira" pitchFamily="34" charset="0"/>
                </a:defRPr>
              </a:lvl3pPr>
              <a:lvl4pPr marL="1600200" indent="-228600" defTabSz="925513" eaLnBrk="0" hangingPunct="0">
                <a:defRPr sz="1400">
                  <a:solidFill>
                    <a:schemeClr val="tx1"/>
                  </a:solidFill>
                  <a:latin typeface="GE Inspira" pitchFamily="34" charset="0"/>
                </a:defRPr>
              </a:lvl4pPr>
              <a:lvl5pPr marL="2057400" indent="-228600" defTabSz="925513" eaLnBrk="0" hangingPunct="0">
                <a:defRPr sz="1400">
                  <a:solidFill>
                    <a:schemeClr val="tx1"/>
                  </a:solidFill>
                  <a:latin typeface="GE Inspira" pitchFamily="34" charset="0"/>
                </a:defRPr>
              </a:lvl5pPr>
              <a:lvl6pPr marL="2514600" indent="-228600" defTabSz="925513" eaLnBrk="0" fontAlgn="base" hangingPunct="0">
                <a:spcBef>
                  <a:spcPct val="0"/>
                </a:spcBef>
                <a:spcAft>
                  <a:spcPct val="0"/>
                </a:spcAft>
                <a:defRPr sz="1400">
                  <a:solidFill>
                    <a:schemeClr val="tx1"/>
                  </a:solidFill>
                  <a:latin typeface="GE Inspira" pitchFamily="34" charset="0"/>
                </a:defRPr>
              </a:lvl6pPr>
              <a:lvl7pPr marL="2971800" indent="-228600" defTabSz="925513" eaLnBrk="0" fontAlgn="base" hangingPunct="0">
                <a:spcBef>
                  <a:spcPct val="0"/>
                </a:spcBef>
                <a:spcAft>
                  <a:spcPct val="0"/>
                </a:spcAft>
                <a:defRPr sz="1400">
                  <a:solidFill>
                    <a:schemeClr val="tx1"/>
                  </a:solidFill>
                  <a:latin typeface="GE Inspira" pitchFamily="34" charset="0"/>
                </a:defRPr>
              </a:lvl7pPr>
              <a:lvl8pPr marL="3429000" indent="-228600" defTabSz="925513" eaLnBrk="0" fontAlgn="base" hangingPunct="0">
                <a:spcBef>
                  <a:spcPct val="0"/>
                </a:spcBef>
                <a:spcAft>
                  <a:spcPct val="0"/>
                </a:spcAft>
                <a:defRPr sz="1400">
                  <a:solidFill>
                    <a:schemeClr val="tx1"/>
                  </a:solidFill>
                  <a:latin typeface="GE Inspira" pitchFamily="34" charset="0"/>
                </a:defRPr>
              </a:lvl8pPr>
              <a:lvl9pPr marL="3886200" indent="-228600" defTabSz="925513" eaLnBrk="0" fontAlgn="base" hangingPunct="0">
                <a:spcBef>
                  <a:spcPct val="0"/>
                </a:spcBef>
                <a:spcAft>
                  <a:spcPct val="0"/>
                </a:spcAft>
                <a:defRPr sz="1400">
                  <a:solidFill>
                    <a:schemeClr val="tx1"/>
                  </a:solidFill>
                  <a:latin typeface="GE Inspira" pitchFamily="34" charset="0"/>
                </a:defRPr>
              </a:lvl9pPr>
            </a:lstStyle>
            <a:p>
              <a:pPr algn="ctr" eaLnBrk="1" fontAlgn="base" hangingPunct="1">
                <a:spcBef>
                  <a:spcPct val="50000"/>
                </a:spcBef>
                <a:spcAft>
                  <a:spcPct val="0"/>
                </a:spcAft>
              </a:pPr>
              <a:r>
                <a:rPr lang="en-US" sz="1600" b="1" dirty="0">
                  <a:solidFill>
                    <a:srgbClr val="1E4191"/>
                  </a:solidFill>
                  <a:latin typeface="GE Inspira Pitch" pitchFamily="34" charset="0"/>
                  <a:cs typeface="Times New Roman" pitchFamily="18" charset="0"/>
                </a:rPr>
                <a:t>Power Capable</a:t>
              </a:r>
            </a:p>
          </p:txBody>
        </p:sp>
        <p:sp>
          <p:nvSpPr>
            <p:cNvPr id="66" name="Text Box 1104">
              <a:extLst>
                <a:ext uri="{FF2B5EF4-FFF2-40B4-BE49-F238E27FC236}">
                  <a16:creationId xmlns:a16="http://schemas.microsoft.com/office/drawing/2014/main" id="{FEA2BAE4-6ABB-41AD-97B5-A488733B360E}"/>
                </a:ext>
              </a:extLst>
            </p:cNvPr>
            <p:cNvSpPr txBox="1">
              <a:spLocks noChangeArrowheads="1"/>
            </p:cNvSpPr>
            <p:nvPr/>
          </p:nvSpPr>
          <p:spPr bwMode="auto">
            <a:xfrm>
              <a:off x="6902450" y="3556000"/>
              <a:ext cx="1662113"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501" tIns="46250" rIns="92501" bIns="46250">
              <a:spAutoFit/>
            </a:bodyPr>
            <a:lstStyle>
              <a:lvl1pPr defTabSz="925513" eaLnBrk="0" hangingPunct="0">
                <a:defRPr sz="1400">
                  <a:solidFill>
                    <a:schemeClr val="tx1"/>
                  </a:solidFill>
                  <a:latin typeface="GE Inspira" pitchFamily="34" charset="0"/>
                </a:defRPr>
              </a:lvl1pPr>
              <a:lvl2pPr marL="742950" indent="-285750" defTabSz="925513" eaLnBrk="0" hangingPunct="0">
                <a:defRPr sz="1400">
                  <a:solidFill>
                    <a:schemeClr val="tx1"/>
                  </a:solidFill>
                  <a:latin typeface="GE Inspira" pitchFamily="34" charset="0"/>
                </a:defRPr>
              </a:lvl2pPr>
              <a:lvl3pPr marL="1143000" indent="-228600" defTabSz="925513" eaLnBrk="0" hangingPunct="0">
                <a:defRPr sz="1400">
                  <a:solidFill>
                    <a:schemeClr val="tx1"/>
                  </a:solidFill>
                  <a:latin typeface="GE Inspira" pitchFamily="34" charset="0"/>
                </a:defRPr>
              </a:lvl3pPr>
              <a:lvl4pPr marL="1600200" indent="-228600" defTabSz="925513" eaLnBrk="0" hangingPunct="0">
                <a:defRPr sz="1400">
                  <a:solidFill>
                    <a:schemeClr val="tx1"/>
                  </a:solidFill>
                  <a:latin typeface="GE Inspira" pitchFamily="34" charset="0"/>
                </a:defRPr>
              </a:lvl4pPr>
              <a:lvl5pPr marL="2057400" indent="-228600" defTabSz="925513" eaLnBrk="0" hangingPunct="0">
                <a:defRPr sz="1400">
                  <a:solidFill>
                    <a:schemeClr val="tx1"/>
                  </a:solidFill>
                  <a:latin typeface="GE Inspira" pitchFamily="34" charset="0"/>
                </a:defRPr>
              </a:lvl5pPr>
              <a:lvl6pPr marL="2514600" indent="-228600" defTabSz="925513" eaLnBrk="0" fontAlgn="base" hangingPunct="0">
                <a:spcBef>
                  <a:spcPct val="0"/>
                </a:spcBef>
                <a:spcAft>
                  <a:spcPct val="0"/>
                </a:spcAft>
                <a:defRPr sz="1400">
                  <a:solidFill>
                    <a:schemeClr val="tx1"/>
                  </a:solidFill>
                  <a:latin typeface="GE Inspira" pitchFamily="34" charset="0"/>
                </a:defRPr>
              </a:lvl6pPr>
              <a:lvl7pPr marL="2971800" indent="-228600" defTabSz="925513" eaLnBrk="0" fontAlgn="base" hangingPunct="0">
                <a:spcBef>
                  <a:spcPct val="0"/>
                </a:spcBef>
                <a:spcAft>
                  <a:spcPct val="0"/>
                </a:spcAft>
                <a:defRPr sz="1400">
                  <a:solidFill>
                    <a:schemeClr val="tx1"/>
                  </a:solidFill>
                  <a:latin typeface="GE Inspira" pitchFamily="34" charset="0"/>
                </a:defRPr>
              </a:lvl7pPr>
              <a:lvl8pPr marL="3429000" indent="-228600" defTabSz="925513" eaLnBrk="0" fontAlgn="base" hangingPunct="0">
                <a:spcBef>
                  <a:spcPct val="0"/>
                </a:spcBef>
                <a:spcAft>
                  <a:spcPct val="0"/>
                </a:spcAft>
                <a:defRPr sz="1400">
                  <a:solidFill>
                    <a:schemeClr val="tx1"/>
                  </a:solidFill>
                  <a:latin typeface="GE Inspira" pitchFamily="34" charset="0"/>
                </a:defRPr>
              </a:lvl8pPr>
              <a:lvl9pPr marL="3886200" indent="-228600" defTabSz="925513" eaLnBrk="0" fontAlgn="base" hangingPunct="0">
                <a:spcBef>
                  <a:spcPct val="0"/>
                </a:spcBef>
                <a:spcAft>
                  <a:spcPct val="0"/>
                </a:spcAft>
                <a:defRPr sz="1400">
                  <a:solidFill>
                    <a:schemeClr val="tx1"/>
                  </a:solidFill>
                  <a:latin typeface="GE Inspira" pitchFamily="34" charset="0"/>
                </a:defRPr>
              </a:lvl9pPr>
            </a:lstStyle>
            <a:p>
              <a:pPr algn="ctr" eaLnBrk="1" fontAlgn="base" hangingPunct="1">
                <a:spcBef>
                  <a:spcPct val="50000"/>
                </a:spcBef>
                <a:spcAft>
                  <a:spcPct val="0"/>
                </a:spcAft>
              </a:pPr>
              <a:r>
                <a:rPr lang="en-US" sz="1600" b="1" dirty="0">
                  <a:solidFill>
                    <a:srgbClr val="1E4191"/>
                  </a:solidFill>
                  <a:latin typeface="GE Inspira Pitch" pitchFamily="34" charset="0"/>
                  <a:cs typeface="Times New Roman" pitchFamily="18" charset="0"/>
                </a:rPr>
                <a:t>Energy Capable</a:t>
              </a:r>
            </a:p>
          </p:txBody>
        </p:sp>
        <p:sp>
          <p:nvSpPr>
            <p:cNvPr id="67" name="Text Box 1105">
              <a:extLst>
                <a:ext uri="{FF2B5EF4-FFF2-40B4-BE49-F238E27FC236}">
                  <a16:creationId xmlns:a16="http://schemas.microsoft.com/office/drawing/2014/main" id="{B86CF483-0CC1-446E-90DB-A776A4EE1E63}"/>
                </a:ext>
              </a:extLst>
            </p:cNvPr>
            <p:cNvSpPr txBox="1">
              <a:spLocks noChangeArrowheads="1"/>
            </p:cNvSpPr>
            <p:nvPr/>
          </p:nvSpPr>
          <p:spPr bwMode="auto">
            <a:xfrm>
              <a:off x="6851650" y="5270500"/>
              <a:ext cx="933450"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400">
                  <a:solidFill>
                    <a:schemeClr val="tx1"/>
                  </a:solidFill>
                  <a:latin typeface="GE Inspira" pitchFamily="34" charset="0"/>
                </a:defRPr>
              </a:lvl1pPr>
              <a:lvl2pPr marL="742950" indent="-285750" eaLnBrk="0" hangingPunct="0">
                <a:defRPr sz="1400">
                  <a:solidFill>
                    <a:schemeClr val="tx1"/>
                  </a:solidFill>
                  <a:latin typeface="GE Inspira" pitchFamily="34" charset="0"/>
                </a:defRPr>
              </a:lvl2pPr>
              <a:lvl3pPr marL="1143000" indent="-228600" eaLnBrk="0" hangingPunct="0">
                <a:defRPr sz="1400">
                  <a:solidFill>
                    <a:schemeClr val="tx1"/>
                  </a:solidFill>
                  <a:latin typeface="GE Inspira" pitchFamily="34" charset="0"/>
                </a:defRPr>
              </a:lvl3pPr>
              <a:lvl4pPr marL="1600200" indent="-228600" eaLnBrk="0" hangingPunct="0">
                <a:defRPr sz="1400">
                  <a:solidFill>
                    <a:schemeClr val="tx1"/>
                  </a:solidFill>
                  <a:latin typeface="GE Inspira" pitchFamily="34" charset="0"/>
                </a:defRPr>
              </a:lvl4pPr>
              <a:lvl5pPr marL="2057400" indent="-228600" eaLnBrk="0" hangingPunct="0">
                <a:defRPr sz="1400">
                  <a:solidFill>
                    <a:schemeClr val="tx1"/>
                  </a:solidFill>
                  <a:latin typeface="GE Inspira" pitchFamily="34" charset="0"/>
                </a:defRPr>
              </a:lvl5pPr>
              <a:lvl6pPr marL="2514600" indent="-228600" eaLnBrk="0" fontAlgn="base" hangingPunct="0">
                <a:spcBef>
                  <a:spcPct val="0"/>
                </a:spcBef>
                <a:spcAft>
                  <a:spcPct val="0"/>
                </a:spcAft>
                <a:defRPr sz="1400">
                  <a:solidFill>
                    <a:schemeClr val="tx1"/>
                  </a:solidFill>
                  <a:latin typeface="GE Inspira" pitchFamily="34" charset="0"/>
                </a:defRPr>
              </a:lvl6pPr>
              <a:lvl7pPr marL="2971800" indent="-228600" eaLnBrk="0" fontAlgn="base" hangingPunct="0">
                <a:spcBef>
                  <a:spcPct val="0"/>
                </a:spcBef>
                <a:spcAft>
                  <a:spcPct val="0"/>
                </a:spcAft>
                <a:defRPr sz="1400">
                  <a:solidFill>
                    <a:schemeClr val="tx1"/>
                  </a:solidFill>
                  <a:latin typeface="GE Inspira" pitchFamily="34" charset="0"/>
                </a:defRPr>
              </a:lvl7pPr>
              <a:lvl8pPr marL="3429000" indent="-228600" eaLnBrk="0" fontAlgn="base" hangingPunct="0">
                <a:spcBef>
                  <a:spcPct val="0"/>
                </a:spcBef>
                <a:spcAft>
                  <a:spcPct val="0"/>
                </a:spcAft>
                <a:defRPr sz="1400">
                  <a:solidFill>
                    <a:schemeClr val="tx1"/>
                  </a:solidFill>
                  <a:latin typeface="GE Inspira" pitchFamily="34" charset="0"/>
                </a:defRPr>
              </a:lvl8pPr>
              <a:lvl9pPr marL="3886200" indent="-228600" eaLnBrk="0" fontAlgn="base" hangingPunct="0">
                <a:spcBef>
                  <a:spcPct val="0"/>
                </a:spcBef>
                <a:spcAft>
                  <a:spcPct val="0"/>
                </a:spcAft>
                <a:defRPr sz="1400">
                  <a:solidFill>
                    <a:schemeClr val="tx1"/>
                  </a:solidFill>
                  <a:latin typeface="GE Inspira" pitchFamily="34" charset="0"/>
                </a:defRPr>
              </a:lvl9pPr>
            </a:lstStyle>
            <a:p>
              <a:pPr algn="ctr" eaLnBrk="1" fontAlgn="base" hangingPunct="1">
                <a:spcBef>
                  <a:spcPct val="0"/>
                </a:spcBef>
                <a:spcAft>
                  <a:spcPct val="0"/>
                </a:spcAft>
              </a:pPr>
              <a:r>
                <a:rPr lang="en-US" dirty="0">
                  <a:solidFill>
                    <a:srgbClr val="1E4191"/>
                  </a:solidFill>
                  <a:latin typeface="GE Inspira Pitch" pitchFamily="34" charset="0"/>
                  <a:cs typeface="Times New Roman" pitchFamily="18" charset="0"/>
                </a:rPr>
                <a:t>Comp. Air</a:t>
              </a:r>
            </a:p>
          </p:txBody>
        </p:sp>
        <p:sp>
          <p:nvSpPr>
            <p:cNvPr id="68" name="Text Box 1106">
              <a:extLst>
                <a:ext uri="{FF2B5EF4-FFF2-40B4-BE49-F238E27FC236}">
                  <a16:creationId xmlns:a16="http://schemas.microsoft.com/office/drawing/2014/main" id="{A723C82B-33D7-436E-842B-9A91AF9354E1}"/>
                </a:ext>
              </a:extLst>
            </p:cNvPr>
            <p:cNvSpPr txBox="1">
              <a:spLocks noChangeArrowheads="1"/>
            </p:cNvSpPr>
            <p:nvPr/>
          </p:nvSpPr>
          <p:spPr bwMode="auto">
            <a:xfrm>
              <a:off x="7726363" y="3101975"/>
              <a:ext cx="85725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400">
                  <a:solidFill>
                    <a:schemeClr val="tx1"/>
                  </a:solidFill>
                  <a:latin typeface="GE Inspira" pitchFamily="34" charset="0"/>
                </a:defRPr>
              </a:lvl1pPr>
              <a:lvl2pPr marL="742950" indent="-285750" eaLnBrk="0" hangingPunct="0">
                <a:defRPr sz="1400">
                  <a:solidFill>
                    <a:schemeClr val="tx1"/>
                  </a:solidFill>
                  <a:latin typeface="GE Inspira" pitchFamily="34" charset="0"/>
                </a:defRPr>
              </a:lvl2pPr>
              <a:lvl3pPr marL="1143000" indent="-228600" eaLnBrk="0" hangingPunct="0">
                <a:defRPr sz="1400">
                  <a:solidFill>
                    <a:schemeClr val="tx1"/>
                  </a:solidFill>
                  <a:latin typeface="GE Inspira" pitchFamily="34" charset="0"/>
                </a:defRPr>
              </a:lvl3pPr>
              <a:lvl4pPr marL="1600200" indent="-228600" eaLnBrk="0" hangingPunct="0">
                <a:defRPr sz="1400">
                  <a:solidFill>
                    <a:schemeClr val="tx1"/>
                  </a:solidFill>
                  <a:latin typeface="GE Inspira" pitchFamily="34" charset="0"/>
                </a:defRPr>
              </a:lvl4pPr>
              <a:lvl5pPr marL="2057400" indent="-228600" eaLnBrk="0" hangingPunct="0">
                <a:defRPr sz="1400">
                  <a:solidFill>
                    <a:schemeClr val="tx1"/>
                  </a:solidFill>
                  <a:latin typeface="GE Inspira" pitchFamily="34" charset="0"/>
                </a:defRPr>
              </a:lvl5pPr>
              <a:lvl6pPr marL="2514600" indent="-228600" eaLnBrk="0" fontAlgn="base" hangingPunct="0">
                <a:spcBef>
                  <a:spcPct val="0"/>
                </a:spcBef>
                <a:spcAft>
                  <a:spcPct val="0"/>
                </a:spcAft>
                <a:defRPr sz="1400">
                  <a:solidFill>
                    <a:schemeClr val="tx1"/>
                  </a:solidFill>
                  <a:latin typeface="GE Inspira" pitchFamily="34" charset="0"/>
                </a:defRPr>
              </a:lvl6pPr>
              <a:lvl7pPr marL="2971800" indent="-228600" eaLnBrk="0" fontAlgn="base" hangingPunct="0">
                <a:spcBef>
                  <a:spcPct val="0"/>
                </a:spcBef>
                <a:spcAft>
                  <a:spcPct val="0"/>
                </a:spcAft>
                <a:defRPr sz="1400">
                  <a:solidFill>
                    <a:schemeClr val="tx1"/>
                  </a:solidFill>
                  <a:latin typeface="GE Inspira" pitchFamily="34" charset="0"/>
                </a:defRPr>
              </a:lvl7pPr>
              <a:lvl8pPr marL="3429000" indent="-228600" eaLnBrk="0" fontAlgn="base" hangingPunct="0">
                <a:spcBef>
                  <a:spcPct val="0"/>
                </a:spcBef>
                <a:spcAft>
                  <a:spcPct val="0"/>
                </a:spcAft>
                <a:defRPr sz="1400">
                  <a:solidFill>
                    <a:schemeClr val="tx1"/>
                  </a:solidFill>
                  <a:latin typeface="GE Inspira" pitchFamily="34" charset="0"/>
                </a:defRPr>
              </a:lvl8pPr>
              <a:lvl9pPr marL="3886200" indent="-228600" eaLnBrk="0" fontAlgn="base" hangingPunct="0">
                <a:spcBef>
                  <a:spcPct val="0"/>
                </a:spcBef>
                <a:spcAft>
                  <a:spcPct val="0"/>
                </a:spcAft>
                <a:defRPr sz="1400">
                  <a:solidFill>
                    <a:schemeClr val="tx1"/>
                  </a:solidFill>
                  <a:latin typeface="GE Inspira" pitchFamily="34" charset="0"/>
                </a:defRPr>
              </a:lvl9pPr>
            </a:lstStyle>
            <a:p>
              <a:pPr algn="ctr" eaLnBrk="1" fontAlgn="base" hangingPunct="1">
                <a:spcBef>
                  <a:spcPct val="0"/>
                </a:spcBef>
                <a:spcAft>
                  <a:spcPct val="0"/>
                </a:spcAft>
              </a:pPr>
              <a:r>
                <a:rPr lang="en-US" dirty="0">
                  <a:solidFill>
                    <a:srgbClr val="1E4191"/>
                  </a:solidFill>
                  <a:latin typeface="GE Inspira Pitch" pitchFamily="34" charset="0"/>
                  <a:cs typeface="Times New Roman" pitchFamily="18" charset="0"/>
                </a:rPr>
                <a:t>Flywheel</a:t>
              </a:r>
            </a:p>
          </p:txBody>
        </p:sp>
        <p:sp>
          <p:nvSpPr>
            <p:cNvPr id="69" name="Text Box 1107">
              <a:extLst>
                <a:ext uri="{FF2B5EF4-FFF2-40B4-BE49-F238E27FC236}">
                  <a16:creationId xmlns:a16="http://schemas.microsoft.com/office/drawing/2014/main" id="{83984E4E-1107-4E81-878C-31C15FCC87EC}"/>
                </a:ext>
              </a:extLst>
            </p:cNvPr>
            <p:cNvSpPr txBox="1">
              <a:spLocks noChangeArrowheads="1"/>
            </p:cNvSpPr>
            <p:nvPr/>
          </p:nvSpPr>
          <p:spPr bwMode="auto">
            <a:xfrm>
              <a:off x="6891338" y="3113088"/>
              <a:ext cx="887412"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400">
                  <a:solidFill>
                    <a:schemeClr val="tx1"/>
                  </a:solidFill>
                  <a:latin typeface="GE Inspira" pitchFamily="34" charset="0"/>
                </a:defRPr>
              </a:lvl1pPr>
              <a:lvl2pPr marL="742950" indent="-285750" eaLnBrk="0" hangingPunct="0">
                <a:defRPr sz="1400">
                  <a:solidFill>
                    <a:schemeClr val="tx1"/>
                  </a:solidFill>
                  <a:latin typeface="GE Inspira" pitchFamily="34" charset="0"/>
                </a:defRPr>
              </a:lvl2pPr>
              <a:lvl3pPr marL="1143000" indent="-228600" eaLnBrk="0" hangingPunct="0">
                <a:defRPr sz="1400">
                  <a:solidFill>
                    <a:schemeClr val="tx1"/>
                  </a:solidFill>
                  <a:latin typeface="GE Inspira" pitchFamily="34" charset="0"/>
                </a:defRPr>
              </a:lvl3pPr>
              <a:lvl4pPr marL="1600200" indent="-228600" eaLnBrk="0" hangingPunct="0">
                <a:defRPr sz="1400">
                  <a:solidFill>
                    <a:schemeClr val="tx1"/>
                  </a:solidFill>
                  <a:latin typeface="GE Inspira" pitchFamily="34" charset="0"/>
                </a:defRPr>
              </a:lvl4pPr>
              <a:lvl5pPr marL="2057400" indent="-228600" eaLnBrk="0" hangingPunct="0">
                <a:defRPr sz="1400">
                  <a:solidFill>
                    <a:schemeClr val="tx1"/>
                  </a:solidFill>
                  <a:latin typeface="GE Inspira" pitchFamily="34" charset="0"/>
                </a:defRPr>
              </a:lvl5pPr>
              <a:lvl6pPr marL="2514600" indent="-228600" eaLnBrk="0" fontAlgn="base" hangingPunct="0">
                <a:spcBef>
                  <a:spcPct val="0"/>
                </a:spcBef>
                <a:spcAft>
                  <a:spcPct val="0"/>
                </a:spcAft>
                <a:defRPr sz="1400">
                  <a:solidFill>
                    <a:schemeClr val="tx1"/>
                  </a:solidFill>
                  <a:latin typeface="GE Inspira" pitchFamily="34" charset="0"/>
                </a:defRPr>
              </a:lvl6pPr>
              <a:lvl7pPr marL="2971800" indent="-228600" eaLnBrk="0" fontAlgn="base" hangingPunct="0">
                <a:spcBef>
                  <a:spcPct val="0"/>
                </a:spcBef>
                <a:spcAft>
                  <a:spcPct val="0"/>
                </a:spcAft>
                <a:defRPr sz="1400">
                  <a:solidFill>
                    <a:schemeClr val="tx1"/>
                  </a:solidFill>
                  <a:latin typeface="GE Inspira" pitchFamily="34" charset="0"/>
                </a:defRPr>
              </a:lvl7pPr>
              <a:lvl8pPr marL="3429000" indent="-228600" eaLnBrk="0" fontAlgn="base" hangingPunct="0">
                <a:spcBef>
                  <a:spcPct val="0"/>
                </a:spcBef>
                <a:spcAft>
                  <a:spcPct val="0"/>
                </a:spcAft>
                <a:defRPr sz="1400">
                  <a:solidFill>
                    <a:schemeClr val="tx1"/>
                  </a:solidFill>
                  <a:latin typeface="GE Inspira" pitchFamily="34" charset="0"/>
                </a:defRPr>
              </a:lvl8pPr>
              <a:lvl9pPr marL="3886200" indent="-228600" eaLnBrk="0" fontAlgn="base" hangingPunct="0">
                <a:spcBef>
                  <a:spcPct val="0"/>
                </a:spcBef>
                <a:spcAft>
                  <a:spcPct val="0"/>
                </a:spcAft>
                <a:defRPr sz="1400">
                  <a:solidFill>
                    <a:schemeClr val="tx1"/>
                  </a:solidFill>
                  <a:latin typeface="GE Inspira" pitchFamily="34" charset="0"/>
                </a:defRPr>
              </a:lvl9pPr>
            </a:lstStyle>
            <a:p>
              <a:pPr algn="ctr" eaLnBrk="1" fontAlgn="base" hangingPunct="1">
                <a:spcBef>
                  <a:spcPct val="0"/>
                </a:spcBef>
                <a:spcAft>
                  <a:spcPct val="0"/>
                </a:spcAft>
              </a:pPr>
              <a:r>
                <a:rPr lang="en-US" dirty="0">
                  <a:solidFill>
                    <a:srgbClr val="1E4191"/>
                  </a:solidFill>
                  <a:latin typeface="GE Inspira Pitch" pitchFamily="34" charset="0"/>
                  <a:cs typeface="Times New Roman" pitchFamily="18" charset="0"/>
                </a:rPr>
                <a:t>Batteries</a:t>
              </a:r>
            </a:p>
          </p:txBody>
        </p:sp>
        <p:sp>
          <p:nvSpPr>
            <p:cNvPr id="70" name="Text Box 1108">
              <a:extLst>
                <a:ext uri="{FF2B5EF4-FFF2-40B4-BE49-F238E27FC236}">
                  <a16:creationId xmlns:a16="http://schemas.microsoft.com/office/drawing/2014/main" id="{CD969926-D28F-448A-938C-0CB29868221B}"/>
                </a:ext>
              </a:extLst>
            </p:cNvPr>
            <p:cNvSpPr txBox="1">
              <a:spLocks noChangeArrowheads="1"/>
            </p:cNvSpPr>
            <p:nvPr/>
          </p:nvSpPr>
          <p:spPr bwMode="auto">
            <a:xfrm>
              <a:off x="7208838" y="2266950"/>
              <a:ext cx="998537"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400">
                  <a:solidFill>
                    <a:schemeClr val="tx1"/>
                  </a:solidFill>
                  <a:latin typeface="GE Inspira" pitchFamily="34" charset="0"/>
                </a:defRPr>
              </a:lvl1pPr>
              <a:lvl2pPr marL="742950" indent="-285750" eaLnBrk="0" hangingPunct="0">
                <a:defRPr sz="1400">
                  <a:solidFill>
                    <a:schemeClr val="tx1"/>
                  </a:solidFill>
                  <a:latin typeface="GE Inspira" pitchFamily="34" charset="0"/>
                </a:defRPr>
              </a:lvl2pPr>
              <a:lvl3pPr marL="1143000" indent="-228600" eaLnBrk="0" hangingPunct="0">
                <a:defRPr sz="1400">
                  <a:solidFill>
                    <a:schemeClr val="tx1"/>
                  </a:solidFill>
                  <a:latin typeface="GE Inspira" pitchFamily="34" charset="0"/>
                </a:defRPr>
              </a:lvl3pPr>
              <a:lvl4pPr marL="1600200" indent="-228600" eaLnBrk="0" hangingPunct="0">
                <a:defRPr sz="1400">
                  <a:solidFill>
                    <a:schemeClr val="tx1"/>
                  </a:solidFill>
                  <a:latin typeface="GE Inspira" pitchFamily="34" charset="0"/>
                </a:defRPr>
              </a:lvl4pPr>
              <a:lvl5pPr marL="2057400" indent="-228600" eaLnBrk="0" hangingPunct="0">
                <a:defRPr sz="1400">
                  <a:solidFill>
                    <a:schemeClr val="tx1"/>
                  </a:solidFill>
                  <a:latin typeface="GE Inspira" pitchFamily="34" charset="0"/>
                </a:defRPr>
              </a:lvl5pPr>
              <a:lvl6pPr marL="2514600" indent="-228600" eaLnBrk="0" fontAlgn="base" hangingPunct="0">
                <a:spcBef>
                  <a:spcPct val="0"/>
                </a:spcBef>
                <a:spcAft>
                  <a:spcPct val="0"/>
                </a:spcAft>
                <a:defRPr sz="1400">
                  <a:solidFill>
                    <a:schemeClr val="tx1"/>
                  </a:solidFill>
                  <a:latin typeface="GE Inspira" pitchFamily="34" charset="0"/>
                </a:defRPr>
              </a:lvl6pPr>
              <a:lvl7pPr marL="2971800" indent="-228600" eaLnBrk="0" fontAlgn="base" hangingPunct="0">
                <a:spcBef>
                  <a:spcPct val="0"/>
                </a:spcBef>
                <a:spcAft>
                  <a:spcPct val="0"/>
                </a:spcAft>
                <a:defRPr sz="1400">
                  <a:solidFill>
                    <a:schemeClr val="tx1"/>
                  </a:solidFill>
                  <a:latin typeface="GE Inspira" pitchFamily="34" charset="0"/>
                </a:defRPr>
              </a:lvl7pPr>
              <a:lvl8pPr marL="3429000" indent="-228600" eaLnBrk="0" fontAlgn="base" hangingPunct="0">
                <a:spcBef>
                  <a:spcPct val="0"/>
                </a:spcBef>
                <a:spcAft>
                  <a:spcPct val="0"/>
                </a:spcAft>
                <a:defRPr sz="1400">
                  <a:solidFill>
                    <a:schemeClr val="tx1"/>
                  </a:solidFill>
                  <a:latin typeface="GE Inspira" pitchFamily="34" charset="0"/>
                </a:defRPr>
              </a:lvl8pPr>
              <a:lvl9pPr marL="3886200" indent="-228600" eaLnBrk="0" fontAlgn="base" hangingPunct="0">
                <a:spcBef>
                  <a:spcPct val="0"/>
                </a:spcBef>
                <a:spcAft>
                  <a:spcPct val="0"/>
                </a:spcAft>
                <a:defRPr sz="1400">
                  <a:solidFill>
                    <a:schemeClr val="tx1"/>
                  </a:solidFill>
                  <a:latin typeface="GE Inspira" pitchFamily="34" charset="0"/>
                </a:defRPr>
              </a:lvl9pPr>
            </a:lstStyle>
            <a:p>
              <a:pPr algn="ctr" eaLnBrk="1" fontAlgn="base" hangingPunct="1">
                <a:spcBef>
                  <a:spcPct val="0"/>
                </a:spcBef>
                <a:spcAft>
                  <a:spcPct val="0"/>
                </a:spcAft>
              </a:pPr>
              <a:r>
                <a:rPr lang="en-US" dirty="0">
                  <a:solidFill>
                    <a:srgbClr val="1E4191"/>
                  </a:solidFill>
                  <a:latin typeface="GE Inspira Pitch" pitchFamily="34" charset="0"/>
                  <a:cs typeface="Times New Roman" pitchFamily="18" charset="0"/>
                </a:rPr>
                <a:t>Ultra Caps</a:t>
              </a:r>
            </a:p>
          </p:txBody>
        </p:sp>
        <p:sp>
          <p:nvSpPr>
            <p:cNvPr id="71" name="Text Box 1109">
              <a:extLst>
                <a:ext uri="{FF2B5EF4-FFF2-40B4-BE49-F238E27FC236}">
                  <a16:creationId xmlns:a16="http://schemas.microsoft.com/office/drawing/2014/main" id="{0E41005F-E623-45FB-96A4-BB8C5E11F86B}"/>
                </a:ext>
              </a:extLst>
            </p:cNvPr>
            <p:cNvSpPr txBox="1">
              <a:spLocks noChangeArrowheads="1"/>
            </p:cNvSpPr>
            <p:nvPr/>
          </p:nvSpPr>
          <p:spPr bwMode="auto">
            <a:xfrm>
              <a:off x="6869113" y="4430713"/>
              <a:ext cx="817562"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400">
                  <a:solidFill>
                    <a:schemeClr val="tx1"/>
                  </a:solidFill>
                  <a:latin typeface="GE Inspira" pitchFamily="34" charset="0"/>
                </a:defRPr>
              </a:lvl1pPr>
              <a:lvl2pPr marL="742950" indent="-285750" eaLnBrk="0" hangingPunct="0">
                <a:defRPr sz="1400">
                  <a:solidFill>
                    <a:schemeClr val="tx1"/>
                  </a:solidFill>
                  <a:latin typeface="GE Inspira" pitchFamily="34" charset="0"/>
                </a:defRPr>
              </a:lvl2pPr>
              <a:lvl3pPr marL="1143000" indent="-228600" eaLnBrk="0" hangingPunct="0">
                <a:defRPr sz="1400">
                  <a:solidFill>
                    <a:schemeClr val="tx1"/>
                  </a:solidFill>
                  <a:latin typeface="GE Inspira" pitchFamily="34" charset="0"/>
                </a:defRPr>
              </a:lvl3pPr>
              <a:lvl4pPr marL="1600200" indent="-228600" eaLnBrk="0" hangingPunct="0">
                <a:defRPr sz="1400">
                  <a:solidFill>
                    <a:schemeClr val="tx1"/>
                  </a:solidFill>
                  <a:latin typeface="GE Inspira" pitchFamily="34" charset="0"/>
                </a:defRPr>
              </a:lvl4pPr>
              <a:lvl5pPr marL="2057400" indent="-228600" eaLnBrk="0" hangingPunct="0">
                <a:defRPr sz="1400">
                  <a:solidFill>
                    <a:schemeClr val="tx1"/>
                  </a:solidFill>
                  <a:latin typeface="GE Inspira" pitchFamily="34" charset="0"/>
                </a:defRPr>
              </a:lvl5pPr>
              <a:lvl6pPr marL="2514600" indent="-228600" eaLnBrk="0" fontAlgn="base" hangingPunct="0">
                <a:spcBef>
                  <a:spcPct val="0"/>
                </a:spcBef>
                <a:spcAft>
                  <a:spcPct val="0"/>
                </a:spcAft>
                <a:defRPr sz="1400">
                  <a:solidFill>
                    <a:schemeClr val="tx1"/>
                  </a:solidFill>
                  <a:latin typeface="GE Inspira" pitchFamily="34" charset="0"/>
                </a:defRPr>
              </a:lvl6pPr>
              <a:lvl7pPr marL="2971800" indent="-228600" eaLnBrk="0" fontAlgn="base" hangingPunct="0">
                <a:spcBef>
                  <a:spcPct val="0"/>
                </a:spcBef>
                <a:spcAft>
                  <a:spcPct val="0"/>
                </a:spcAft>
                <a:defRPr sz="1400">
                  <a:solidFill>
                    <a:schemeClr val="tx1"/>
                  </a:solidFill>
                  <a:latin typeface="GE Inspira" pitchFamily="34" charset="0"/>
                </a:defRPr>
              </a:lvl7pPr>
              <a:lvl8pPr marL="3429000" indent="-228600" eaLnBrk="0" fontAlgn="base" hangingPunct="0">
                <a:spcBef>
                  <a:spcPct val="0"/>
                </a:spcBef>
                <a:spcAft>
                  <a:spcPct val="0"/>
                </a:spcAft>
                <a:defRPr sz="1400">
                  <a:solidFill>
                    <a:schemeClr val="tx1"/>
                  </a:solidFill>
                  <a:latin typeface="GE Inspira" pitchFamily="34" charset="0"/>
                </a:defRPr>
              </a:lvl8pPr>
              <a:lvl9pPr marL="3886200" indent="-228600" eaLnBrk="0" fontAlgn="base" hangingPunct="0">
                <a:spcBef>
                  <a:spcPct val="0"/>
                </a:spcBef>
                <a:spcAft>
                  <a:spcPct val="0"/>
                </a:spcAft>
                <a:defRPr sz="1400">
                  <a:solidFill>
                    <a:schemeClr val="tx1"/>
                  </a:solidFill>
                  <a:latin typeface="GE Inspira" pitchFamily="34" charset="0"/>
                </a:defRPr>
              </a:lvl9pPr>
            </a:lstStyle>
            <a:p>
              <a:pPr algn="ctr" eaLnBrk="1" fontAlgn="base" hangingPunct="1">
                <a:spcBef>
                  <a:spcPct val="0"/>
                </a:spcBef>
                <a:spcAft>
                  <a:spcPct val="0"/>
                </a:spcAft>
              </a:pPr>
              <a:r>
                <a:rPr lang="en-US" dirty="0">
                  <a:solidFill>
                    <a:srgbClr val="1E4191"/>
                  </a:solidFill>
                  <a:latin typeface="GE Inspira Pitch" pitchFamily="34" charset="0"/>
                  <a:cs typeface="Times New Roman" pitchFamily="18" charset="0"/>
                </a:rPr>
                <a:t>Thermal</a:t>
              </a:r>
            </a:p>
          </p:txBody>
        </p:sp>
        <p:sp>
          <p:nvSpPr>
            <p:cNvPr id="72" name="Text Box 1110">
              <a:extLst>
                <a:ext uri="{FF2B5EF4-FFF2-40B4-BE49-F238E27FC236}">
                  <a16:creationId xmlns:a16="http://schemas.microsoft.com/office/drawing/2014/main" id="{465038C6-5A8B-43F7-B662-0A745FB45106}"/>
                </a:ext>
              </a:extLst>
            </p:cNvPr>
            <p:cNvSpPr txBox="1">
              <a:spLocks noChangeArrowheads="1"/>
            </p:cNvSpPr>
            <p:nvPr/>
          </p:nvSpPr>
          <p:spPr bwMode="auto">
            <a:xfrm>
              <a:off x="7824788" y="5286375"/>
              <a:ext cx="652462"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400">
                  <a:solidFill>
                    <a:schemeClr val="tx1"/>
                  </a:solidFill>
                  <a:latin typeface="GE Inspira" pitchFamily="34" charset="0"/>
                </a:defRPr>
              </a:lvl1pPr>
              <a:lvl2pPr marL="742950" indent="-285750" eaLnBrk="0" hangingPunct="0">
                <a:defRPr sz="1400">
                  <a:solidFill>
                    <a:schemeClr val="tx1"/>
                  </a:solidFill>
                  <a:latin typeface="GE Inspira" pitchFamily="34" charset="0"/>
                </a:defRPr>
              </a:lvl2pPr>
              <a:lvl3pPr marL="1143000" indent="-228600" eaLnBrk="0" hangingPunct="0">
                <a:defRPr sz="1400">
                  <a:solidFill>
                    <a:schemeClr val="tx1"/>
                  </a:solidFill>
                  <a:latin typeface="GE Inspira" pitchFamily="34" charset="0"/>
                </a:defRPr>
              </a:lvl3pPr>
              <a:lvl4pPr marL="1600200" indent="-228600" eaLnBrk="0" hangingPunct="0">
                <a:defRPr sz="1400">
                  <a:solidFill>
                    <a:schemeClr val="tx1"/>
                  </a:solidFill>
                  <a:latin typeface="GE Inspira" pitchFamily="34" charset="0"/>
                </a:defRPr>
              </a:lvl4pPr>
              <a:lvl5pPr marL="2057400" indent="-228600" eaLnBrk="0" hangingPunct="0">
                <a:defRPr sz="1400">
                  <a:solidFill>
                    <a:schemeClr val="tx1"/>
                  </a:solidFill>
                  <a:latin typeface="GE Inspira" pitchFamily="34" charset="0"/>
                </a:defRPr>
              </a:lvl5pPr>
              <a:lvl6pPr marL="2514600" indent="-228600" eaLnBrk="0" fontAlgn="base" hangingPunct="0">
                <a:spcBef>
                  <a:spcPct val="0"/>
                </a:spcBef>
                <a:spcAft>
                  <a:spcPct val="0"/>
                </a:spcAft>
                <a:defRPr sz="1400">
                  <a:solidFill>
                    <a:schemeClr val="tx1"/>
                  </a:solidFill>
                  <a:latin typeface="GE Inspira" pitchFamily="34" charset="0"/>
                </a:defRPr>
              </a:lvl6pPr>
              <a:lvl7pPr marL="2971800" indent="-228600" eaLnBrk="0" fontAlgn="base" hangingPunct="0">
                <a:spcBef>
                  <a:spcPct val="0"/>
                </a:spcBef>
                <a:spcAft>
                  <a:spcPct val="0"/>
                </a:spcAft>
                <a:defRPr sz="1400">
                  <a:solidFill>
                    <a:schemeClr val="tx1"/>
                  </a:solidFill>
                  <a:latin typeface="GE Inspira" pitchFamily="34" charset="0"/>
                </a:defRPr>
              </a:lvl7pPr>
              <a:lvl8pPr marL="3429000" indent="-228600" eaLnBrk="0" fontAlgn="base" hangingPunct="0">
                <a:spcBef>
                  <a:spcPct val="0"/>
                </a:spcBef>
                <a:spcAft>
                  <a:spcPct val="0"/>
                </a:spcAft>
                <a:defRPr sz="1400">
                  <a:solidFill>
                    <a:schemeClr val="tx1"/>
                  </a:solidFill>
                  <a:latin typeface="GE Inspira" pitchFamily="34" charset="0"/>
                </a:defRPr>
              </a:lvl8pPr>
              <a:lvl9pPr marL="3886200" indent="-228600" eaLnBrk="0" fontAlgn="base" hangingPunct="0">
                <a:spcBef>
                  <a:spcPct val="0"/>
                </a:spcBef>
                <a:spcAft>
                  <a:spcPct val="0"/>
                </a:spcAft>
                <a:defRPr sz="1400">
                  <a:solidFill>
                    <a:schemeClr val="tx1"/>
                  </a:solidFill>
                  <a:latin typeface="GE Inspira" pitchFamily="34" charset="0"/>
                </a:defRPr>
              </a:lvl9pPr>
            </a:lstStyle>
            <a:p>
              <a:pPr algn="ctr" eaLnBrk="1" fontAlgn="base" hangingPunct="1">
                <a:spcBef>
                  <a:spcPct val="0"/>
                </a:spcBef>
                <a:spcAft>
                  <a:spcPct val="0"/>
                </a:spcAft>
              </a:pPr>
              <a:r>
                <a:rPr lang="en-US" dirty="0">
                  <a:solidFill>
                    <a:srgbClr val="1E4191"/>
                  </a:solidFill>
                  <a:latin typeface="GE Inspira Pitch" pitchFamily="34" charset="0"/>
                  <a:cs typeface="Times New Roman" pitchFamily="18" charset="0"/>
                </a:rPr>
                <a:t>Hydro</a:t>
              </a:r>
            </a:p>
          </p:txBody>
        </p:sp>
        <p:sp>
          <p:nvSpPr>
            <p:cNvPr id="73" name="Text Box 1111">
              <a:extLst>
                <a:ext uri="{FF2B5EF4-FFF2-40B4-BE49-F238E27FC236}">
                  <a16:creationId xmlns:a16="http://schemas.microsoft.com/office/drawing/2014/main" id="{8FA7CD49-E160-42A4-8953-FE7D5DEF6AA9}"/>
                </a:ext>
              </a:extLst>
            </p:cNvPr>
            <p:cNvSpPr txBox="1">
              <a:spLocks noChangeArrowheads="1"/>
            </p:cNvSpPr>
            <p:nvPr/>
          </p:nvSpPr>
          <p:spPr bwMode="auto">
            <a:xfrm>
              <a:off x="7707313" y="4433888"/>
              <a:ext cx="887412"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400">
                  <a:solidFill>
                    <a:schemeClr val="tx1"/>
                  </a:solidFill>
                  <a:latin typeface="GE Inspira" pitchFamily="34" charset="0"/>
                </a:defRPr>
              </a:lvl1pPr>
              <a:lvl2pPr marL="742950" indent="-285750" eaLnBrk="0" hangingPunct="0">
                <a:defRPr sz="1400">
                  <a:solidFill>
                    <a:schemeClr val="tx1"/>
                  </a:solidFill>
                  <a:latin typeface="GE Inspira" pitchFamily="34" charset="0"/>
                </a:defRPr>
              </a:lvl2pPr>
              <a:lvl3pPr marL="1143000" indent="-228600" eaLnBrk="0" hangingPunct="0">
                <a:defRPr sz="1400">
                  <a:solidFill>
                    <a:schemeClr val="tx1"/>
                  </a:solidFill>
                  <a:latin typeface="GE Inspira" pitchFamily="34" charset="0"/>
                </a:defRPr>
              </a:lvl3pPr>
              <a:lvl4pPr marL="1600200" indent="-228600" eaLnBrk="0" hangingPunct="0">
                <a:defRPr sz="1400">
                  <a:solidFill>
                    <a:schemeClr val="tx1"/>
                  </a:solidFill>
                  <a:latin typeface="GE Inspira" pitchFamily="34" charset="0"/>
                </a:defRPr>
              </a:lvl4pPr>
              <a:lvl5pPr marL="2057400" indent="-228600" eaLnBrk="0" hangingPunct="0">
                <a:defRPr sz="1400">
                  <a:solidFill>
                    <a:schemeClr val="tx1"/>
                  </a:solidFill>
                  <a:latin typeface="GE Inspira" pitchFamily="34" charset="0"/>
                </a:defRPr>
              </a:lvl5pPr>
              <a:lvl6pPr marL="2514600" indent="-228600" eaLnBrk="0" fontAlgn="base" hangingPunct="0">
                <a:spcBef>
                  <a:spcPct val="0"/>
                </a:spcBef>
                <a:spcAft>
                  <a:spcPct val="0"/>
                </a:spcAft>
                <a:defRPr sz="1400">
                  <a:solidFill>
                    <a:schemeClr val="tx1"/>
                  </a:solidFill>
                  <a:latin typeface="GE Inspira" pitchFamily="34" charset="0"/>
                </a:defRPr>
              </a:lvl6pPr>
              <a:lvl7pPr marL="2971800" indent="-228600" eaLnBrk="0" fontAlgn="base" hangingPunct="0">
                <a:spcBef>
                  <a:spcPct val="0"/>
                </a:spcBef>
                <a:spcAft>
                  <a:spcPct val="0"/>
                </a:spcAft>
                <a:defRPr sz="1400">
                  <a:solidFill>
                    <a:schemeClr val="tx1"/>
                  </a:solidFill>
                  <a:latin typeface="GE Inspira" pitchFamily="34" charset="0"/>
                </a:defRPr>
              </a:lvl7pPr>
              <a:lvl8pPr marL="3429000" indent="-228600" eaLnBrk="0" fontAlgn="base" hangingPunct="0">
                <a:spcBef>
                  <a:spcPct val="0"/>
                </a:spcBef>
                <a:spcAft>
                  <a:spcPct val="0"/>
                </a:spcAft>
                <a:defRPr sz="1400">
                  <a:solidFill>
                    <a:schemeClr val="tx1"/>
                  </a:solidFill>
                  <a:latin typeface="GE Inspira" pitchFamily="34" charset="0"/>
                </a:defRPr>
              </a:lvl8pPr>
              <a:lvl9pPr marL="3886200" indent="-228600" eaLnBrk="0" fontAlgn="base" hangingPunct="0">
                <a:spcBef>
                  <a:spcPct val="0"/>
                </a:spcBef>
                <a:spcAft>
                  <a:spcPct val="0"/>
                </a:spcAft>
                <a:defRPr sz="1400">
                  <a:solidFill>
                    <a:schemeClr val="tx1"/>
                  </a:solidFill>
                  <a:latin typeface="GE Inspira" pitchFamily="34" charset="0"/>
                </a:defRPr>
              </a:lvl9pPr>
            </a:lstStyle>
            <a:p>
              <a:pPr algn="ctr" eaLnBrk="1" fontAlgn="base" hangingPunct="1">
                <a:spcBef>
                  <a:spcPct val="0"/>
                </a:spcBef>
                <a:spcAft>
                  <a:spcPct val="0"/>
                </a:spcAft>
              </a:pPr>
              <a:r>
                <a:rPr lang="en-US" dirty="0">
                  <a:solidFill>
                    <a:srgbClr val="1E4191"/>
                  </a:solidFill>
                  <a:latin typeface="GE Inspira Pitch" pitchFamily="34" charset="0"/>
                  <a:cs typeface="Times New Roman" pitchFamily="18" charset="0"/>
                </a:rPr>
                <a:t>Batteries</a:t>
              </a:r>
            </a:p>
          </p:txBody>
        </p:sp>
        <p:pic>
          <p:nvPicPr>
            <p:cNvPr id="74" name="Picture 1119">
              <a:extLst>
                <a:ext uri="{FF2B5EF4-FFF2-40B4-BE49-F238E27FC236}">
                  <a16:creationId xmlns:a16="http://schemas.microsoft.com/office/drawing/2014/main" id="{DC6FD5DA-51AC-43DC-BE2B-8832B68CDD9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185025" y="3910013"/>
              <a:ext cx="265113" cy="582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5" name="Text Box 1121">
              <a:extLst>
                <a:ext uri="{FF2B5EF4-FFF2-40B4-BE49-F238E27FC236}">
                  <a16:creationId xmlns:a16="http://schemas.microsoft.com/office/drawing/2014/main" id="{103ACD07-F7D7-4DF1-B8D1-3759F86E1F39}"/>
                </a:ext>
              </a:extLst>
            </p:cNvPr>
            <p:cNvSpPr txBox="1">
              <a:spLocks noChangeArrowheads="1"/>
            </p:cNvSpPr>
            <p:nvPr/>
          </p:nvSpPr>
          <p:spPr bwMode="auto">
            <a:xfrm>
              <a:off x="4237038" y="2895600"/>
              <a:ext cx="1577975"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71450" indent="-171450" eaLnBrk="0" hangingPunct="0">
                <a:defRPr sz="1400">
                  <a:solidFill>
                    <a:schemeClr val="tx1"/>
                  </a:solidFill>
                  <a:latin typeface="GE Inspira" pitchFamily="34" charset="0"/>
                </a:defRPr>
              </a:lvl1pPr>
              <a:lvl2pPr marL="742950" indent="-285750" eaLnBrk="0" hangingPunct="0">
                <a:defRPr sz="1400">
                  <a:solidFill>
                    <a:schemeClr val="tx1"/>
                  </a:solidFill>
                  <a:latin typeface="GE Inspira" pitchFamily="34" charset="0"/>
                </a:defRPr>
              </a:lvl2pPr>
              <a:lvl3pPr marL="1143000" indent="-228600" eaLnBrk="0" hangingPunct="0">
                <a:defRPr sz="1400">
                  <a:solidFill>
                    <a:schemeClr val="tx1"/>
                  </a:solidFill>
                  <a:latin typeface="GE Inspira" pitchFamily="34" charset="0"/>
                </a:defRPr>
              </a:lvl3pPr>
              <a:lvl4pPr marL="1600200" indent="-228600" eaLnBrk="0" hangingPunct="0">
                <a:defRPr sz="1400">
                  <a:solidFill>
                    <a:schemeClr val="tx1"/>
                  </a:solidFill>
                  <a:latin typeface="GE Inspira" pitchFamily="34" charset="0"/>
                </a:defRPr>
              </a:lvl4pPr>
              <a:lvl5pPr marL="2057400" indent="-228600" eaLnBrk="0" hangingPunct="0">
                <a:defRPr sz="1400">
                  <a:solidFill>
                    <a:schemeClr val="tx1"/>
                  </a:solidFill>
                  <a:latin typeface="GE Inspira" pitchFamily="34" charset="0"/>
                </a:defRPr>
              </a:lvl5pPr>
              <a:lvl6pPr marL="2514600" indent="-228600" eaLnBrk="0" fontAlgn="base" hangingPunct="0">
                <a:spcBef>
                  <a:spcPct val="0"/>
                </a:spcBef>
                <a:spcAft>
                  <a:spcPct val="0"/>
                </a:spcAft>
                <a:defRPr sz="1400">
                  <a:solidFill>
                    <a:schemeClr val="tx1"/>
                  </a:solidFill>
                  <a:latin typeface="GE Inspira" pitchFamily="34" charset="0"/>
                </a:defRPr>
              </a:lvl6pPr>
              <a:lvl7pPr marL="2971800" indent="-228600" eaLnBrk="0" fontAlgn="base" hangingPunct="0">
                <a:spcBef>
                  <a:spcPct val="0"/>
                </a:spcBef>
                <a:spcAft>
                  <a:spcPct val="0"/>
                </a:spcAft>
                <a:defRPr sz="1400">
                  <a:solidFill>
                    <a:schemeClr val="tx1"/>
                  </a:solidFill>
                  <a:latin typeface="GE Inspira" pitchFamily="34" charset="0"/>
                </a:defRPr>
              </a:lvl7pPr>
              <a:lvl8pPr marL="3429000" indent="-228600" eaLnBrk="0" fontAlgn="base" hangingPunct="0">
                <a:spcBef>
                  <a:spcPct val="0"/>
                </a:spcBef>
                <a:spcAft>
                  <a:spcPct val="0"/>
                </a:spcAft>
                <a:defRPr sz="1400">
                  <a:solidFill>
                    <a:schemeClr val="tx1"/>
                  </a:solidFill>
                  <a:latin typeface="GE Inspira" pitchFamily="34" charset="0"/>
                </a:defRPr>
              </a:lvl8pPr>
              <a:lvl9pPr marL="3886200" indent="-228600" eaLnBrk="0" fontAlgn="base" hangingPunct="0">
                <a:spcBef>
                  <a:spcPct val="0"/>
                </a:spcBef>
                <a:spcAft>
                  <a:spcPct val="0"/>
                </a:spcAft>
                <a:defRPr sz="1400">
                  <a:solidFill>
                    <a:schemeClr val="tx1"/>
                  </a:solidFill>
                  <a:latin typeface="GE Inspira" pitchFamily="34" charset="0"/>
                </a:defRPr>
              </a:lvl9pPr>
            </a:lstStyle>
            <a:p>
              <a:pPr algn="ctr" eaLnBrk="1" fontAlgn="base" hangingPunct="1">
                <a:spcBef>
                  <a:spcPct val="0"/>
                </a:spcBef>
                <a:spcAft>
                  <a:spcPct val="0"/>
                </a:spcAft>
              </a:pPr>
              <a:r>
                <a:rPr lang="en-US" dirty="0">
                  <a:solidFill>
                    <a:srgbClr val="1E4191"/>
                  </a:solidFill>
                  <a:latin typeface="GE Inspira Pitch" pitchFamily="34" charset="0"/>
                  <a:cs typeface="Times New Roman" pitchFamily="18" charset="0"/>
                </a:rPr>
                <a:t>Reserves</a:t>
              </a:r>
            </a:p>
          </p:txBody>
        </p:sp>
        <p:pic>
          <p:nvPicPr>
            <p:cNvPr id="76" name="Picture 12" descr="M:\Powerpoint\2009 Intelligent Grid\Images\Breaker.jpg">
              <a:extLst>
                <a:ext uri="{FF2B5EF4-FFF2-40B4-BE49-F238E27FC236}">
                  <a16:creationId xmlns:a16="http://schemas.microsoft.com/office/drawing/2014/main" id="{24AB3A14-4B8D-45E7-9226-9BCDF5A0A589}"/>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r="30054"/>
            <a:stretch>
              <a:fillRect/>
            </a:stretch>
          </p:blipFill>
          <p:spPr bwMode="auto">
            <a:xfrm>
              <a:off x="4000500" y="4592638"/>
              <a:ext cx="3810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 name="Text Box 1061">
              <a:extLst>
                <a:ext uri="{FF2B5EF4-FFF2-40B4-BE49-F238E27FC236}">
                  <a16:creationId xmlns:a16="http://schemas.microsoft.com/office/drawing/2014/main" id="{9442DBF6-FEA1-487E-A84F-86F378DEF089}"/>
                </a:ext>
              </a:extLst>
            </p:cNvPr>
            <p:cNvSpPr txBox="1">
              <a:spLocks noChangeArrowheads="1"/>
            </p:cNvSpPr>
            <p:nvPr/>
          </p:nvSpPr>
          <p:spPr bwMode="auto">
            <a:xfrm>
              <a:off x="3594100" y="3963988"/>
              <a:ext cx="1204913" cy="52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tabLst>
                  <a:tab pos="0" algn="l"/>
                </a:tabLst>
                <a:defRPr sz="1400">
                  <a:solidFill>
                    <a:schemeClr val="tx1"/>
                  </a:solidFill>
                  <a:latin typeface="GE Inspira" pitchFamily="34" charset="0"/>
                </a:defRPr>
              </a:lvl1pPr>
              <a:lvl2pPr marL="742950" indent="-285750" eaLnBrk="0" hangingPunct="0">
                <a:tabLst>
                  <a:tab pos="0" algn="l"/>
                </a:tabLst>
                <a:defRPr sz="1400">
                  <a:solidFill>
                    <a:schemeClr val="tx1"/>
                  </a:solidFill>
                  <a:latin typeface="GE Inspira" pitchFamily="34" charset="0"/>
                </a:defRPr>
              </a:lvl2pPr>
              <a:lvl3pPr marL="1143000" indent="-228600" eaLnBrk="0" hangingPunct="0">
                <a:tabLst>
                  <a:tab pos="0" algn="l"/>
                </a:tabLst>
                <a:defRPr sz="1400">
                  <a:solidFill>
                    <a:schemeClr val="tx1"/>
                  </a:solidFill>
                  <a:latin typeface="GE Inspira" pitchFamily="34" charset="0"/>
                </a:defRPr>
              </a:lvl3pPr>
              <a:lvl4pPr marL="1600200" indent="-228600" eaLnBrk="0" hangingPunct="0">
                <a:tabLst>
                  <a:tab pos="0" algn="l"/>
                </a:tabLst>
                <a:defRPr sz="1400">
                  <a:solidFill>
                    <a:schemeClr val="tx1"/>
                  </a:solidFill>
                  <a:latin typeface="GE Inspira" pitchFamily="34" charset="0"/>
                </a:defRPr>
              </a:lvl4pPr>
              <a:lvl5pPr marL="2057400" indent="-228600" eaLnBrk="0" hangingPunct="0">
                <a:tabLst>
                  <a:tab pos="0" algn="l"/>
                </a:tabLst>
                <a:defRPr sz="1400">
                  <a:solidFill>
                    <a:schemeClr val="tx1"/>
                  </a:solidFill>
                  <a:latin typeface="GE Inspira" pitchFamily="34" charset="0"/>
                </a:defRPr>
              </a:lvl5pPr>
              <a:lvl6pPr marL="2514600" indent="-228600" eaLnBrk="0" fontAlgn="base" hangingPunct="0">
                <a:spcBef>
                  <a:spcPct val="0"/>
                </a:spcBef>
                <a:spcAft>
                  <a:spcPct val="0"/>
                </a:spcAft>
                <a:tabLst>
                  <a:tab pos="0" algn="l"/>
                </a:tabLst>
                <a:defRPr sz="1400">
                  <a:solidFill>
                    <a:schemeClr val="tx1"/>
                  </a:solidFill>
                  <a:latin typeface="GE Inspira" pitchFamily="34" charset="0"/>
                </a:defRPr>
              </a:lvl6pPr>
              <a:lvl7pPr marL="2971800" indent="-228600" eaLnBrk="0" fontAlgn="base" hangingPunct="0">
                <a:spcBef>
                  <a:spcPct val="0"/>
                </a:spcBef>
                <a:spcAft>
                  <a:spcPct val="0"/>
                </a:spcAft>
                <a:tabLst>
                  <a:tab pos="0" algn="l"/>
                </a:tabLst>
                <a:defRPr sz="1400">
                  <a:solidFill>
                    <a:schemeClr val="tx1"/>
                  </a:solidFill>
                  <a:latin typeface="GE Inspira" pitchFamily="34" charset="0"/>
                </a:defRPr>
              </a:lvl7pPr>
              <a:lvl8pPr marL="3429000" indent="-228600" eaLnBrk="0" fontAlgn="base" hangingPunct="0">
                <a:spcBef>
                  <a:spcPct val="0"/>
                </a:spcBef>
                <a:spcAft>
                  <a:spcPct val="0"/>
                </a:spcAft>
                <a:tabLst>
                  <a:tab pos="0" algn="l"/>
                </a:tabLst>
                <a:defRPr sz="1400">
                  <a:solidFill>
                    <a:schemeClr val="tx1"/>
                  </a:solidFill>
                  <a:latin typeface="GE Inspira" pitchFamily="34" charset="0"/>
                </a:defRPr>
              </a:lvl8pPr>
              <a:lvl9pPr marL="3886200" indent="-228600" eaLnBrk="0" fontAlgn="base" hangingPunct="0">
                <a:spcBef>
                  <a:spcPct val="0"/>
                </a:spcBef>
                <a:spcAft>
                  <a:spcPct val="0"/>
                </a:spcAft>
                <a:tabLst>
                  <a:tab pos="0" algn="l"/>
                </a:tabLst>
                <a:defRPr sz="1400">
                  <a:solidFill>
                    <a:schemeClr val="tx1"/>
                  </a:solidFill>
                  <a:latin typeface="GE Inspira" pitchFamily="34" charset="0"/>
                </a:defRPr>
              </a:lvl9pPr>
            </a:lstStyle>
            <a:p>
              <a:pPr algn="ctr" eaLnBrk="1" fontAlgn="base" hangingPunct="1">
                <a:spcBef>
                  <a:spcPct val="0"/>
                </a:spcBef>
                <a:spcAft>
                  <a:spcPct val="0"/>
                </a:spcAft>
              </a:pPr>
              <a:r>
                <a:rPr lang="en-US" dirty="0">
                  <a:solidFill>
                    <a:srgbClr val="1E4191"/>
                  </a:solidFill>
                  <a:latin typeface="GE Inspira Pitch" pitchFamily="34" charset="0"/>
                  <a:cs typeface="Times New Roman" pitchFamily="18" charset="0"/>
                </a:rPr>
                <a:t>Generation Capacity</a:t>
              </a:r>
            </a:p>
          </p:txBody>
        </p:sp>
        <p:pic>
          <p:nvPicPr>
            <p:cNvPr id="78" name="Picture 7" descr="D:\My Documents\Misc\MarCom\Aero\LMS100j.jpg">
              <a:extLst>
                <a:ext uri="{FF2B5EF4-FFF2-40B4-BE49-F238E27FC236}">
                  <a16:creationId xmlns:a16="http://schemas.microsoft.com/office/drawing/2014/main" id="{EA6CC8D1-12FD-41BB-835D-71CE770E7DCC}"/>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r="41" b="119"/>
            <a:stretch>
              <a:fillRect/>
            </a:stretch>
          </p:blipFill>
          <p:spPr bwMode="auto">
            <a:xfrm>
              <a:off x="3595688" y="3486150"/>
              <a:ext cx="120967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 name="Object 6" descr="npo0000d8">
              <a:extLst>
                <a:ext uri="{FF2B5EF4-FFF2-40B4-BE49-F238E27FC236}">
                  <a16:creationId xmlns:a16="http://schemas.microsoft.com/office/drawing/2014/main" id="{7D4F7FD4-12A2-4FBE-A60D-35B19FCF7347}"/>
                </a:ext>
              </a:extLst>
            </p:cNvPr>
            <p:cNvPicPr preferRelativeResize="0">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r="29143"/>
            <a:stretch>
              <a:fillRect/>
            </a:stretch>
          </p:blipFill>
          <p:spPr bwMode="auto">
            <a:xfrm>
              <a:off x="4883150" y="1963738"/>
              <a:ext cx="488950" cy="80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0" name="Text Box 1121">
              <a:extLst>
                <a:ext uri="{FF2B5EF4-FFF2-40B4-BE49-F238E27FC236}">
                  <a16:creationId xmlns:a16="http://schemas.microsoft.com/office/drawing/2014/main" id="{9E45DABF-6974-40A9-95F8-DD06741F6122}"/>
                </a:ext>
              </a:extLst>
            </p:cNvPr>
            <p:cNvSpPr txBox="1">
              <a:spLocks noChangeArrowheads="1"/>
            </p:cNvSpPr>
            <p:nvPr/>
          </p:nvSpPr>
          <p:spPr bwMode="auto">
            <a:xfrm>
              <a:off x="2787650" y="1398588"/>
              <a:ext cx="3805238"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71450" indent="-171450" eaLnBrk="0" hangingPunct="0">
                <a:defRPr sz="1400">
                  <a:solidFill>
                    <a:schemeClr val="tx1"/>
                  </a:solidFill>
                  <a:latin typeface="GE Inspira" pitchFamily="34" charset="0"/>
                </a:defRPr>
              </a:lvl1pPr>
              <a:lvl2pPr marL="742950" indent="-285750" eaLnBrk="0" hangingPunct="0">
                <a:defRPr sz="1400">
                  <a:solidFill>
                    <a:schemeClr val="tx1"/>
                  </a:solidFill>
                  <a:latin typeface="GE Inspira" pitchFamily="34" charset="0"/>
                </a:defRPr>
              </a:lvl2pPr>
              <a:lvl3pPr marL="1143000" indent="-228600" eaLnBrk="0" hangingPunct="0">
                <a:defRPr sz="1400">
                  <a:solidFill>
                    <a:schemeClr val="tx1"/>
                  </a:solidFill>
                  <a:latin typeface="GE Inspira" pitchFamily="34" charset="0"/>
                </a:defRPr>
              </a:lvl3pPr>
              <a:lvl4pPr marL="1600200" indent="-228600" eaLnBrk="0" hangingPunct="0">
                <a:defRPr sz="1400">
                  <a:solidFill>
                    <a:schemeClr val="tx1"/>
                  </a:solidFill>
                  <a:latin typeface="GE Inspira" pitchFamily="34" charset="0"/>
                </a:defRPr>
              </a:lvl4pPr>
              <a:lvl5pPr marL="2057400" indent="-228600" eaLnBrk="0" hangingPunct="0">
                <a:defRPr sz="1400">
                  <a:solidFill>
                    <a:schemeClr val="tx1"/>
                  </a:solidFill>
                  <a:latin typeface="GE Inspira" pitchFamily="34" charset="0"/>
                </a:defRPr>
              </a:lvl5pPr>
              <a:lvl6pPr marL="2514600" indent="-228600" eaLnBrk="0" fontAlgn="base" hangingPunct="0">
                <a:spcBef>
                  <a:spcPct val="0"/>
                </a:spcBef>
                <a:spcAft>
                  <a:spcPct val="0"/>
                </a:spcAft>
                <a:defRPr sz="1400">
                  <a:solidFill>
                    <a:schemeClr val="tx1"/>
                  </a:solidFill>
                  <a:latin typeface="GE Inspira" pitchFamily="34" charset="0"/>
                </a:defRPr>
              </a:lvl6pPr>
              <a:lvl7pPr marL="2971800" indent="-228600" eaLnBrk="0" fontAlgn="base" hangingPunct="0">
                <a:spcBef>
                  <a:spcPct val="0"/>
                </a:spcBef>
                <a:spcAft>
                  <a:spcPct val="0"/>
                </a:spcAft>
                <a:defRPr sz="1400">
                  <a:solidFill>
                    <a:schemeClr val="tx1"/>
                  </a:solidFill>
                  <a:latin typeface="GE Inspira" pitchFamily="34" charset="0"/>
                </a:defRPr>
              </a:lvl7pPr>
              <a:lvl8pPr marL="3429000" indent="-228600" eaLnBrk="0" fontAlgn="base" hangingPunct="0">
                <a:spcBef>
                  <a:spcPct val="0"/>
                </a:spcBef>
                <a:spcAft>
                  <a:spcPct val="0"/>
                </a:spcAft>
                <a:defRPr sz="1400">
                  <a:solidFill>
                    <a:schemeClr val="tx1"/>
                  </a:solidFill>
                  <a:latin typeface="GE Inspira" pitchFamily="34" charset="0"/>
                </a:defRPr>
              </a:lvl8pPr>
              <a:lvl9pPr marL="3886200" indent="-228600" eaLnBrk="0" fontAlgn="base" hangingPunct="0">
                <a:spcBef>
                  <a:spcPct val="0"/>
                </a:spcBef>
                <a:spcAft>
                  <a:spcPct val="0"/>
                </a:spcAft>
                <a:defRPr sz="1400">
                  <a:solidFill>
                    <a:schemeClr val="tx1"/>
                  </a:solidFill>
                  <a:latin typeface="GE Inspira" pitchFamily="34" charset="0"/>
                </a:defRPr>
              </a:lvl9pPr>
            </a:lstStyle>
            <a:p>
              <a:pPr algn="ctr" eaLnBrk="1" fontAlgn="base" hangingPunct="1">
                <a:spcBef>
                  <a:spcPct val="0"/>
                </a:spcBef>
                <a:spcAft>
                  <a:spcPct val="0"/>
                </a:spcAft>
              </a:pPr>
              <a:r>
                <a:rPr lang="en-US" dirty="0">
                  <a:solidFill>
                    <a:srgbClr val="1E4191"/>
                  </a:solidFill>
                  <a:latin typeface="GE Inspira Pitch" pitchFamily="34" charset="0"/>
                  <a:cs typeface="Times New Roman" pitchFamily="18" charset="0"/>
                </a:rPr>
                <a:t>Governor, Inertial, Power Quality</a:t>
              </a:r>
            </a:p>
          </p:txBody>
        </p:sp>
        <p:pic>
          <p:nvPicPr>
            <p:cNvPr id="81" name="Picture 66" descr="turbine">
              <a:extLst>
                <a:ext uri="{FF2B5EF4-FFF2-40B4-BE49-F238E27FC236}">
                  <a16:creationId xmlns:a16="http://schemas.microsoft.com/office/drawing/2014/main" id="{A58C3CC6-640E-4BCA-89E8-7D256B00A9B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530850" y="2778125"/>
              <a:ext cx="687388" cy="51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2" name="Rectangle 3">
            <a:extLst>
              <a:ext uri="{FF2B5EF4-FFF2-40B4-BE49-F238E27FC236}">
                <a16:creationId xmlns:a16="http://schemas.microsoft.com/office/drawing/2014/main" id="{EE9BE8EA-627A-4149-A591-9C54595C2E45}"/>
              </a:ext>
            </a:extLst>
          </p:cNvPr>
          <p:cNvSpPr>
            <a:spLocks noChangeArrowheads="1"/>
          </p:cNvSpPr>
          <p:nvPr/>
        </p:nvSpPr>
        <p:spPr bwMode="auto">
          <a:xfrm>
            <a:off x="2599124" y="160316"/>
            <a:ext cx="8810625" cy="998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eaLnBrk="0" fontAlgn="base" hangingPunct="0">
              <a:lnSpc>
                <a:spcPct val="90000"/>
              </a:lnSpc>
              <a:spcBef>
                <a:spcPct val="0"/>
              </a:spcBef>
              <a:spcAft>
                <a:spcPct val="0"/>
              </a:spcAft>
            </a:pPr>
            <a:r>
              <a:rPr lang="en-US" sz="3200" b="1" dirty="0">
                <a:solidFill>
                  <a:srgbClr val="1E4191"/>
                </a:solidFill>
                <a:latin typeface="GE Inspira Pitch" pitchFamily="34" charset="0"/>
                <a:cs typeface="Times New Roman" pitchFamily="18" charset="0"/>
              </a:rPr>
              <a:t>Applications of Grid-Scale Storage</a:t>
            </a:r>
            <a:br>
              <a:rPr lang="en-US" sz="3200" b="1" dirty="0">
                <a:solidFill>
                  <a:srgbClr val="1E4191"/>
                </a:solidFill>
                <a:latin typeface="GE Inspira Pitch" pitchFamily="34" charset="0"/>
                <a:cs typeface="Times New Roman" pitchFamily="18" charset="0"/>
              </a:rPr>
            </a:br>
            <a:endParaRPr lang="en-US" sz="2400" b="1" dirty="0">
              <a:solidFill>
                <a:srgbClr val="3399FF"/>
              </a:solidFill>
              <a:latin typeface="GE Inspira Pitch" pitchFamily="34" charset="0"/>
              <a:cs typeface="Times New Roman" pitchFamily="18" charset="0"/>
            </a:endParaRPr>
          </a:p>
        </p:txBody>
      </p:sp>
      <p:sp>
        <p:nvSpPr>
          <p:cNvPr id="84" name="TextBox 21">
            <a:extLst>
              <a:ext uri="{FF2B5EF4-FFF2-40B4-BE49-F238E27FC236}">
                <a16:creationId xmlns:a16="http://schemas.microsoft.com/office/drawing/2014/main" id="{11BCB425-7381-4B3E-BF75-89F54258C2E1}"/>
              </a:ext>
            </a:extLst>
          </p:cNvPr>
          <p:cNvSpPr txBox="1"/>
          <p:nvPr/>
        </p:nvSpPr>
        <p:spPr>
          <a:xfrm>
            <a:off x="3840480" y="6399982"/>
            <a:ext cx="5765074" cy="247839"/>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GE Inspira Sans"/>
                <a:ea typeface="+mn-ea"/>
                <a:cs typeface="+mn-cs"/>
              </a:rPr>
              <a:t>© 2021 General Electric Company. </a:t>
            </a:r>
          </a:p>
        </p:txBody>
      </p:sp>
    </p:spTree>
    <p:extLst>
      <p:ext uri="{BB962C8B-B14F-4D97-AF65-F5344CB8AC3E}">
        <p14:creationId xmlns:p14="http://schemas.microsoft.com/office/powerpoint/2010/main" val="2067150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AF63933-3EA6-4670-92B8-48FD5FE3B85A}"/>
              </a:ext>
            </a:extLst>
          </p:cNvPr>
          <p:cNvSpPr>
            <a:spLocks noGrp="1"/>
          </p:cNvSpPr>
          <p:nvPr>
            <p:ph type="dt" sz="half" idx="10"/>
          </p:nvPr>
        </p:nvSpPr>
        <p:spPr/>
        <p:txBody>
          <a:bodyPr/>
          <a:lstStyle/>
          <a:p>
            <a:fld id="{847652F8-2028-47EC-8E89-6F1BC4534984}" type="datetime4">
              <a:rPr lang="en-US" smtClean="0"/>
              <a:t>October 18, 2021</a:t>
            </a:fld>
            <a:endParaRPr lang="en-CA" dirty="0"/>
          </a:p>
        </p:txBody>
      </p:sp>
      <p:sp>
        <p:nvSpPr>
          <p:cNvPr id="3" name="Slide Number Placeholder 2">
            <a:extLst>
              <a:ext uri="{FF2B5EF4-FFF2-40B4-BE49-F238E27FC236}">
                <a16:creationId xmlns:a16="http://schemas.microsoft.com/office/drawing/2014/main" id="{33A6FE8F-F21F-47AD-86C0-9C3475E9441C}"/>
              </a:ext>
            </a:extLst>
          </p:cNvPr>
          <p:cNvSpPr>
            <a:spLocks noGrp="1"/>
          </p:cNvSpPr>
          <p:nvPr>
            <p:ph type="sldNum" sz="quarter" idx="12"/>
          </p:nvPr>
        </p:nvSpPr>
        <p:spPr/>
        <p:txBody>
          <a:bodyPr/>
          <a:lstStyle/>
          <a:p>
            <a:fld id="{00E6A5BD-C011-4A45-AA3A-201790FB7F2B}" type="slidenum">
              <a:rPr lang="en-CA" smtClean="0"/>
              <a:pPr/>
              <a:t>21</a:t>
            </a:fld>
            <a:endParaRPr lang="en-CA" dirty="0"/>
          </a:p>
        </p:txBody>
      </p:sp>
      <p:sp>
        <p:nvSpPr>
          <p:cNvPr id="4" name="Title 3">
            <a:extLst>
              <a:ext uri="{FF2B5EF4-FFF2-40B4-BE49-F238E27FC236}">
                <a16:creationId xmlns:a16="http://schemas.microsoft.com/office/drawing/2014/main" id="{79063D6F-A41D-4F0F-9F3A-CDDBA86C6D5E}"/>
              </a:ext>
            </a:extLst>
          </p:cNvPr>
          <p:cNvSpPr>
            <a:spLocks noGrp="1"/>
          </p:cNvSpPr>
          <p:nvPr>
            <p:ph type="title"/>
          </p:nvPr>
        </p:nvSpPr>
        <p:spPr>
          <a:xfrm>
            <a:off x="495300" y="162538"/>
            <a:ext cx="11201400" cy="914400"/>
          </a:xfrm>
        </p:spPr>
        <p:txBody>
          <a:bodyPr/>
          <a:lstStyle/>
          <a:p>
            <a:r>
              <a:rPr lang="en-US" dirty="0"/>
              <a:t>Worldwide Energy Storage Deployment by Technology</a:t>
            </a:r>
          </a:p>
        </p:txBody>
      </p:sp>
      <p:grpSp>
        <p:nvGrpSpPr>
          <p:cNvPr id="18" name="Group 17">
            <a:extLst>
              <a:ext uri="{FF2B5EF4-FFF2-40B4-BE49-F238E27FC236}">
                <a16:creationId xmlns:a16="http://schemas.microsoft.com/office/drawing/2014/main" id="{AD2BCDF6-CCA8-4067-9AF5-1D09D29D550F}"/>
              </a:ext>
            </a:extLst>
          </p:cNvPr>
          <p:cNvGrpSpPr/>
          <p:nvPr/>
        </p:nvGrpSpPr>
        <p:grpSpPr>
          <a:xfrm>
            <a:off x="72391" y="1933519"/>
            <a:ext cx="8282667" cy="3659616"/>
            <a:chOff x="1474470" y="2018355"/>
            <a:chExt cx="8282667" cy="3659616"/>
          </a:xfrm>
        </p:grpSpPr>
        <p:pic>
          <p:nvPicPr>
            <p:cNvPr id="8" name="Picture 7">
              <a:extLst>
                <a:ext uri="{FF2B5EF4-FFF2-40B4-BE49-F238E27FC236}">
                  <a16:creationId xmlns:a16="http://schemas.microsoft.com/office/drawing/2014/main" id="{D717FD06-476F-4C26-87B1-7DF517F7597B}"/>
                </a:ext>
              </a:extLst>
            </p:cNvPr>
            <p:cNvPicPr>
              <a:picLocks noChangeAspect="1"/>
            </p:cNvPicPr>
            <p:nvPr/>
          </p:nvPicPr>
          <p:blipFill>
            <a:blip r:embed="rId2"/>
            <a:stretch>
              <a:fillRect/>
            </a:stretch>
          </p:blipFill>
          <p:spPr>
            <a:xfrm>
              <a:off x="5204187" y="2772846"/>
              <a:ext cx="4552950" cy="2905125"/>
            </a:xfrm>
            <a:prstGeom prst="rect">
              <a:avLst/>
            </a:prstGeom>
          </p:spPr>
        </p:pic>
        <p:pic>
          <p:nvPicPr>
            <p:cNvPr id="6" name="Picture 5">
              <a:extLst>
                <a:ext uri="{FF2B5EF4-FFF2-40B4-BE49-F238E27FC236}">
                  <a16:creationId xmlns:a16="http://schemas.microsoft.com/office/drawing/2014/main" id="{9D072E4C-8BDE-4160-8903-8109B3C28401}"/>
                </a:ext>
              </a:extLst>
            </p:cNvPr>
            <p:cNvPicPr>
              <a:picLocks noChangeAspect="1"/>
            </p:cNvPicPr>
            <p:nvPr/>
          </p:nvPicPr>
          <p:blipFill>
            <a:blip r:embed="rId3"/>
            <a:stretch>
              <a:fillRect/>
            </a:stretch>
          </p:blipFill>
          <p:spPr>
            <a:xfrm>
              <a:off x="1474470" y="2018355"/>
              <a:ext cx="5048250" cy="3143250"/>
            </a:xfrm>
            <a:prstGeom prst="rect">
              <a:avLst/>
            </a:prstGeom>
          </p:spPr>
        </p:pic>
        <p:sp>
          <p:nvSpPr>
            <p:cNvPr id="9" name="Rectangle 8">
              <a:extLst>
                <a:ext uri="{FF2B5EF4-FFF2-40B4-BE49-F238E27FC236}">
                  <a16:creationId xmlns:a16="http://schemas.microsoft.com/office/drawing/2014/main" id="{6DA81A6D-AF1A-4116-BD3F-01E8013E235D}"/>
                </a:ext>
              </a:extLst>
            </p:cNvPr>
            <p:cNvSpPr/>
            <p:nvPr/>
          </p:nvSpPr>
          <p:spPr>
            <a:xfrm rot="1912984">
              <a:off x="6589956" y="2872201"/>
              <a:ext cx="495347" cy="105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8F47CAD1-23D7-4A3C-9A4B-42E186B572DF}"/>
                </a:ext>
              </a:extLst>
            </p:cNvPr>
            <p:cNvCxnSpPr/>
            <p:nvPr/>
          </p:nvCxnSpPr>
          <p:spPr>
            <a:xfrm flipH="1" flipV="1">
              <a:off x="5869577" y="2987040"/>
              <a:ext cx="968052" cy="844731"/>
            </a:xfrm>
            <a:prstGeom prst="line">
              <a:avLst/>
            </a:prstGeom>
            <a:noFill/>
            <a:ln w="3175">
              <a:solidFill>
                <a:schemeClr val="accent2"/>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cxnSp>
        <p:cxnSp>
          <p:nvCxnSpPr>
            <p:cNvPr id="12" name="Straight Connector 11">
              <a:extLst>
                <a:ext uri="{FF2B5EF4-FFF2-40B4-BE49-F238E27FC236}">
                  <a16:creationId xmlns:a16="http://schemas.microsoft.com/office/drawing/2014/main" id="{E3D756C2-AF6B-44F0-ADA0-852C64C6E4D2}"/>
                </a:ext>
              </a:extLst>
            </p:cNvPr>
            <p:cNvCxnSpPr>
              <a:cxnSpLocks/>
            </p:cNvCxnSpPr>
            <p:nvPr/>
          </p:nvCxnSpPr>
          <p:spPr>
            <a:xfrm flipH="1">
              <a:off x="5512526" y="4045965"/>
              <a:ext cx="1325104" cy="690589"/>
            </a:xfrm>
            <a:prstGeom prst="line">
              <a:avLst/>
            </a:prstGeom>
            <a:noFill/>
            <a:ln w="3175">
              <a:solidFill>
                <a:schemeClr val="accent2"/>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cxnSp>
      </p:grpSp>
      <p:pic>
        <p:nvPicPr>
          <p:cNvPr id="16" name="Picture 15">
            <a:extLst>
              <a:ext uri="{FF2B5EF4-FFF2-40B4-BE49-F238E27FC236}">
                <a16:creationId xmlns:a16="http://schemas.microsoft.com/office/drawing/2014/main" id="{D6500205-C5B9-4C89-858B-20B815FDD6C5}"/>
              </a:ext>
            </a:extLst>
          </p:cNvPr>
          <p:cNvPicPr>
            <a:picLocks noChangeAspect="1"/>
          </p:cNvPicPr>
          <p:nvPr/>
        </p:nvPicPr>
        <p:blipFill>
          <a:blip r:embed="rId4"/>
          <a:stretch>
            <a:fillRect/>
          </a:stretch>
        </p:blipFill>
        <p:spPr>
          <a:xfrm>
            <a:off x="4467498" y="986299"/>
            <a:ext cx="3251083" cy="1690259"/>
          </a:xfrm>
          <a:prstGeom prst="rect">
            <a:avLst/>
          </a:prstGeom>
        </p:spPr>
      </p:pic>
      <p:sp>
        <p:nvSpPr>
          <p:cNvPr id="17" name="Rectangle 40">
            <a:extLst>
              <a:ext uri="{FF2B5EF4-FFF2-40B4-BE49-F238E27FC236}">
                <a16:creationId xmlns:a16="http://schemas.microsoft.com/office/drawing/2014/main" id="{4DEE52DA-3F84-42BC-88B6-8C1726433ADA}"/>
              </a:ext>
            </a:extLst>
          </p:cNvPr>
          <p:cNvSpPr>
            <a:spLocks noChangeArrowheads="1"/>
          </p:cNvSpPr>
          <p:nvPr/>
        </p:nvSpPr>
        <p:spPr bwMode="auto">
          <a:xfrm>
            <a:off x="1" y="5762778"/>
            <a:ext cx="12192000" cy="400110"/>
          </a:xfrm>
          <a:prstGeom prst="rect">
            <a:avLst/>
          </a:prstGeom>
          <a:solidFill>
            <a:srgbClr val="1E4191"/>
          </a:solidFill>
          <a:ln w="25400" cap="rnd">
            <a:solidFill>
              <a:srgbClr val="1E4191"/>
            </a:solidFill>
            <a:round/>
            <a:headEnd/>
            <a:tailEnd/>
          </a:ln>
        </p:spPr>
        <p:txBody>
          <a:bodyPr wrap="square" lIns="45720" rIns="45720">
            <a:spAutoFit/>
          </a:bodyPr>
          <a:lstStyle/>
          <a:p>
            <a:pPr marL="0" marR="0" lvl="0" indent="0" algn="ctr" defTabSz="914400" eaLnBrk="0" fontAlgn="base" latinLnBrk="0" hangingPunct="0">
              <a:lnSpc>
                <a:spcPct val="100000"/>
              </a:lnSpc>
              <a:spcBef>
                <a:spcPct val="0"/>
              </a:spcBef>
              <a:spcAft>
                <a:spcPct val="0"/>
              </a:spcAft>
              <a:buClr>
                <a:srgbClr val="004880"/>
              </a:buClr>
              <a:buSzTx/>
              <a:buFontTx/>
              <a:buNone/>
              <a:tabLst/>
              <a:defRPr/>
            </a:pPr>
            <a:r>
              <a:rPr kumimoji="0" lang="en-US" sz="2000" b="1" i="0" u="none" strike="noStrike" kern="0" cap="none" spc="0" normalizeH="0" baseline="0" noProof="0" dirty="0">
                <a:ln>
                  <a:noFill/>
                </a:ln>
                <a:solidFill>
                  <a:srgbClr val="FFFFFF"/>
                </a:solidFill>
                <a:effectLst/>
                <a:uLnTx/>
                <a:uFillTx/>
                <a:latin typeface="GE Inspira Pitch" pitchFamily="34" charset="0"/>
                <a:cs typeface="Times New Roman" pitchFamily="18" charset="0"/>
              </a:rPr>
              <a:t>PSH dominates the global deployment of energy storage systems</a:t>
            </a:r>
          </a:p>
        </p:txBody>
      </p:sp>
      <p:pic>
        <p:nvPicPr>
          <p:cNvPr id="20" name="Picture 19">
            <a:extLst>
              <a:ext uri="{FF2B5EF4-FFF2-40B4-BE49-F238E27FC236}">
                <a16:creationId xmlns:a16="http://schemas.microsoft.com/office/drawing/2014/main" id="{50A54FF4-029A-4876-AC12-9B1B6CA050F2}"/>
              </a:ext>
            </a:extLst>
          </p:cNvPr>
          <p:cNvPicPr>
            <a:picLocks noChangeAspect="1"/>
          </p:cNvPicPr>
          <p:nvPr/>
        </p:nvPicPr>
        <p:blipFill>
          <a:blip r:embed="rId5"/>
          <a:stretch>
            <a:fillRect/>
          </a:stretch>
        </p:blipFill>
        <p:spPr>
          <a:xfrm>
            <a:off x="7915523" y="1672434"/>
            <a:ext cx="4036146" cy="3665419"/>
          </a:xfrm>
          <a:prstGeom prst="rect">
            <a:avLst/>
          </a:prstGeom>
        </p:spPr>
      </p:pic>
      <p:sp>
        <p:nvSpPr>
          <p:cNvPr id="21" name="TextBox 20">
            <a:extLst>
              <a:ext uri="{FF2B5EF4-FFF2-40B4-BE49-F238E27FC236}">
                <a16:creationId xmlns:a16="http://schemas.microsoft.com/office/drawing/2014/main" id="{C223274A-595C-4FD6-835D-C39659EEC353}"/>
              </a:ext>
            </a:extLst>
          </p:cNvPr>
          <p:cNvSpPr txBox="1"/>
          <p:nvPr/>
        </p:nvSpPr>
        <p:spPr>
          <a:xfrm>
            <a:off x="8088082" y="1178678"/>
            <a:ext cx="3347070" cy="276999"/>
          </a:xfrm>
          <a:prstGeom prst="rect">
            <a:avLst/>
          </a:prstGeom>
          <a:noFill/>
        </p:spPr>
        <p:txBody>
          <a:bodyPr wrap="none" lIns="0" tIns="0" rIns="0" bIns="0" rtlCol="0">
            <a:spAutoFit/>
          </a:bodyPr>
          <a:lstStyle/>
          <a:p>
            <a:r>
              <a:rPr lang="en-US" dirty="0">
                <a:solidFill>
                  <a:schemeClr val="accent2"/>
                </a:solidFill>
              </a:rPr>
              <a:t>Value for Pumped Storage Hydro …</a:t>
            </a:r>
          </a:p>
        </p:txBody>
      </p:sp>
      <p:sp>
        <p:nvSpPr>
          <p:cNvPr id="22" name="TextBox 21">
            <a:extLst>
              <a:ext uri="{FF2B5EF4-FFF2-40B4-BE49-F238E27FC236}">
                <a16:creationId xmlns:a16="http://schemas.microsoft.com/office/drawing/2014/main" id="{EEED3C13-7611-4E89-9709-C16E5F677262}"/>
              </a:ext>
            </a:extLst>
          </p:cNvPr>
          <p:cNvSpPr txBox="1"/>
          <p:nvPr/>
        </p:nvSpPr>
        <p:spPr>
          <a:xfrm>
            <a:off x="69669" y="5370601"/>
            <a:ext cx="4875919" cy="400110"/>
          </a:xfrm>
          <a:prstGeom prst="rect">
            <a:avLst/>
          </a:prstGeom>
          <a:noFill/>
        </p:spPr>
        <p:txBody>
          <a:bodyPr wrap="square">
            <a:spAutoFit/>
          </a:bodyPr>
          <a:lstStyle/>
          <a:p>
            <a:r>
              <a:rPr lang="en-US" sz="1000" dirty="0"/>
              <a:t>Source: </a:t>
            </a:r>
          </a:p>
          <a:p>
            <a:r>
              <a:rPr lang="en-US" sz="1000" i="1" dirty="0"/>
              <a:t>PNNL-28866 – July 2019 - Energy Storage Technology and Cost Characterization Report</a:t>
            </a:r>
          </a:p>
        </p:txBody>
      </p:sp>
      <p:sp>
        <p:nvSpPr>
          <p:cNvPr id="19" name="TextBox 21">
            <a:extLst>
              <a:ext uri="{FF2B5EF4-FFF2-40B4-BE49-F238E27FC236}">
                <a16:creationId xmlns:a16="http://schemas.microsoft.com/office/drawing/2014/main" id="{CB476FA4-1FCB-4BD0-AF09-9816EB0690CB}"/>
              </a:ext>
            </a:extLst>
          </p:cNvPr>
          <p:cNvSpPr txBox="1"/>
          <p:nvPr/>
        </p:nvSpPr>
        <p:spPr>
          <a:xfrm>
            <a:off x="3840480" y="6399982"/>
            <a:ext cx="5765074" cy="247839"/>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GE Inspira Sans"/>
                <a:ea typeface="+mn-ea"/>
                <a:cs typeface="+mn-cs"/>
              </a:rPr>
              <a:t>© 2021 General Electric Company. </a:t>
            </a:r>
          </a:p>
        </p:txBody>
      </p:sp>
    </p:spTree>
    <p:extLst>
      <p:ext uri="{BB962C8B-B14F-4D97-AF65-F5344CB8AC3E}">
        <p14:creationId xmlns:p14="http://schemas.microsoft.com/office/powerpoint/2010/main" val="40821777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BFBA23E1-1B4E-46A5-9835-8B95E93A5F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4" progId="TCLayout.ActiveDocument.1">
                  <p:embed/>
                </p:oleObj>
              </mc:Choice>
              <mc:Fallback>
                <p:oleObj name="Diapositive think-cell" r:id="rId5" imgW="395" imgH="394" progId="TCLayout.ActiveDocument.1">
                  <p:embed/>
                  <p:pic>
                    <p:nvPicPr>
                      <p:cNvPr id="6" name="Objet 5" hidden="1">
                        <a:extLst>
                          <a:ext uri="{FF2B5EF4-FFF2-40B4-BE49-F238E27FC236}">
                            <a16:creationId xmlns:a16="http://schemas.microsoft.com/office/drawing/2014/main" id="{BFBA23E1-1B4E-46A5-9835-8B95E93A5F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AB4C5DB-75F9-40D1-8A48-5772929553B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GE Inspira Sans" panose="020B0503060000000003" pitchFamily="34" charset="0"/>
              <a:ea typeface="+mn-ea"/>
              <a:cs typeface="+mn-cs"/>
              <a:sym typeface="GE Inspira Sans" panose="020B0503060000000003" pitchFamily="34" charset="0"/>
            </a:endParaRPr>
          </a:p>
        </p:txBody>
      </p:sp>
      <p:sp>
        <p:nvSpPr>
          <p:cNvPr id="16" name="Rectangle 15">
            <a:extLst>
              <a:ext uri="{FF2B5EF4-FFF2-40B4-BE49-F238E27FC236}">
                <a16:creationId xmlns:a16="http://schemas.microsoft.com/office/drawing/2014/main" id="{8D6C2219-395F-4677-9AA3-3FE0CB261227}"/>
              </a:ext>
            </a:extLst>
          </p:cNvPr>
          <p:cNvSpPr/>
          <p:nvPr/>
        </p:nvSpPr>
        <p:spPr>
          <a:xfrm>
            <a:off x="2656947" y="803367"/>
            <a:ext cx="9477267" cy="54403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E Inspira Sans"/>
              <a:ea typeface="+mn-ea"/>
              <a:cs typeface="+mn-cs"/>
            </a:endParaRPr>
          </a:p>
        </p:txBody>
      </p:sp>
      <p:sp>
        <p:nvSpPr>
          <p:cNvPr id="13" name="Rectangle 12">
            <a:extLst>
              <a:ext uri="{FF2B5EF4-FFF2-40B4-BE49-F238E27FC236}">
                <a16:creationId xmlns:a16="http://schemas.microsoft.com/office/drawing/2014/main" id="{6FD4374F-5B5F-44FC-8F90-25B8D0FD187B}"/>
              </a:ext>
            </a:extLst>
          </p:cNvPr>
          <p:cNvSpPr/>
          <p:nvPr/>
        </p:nvSpPr>
        <p:spPr>
          <a:xfrm>
            <a:off x="-8707" y="846539"/>
            <a:ext cx="2723440" cy="53971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E Inspira Sans"/>
              <a:ea typeface="+mn-ea"/>
              <a:cs typeface="+mn-cs"/>
            </a:endParaRPr>
          </a:p>
        </p:txBody>
      </p:sp>
      <p:sp>
        <p:nvSpPr>
          <p:cNvPr id="2" name="Title 1"/>
          <p:cNvSpPr>
            <a:spLocks noGrp="1"/>
          </p:cNvSpPr>
          <p:nvPr>
            <p:ph type="title"/>
          </p:nvPr>
        </p:nvSpPr>
        <p:spPr>
          <a:xfrm>
            <a:off x="568173" y="222733"/>
            <a:ext cx="11201400" cy="914400"/>
          </a:xfrm>
        </p:spPr>
        <p:txBody>
          <a:bodyPr/>
          <a:lstStyle/>
          <a:p>
            <a:r>
              <a:rPr lang="en-US" dirty="0"/>
              <a:t>GE has the Energy Storage integration solution to support you</a:t>
            </a:r>
          </a:p>
        </p:txBody>
      </p:sp>
      <p:sp>
        <p:nvSpPr>
          <p:cNvPr id="17" name="Text Placeholder 10">
            <a:extLst>
              <a:ext uri="{FF2B5EF4-FFF2-40B4-BE49-F238E27FC236}">
                <a16:creationId xmlns:a16="http://schemas.microsoft.com/office/drawing/2014/main" id="{21C8AE4D-8855-4B04-933C-FB340D5CE48F}"/>
              </a:ext>
            </a:extLst>
          </p:cNvPr>
          <p:cNvSpPr txBox="1">
            <a:spLocks/>
          </p:cNvSpPr>
          <p:nvPr/>
        </p:nvSpPr>
        <p:spPr>
          <a:xfrm>
            <a:off x="83691" y="987864"/>
            <a:ext cx="2893427" cy="365760"/>
          </a:xfrm>
          <a:prstGeom prst="rect">
            <a:avLst/>
          </a:prstGeom>
        </p:spPr>
        <p:txBody>
          <a:bodyPr/>
          <a:lstStyle>
            <a:lvl1pPr marL="0" indent="0" algn="l" defTabSz="914400" rtl="0" eaLnBrk="1" latinLnBrk="0" hangingPunct="1">
              <a:lnSpc>
                <a:spcPct val="95000"/>
              </a:lnSpc>
              <a:spcBef>
                <a:spcPts val="1200"/>
              </a:spcBef>
              <a:spcAft>
                <a:spcPts val="0"/>
              </a:spcAft>
              <a:buFont typeface="Arial" panose="020B0604020202020204" pitchFamily="34" charset="0"/>
              <a:buNone/>
              <a:defRPr sz="2800" kern="1200">
                <a:solidFill>
                  <a:schemeClr val="accent2"/>
                </a:solidFill>
                <a:latin typeface="+mn-lt"/>
                <a:ea typeface="+mn-ea"/>
                <a:cs typeface="+mn-cs"/>
              </a:defRPr>
            </a:lvl1pPr>
            <a:lvl2pPr marL="219456" indent="-168275" algn="l" defTabSz="914400" rtl="0" eaLnBrk="1" latinLnBrk="0" hangingPunct="1">
              <a:lnSpc>
                <a:spcPct val="95000"/>
              </a:lnSpc>
              <a:spcBef>
                <a:spcPts val="700"/>
              </a:spcBef>
              <a:spcAft>
                <a:spcPts val="0"/>
              </a:spcAft>
              <a:buFont typeface="Arial" panose="020B0604020202020204" pitchFamily="34" charset="0"/>
              <a:buChar char="•"/>
              <a:defRPr sz="2400" kern="1200">
                <a:solidFill>
                  <a:schemeClr val="accent2"/>
                </a:solidFill>
                <a:latin typeface="+mn-lt"/>
                <a:ea typeface="+mn-ea"/>
                <a:cs typeface="+mn-cs"/>
              </a:defRPr>
            </a:lvl2pPr>
            <a:lvl3pPr marL="461963" indent="-192024" algn="l" defTabSz="914400" rtl="0" eaLnBrk="1" latinLnBrk="0" hangingPunct="1">
              <a:lnSpc>
                <a:spcPct val="95000"/>
              </a:lnSpc>
              <a:spcBef>
                <a:spcPts val="600"/>
              </a:spcBef>
              <a:spcAft>
                <a:spcPts val="0"/>
              </a:spcAft>
              <a:buSzPct val="100000"/>
              <a:buFontTx/>
              <a:buChar char="–"/>
              <a:defRPr sz="2000" kern="1200">
                <a:solidFill>
                  <a:schemeClr val="accent2"/>
                </a:solidFill>
                <a:latin typeface="+mn-lt"/>
                <a:ea typeface="+mn-ea"/>
                <a:cs typeface="+mn-cs"/>
              </a:defRPr>
            </a:lvl3pPr>
            <a:lvl4pPr marL="682625" indent="-173038" algn="l" defTabSz="914400" rtl="0" eaLnBrk="1" latinLnBrk="0" hangingPunct="1">
              <a:lnSpc>
                <a:spcPct val="95000"/>
              </a:lnSpc>
              <a:spcBef>
                <a:spcPts val="600"/>
              </a:spcBef>
              <a:spcAft>
                <a:spcPts val="0"/>
              </a:spcAft>
              <a:buFont typeface="Arial" panose="020B0604020202020204" pitchFamily="34" charset="0"/>
              <a:buChar char="•"/>
              <a:defRPr sz="1600" kern="1200">
                <a:solidFill>
                  <a:schemeClr val="accent2"/>
                </a:solidFill>
                <a:latin typeface="+mn-lt"/>
                <a:ea typeface="+mn-ea"/>
                <a:cs typeface="+mn-cs"/>
              </a:defRPr>
            </a:lvl4pPr>
            <a:lvl5pPr marL="914400" indent="-173038" algn="l" defTabSz="914400" rtl="0" eaLnBrk="1" latinLnBrk="0" hangingPunct="1">
              <a:lnSpc>
                <a:spcPct val="95000"/>
              </a:lnSpc>
              <a:spcBef>
                <a:spcPts val="600"/>
              </a:spcBef>
              <a:spcAft>
                <a:spcPts val="0"/>
              </a:spcAft>
              <a:buClr>
                <a:schemeClr val="tx1"/>
              </a:buClr>
              <a:buSzPct val="100000"/>
              <a:buFontTx/>
              <a:buChar char="–"/>
              <a:defRPr sz="14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a:lstStyle>
          <a:p>
            <a:pPr marL="0" marR="0" lvl="0" indent="0" algn="ctr" defTabSz="914400" rtl="0" eaLnBrk="1" fontAlgn="auto" latinLnBrk="0" hangingPunct="1">
              <a:lnSpc>
                <a:spcPct val="95000"/>
              </a:lnSpc>
              <a:spcBef>
                <a:spcPts val="12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prstClr val="white"/>
                </a:solidFill>
                <a:effectLst/>
                <a:uLnTx/>
                <a:uFillTx/>
                <a:latin typeface="GE Inspira Sans"/>
                <a:ea typeface="+mn-ea"/>
                <a:cs typeface="+mn-cs"/>
              </a:rPr>
              <a:t>GE Solutions</a:t>
            </a:r>
          </a:p>
        </p:txBody>
      </p:sp>
      <p:sp>
        <p:nvSpPr>
          <p:cNvPr id="19" name="Content Placeholder 13">
            <a:extLst>
              <a:ext uri="{FF2B5EF4-FFF2-40B4-BE49-F238E27FC236}">
                <a16:creationId xmlns:a16="http://schemas.microsoft.com/office/drawing/2014/main" id="{1BC30A1E-4F47-4974-AC25-B85A583E388C}"/>
              </a:ext>
            </a:extLst>
          </p:cNvPr>
          <p:cNvSpPr txBox="1">
            <a:spLocks/>
          </p:cNvSpPr>
          <p:nvPr/>
        </p:nvSpPr>
        <p:spPr>
          <a:xfrm>
            <a:off x="83691" y="1623231"/>
            <a:ext cx="2631042" cy="4246905"/>
          </a:xfrm>
          <a:prstGeom prst="rect">
            <a:avLst/>
          </a:prstGeom>
        </p:spPr>
        <p:txBody>
          <a:bodyPr/>
          <a:lstStyle>
            <a:lvl1pPr marL="0" indent="0" algn="l" defTabSz="914400" rtl="0" eaLnBrk="1" latinLnBrk="0" hangingPunct="1">
              <a:lnSpc>
                <a:spcPct val="95000"/>
              </a:lnSpc>
              <a:spcBef>
                <a:spcPts val="1200"/>
              </a:spcBef>
              <a:spcAft>
                <a:spcPts val="0"/>
              </a:spcAft>
              <a:buFont typeface="Arial" panose="020B0604020202020204" pitchFamily="34" charset="0"/>
              <a:buNone/>
              <a:defRPr sz="2800" kern="1200">
                <a:solidFill>
                  <a:schemeClr val="accent2"/>
                </a:solidFill>
                <a:latin typeface="+mn-lt"/>
                <a:ea typeface="+mn-ea"/>
                <a:cs typeface="+mn-cs"/>
              </a:defRPr>
            </a:lvl1pPr>
            <a:lvl2pPr marL="219456" indent="-168275" algn="l" defTabSz="914400" rtl="0" eaLnBrk="1" latinLnBrk="0" hangingPunct="1">
              <a:lnSpc>
                <a:spcPct val="95000"/>
              </a:lnSpc>
              <a:spcBef>
                <a:spcPts val="700"/>
              </a:spcBef>
              <a:spcAft>
                <a:spcPts val="0"/>
              </a:spcAft>
              <a:buFont typeface="Arial" panose="020B0604020202020204" pitchFamily="34" charset="0"/>
              <a:buChar char="•"/>
              <a:defRPr sz="2400" kern="1200">
                <a:solidFill>
                  <a:schemeClr val="accent2"/>
                </a:solidFill>
                <a:latin typeface="+mn-lt"/>
                <a:ea typeface="+mn-ea"/>
                <a:cs typeface="+mn-cs"/>
              </a:defRPr>
            </a:lvl2pPr>
            <a:lvl3pPr marL="461963" indent="-192024" algn="l" defTabSz="914400" rtl="0" eaLnBrk="1" latinLnBrk="0" hangingPunct="1">
              <a:lnSpc>
                <a:spcPct val="95000"/>
              </a:lnSpc>
              <a:spcBef>
                <a:spcPts val="600"/>
              </a:spcBef>
              <a:spcAft>
                <a:spcPts val="0"/>
              </a:spcAft>
              <a:buSzPct val="100000"/>
              <a:buFontTx/>
              <a:buChar char="–"/>
              <a:defRPr sz="2000" kern="1200">
                <a:solidFill>
                  <a:schemeClr val="accent2"/>
                </a:solidFill>
                <a:latin typeface="+mn-lt"/>
                <a:ea typeface="+mn-ea"/>
                <a:cs typeface="+mn-cs"/>
              </a:defRPr>
            </a:lvl3pPr>
            <a:lvl4pPr marL="682625" indent="-173038" algn="l" defTabSz="914400" rtl="0" eaLnBrk="1" latinLnBrk="0" hangingPunct="1">
              <a:lnSpc>
                <a:spcPct val="95000"/>
              </a:lnSpc>
              <a:spcBef>
                <a:spcPts val="600"/>
              </a:spcBef>
              <a:spcAft>
                <a:spcPts val="0"/>
              </a:spcAft>
              <a:buFont typeface="Arial" panose="020B0604020202020204" pitchFamily="34" charset="0"/>
              <a:buChar char="•"/>
              <a:defRPr sz="1600" kern="1200">
                <a:solidFill>
                  <a:schemeClr val="accent2"/>
                </a:solidFill>
                <a:latin typeface="+mn-lt"/>
                <a:ea typeface="+mn-ea"/>
                <a:cs typeface="+mn-cs"/>
              </a:defRPr>
            </a:lvl4pPr>
            <a:lvl5pPr marL="914400" indent="-173038" algn="l" defTabSz="914400" rtl="0" eaLnBrk="1" latinLnBrk="0" hangingPunct="1">
              <a:lnSpc>
                <a:spcPct val="95000"/>
              </a:lnSpc>
              <a:spcBef>
                <a:spcPts val="600"/>
              </a:spcBef>
              <a:spcAft>
                <a:spcPts val="0"/>
              </a:spcAft>
              <a:buClr>
                <a:schemeClr val="tx1"/>
              </a:buClr>
              <a:buSzPct val="100000"/>
              <a:buFontTx/>
              <a:buChar char="–"/>
              <a:defRPr sz="14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a:lstStyle>
          <a:p>
            <a:pPr marL="231775" marR="0" lvl="0" indent="-231775" algn="l" defTabSz="914400" rtl="0" eaLnBrk="1" fontAlgn="b" latinLnBrk="0" hangingPunct="1">
              <a:lnSpc>
                <a:spcPct val="100000"/>
              </a:lnSpc>
              <a:spcBef>
                <a:spcPts val="12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white"/>
                </a:solidFill>
                <a:effectLst/>
                <a:uLnTx/>
                <a:uFillTx/>
                <a:latin typeface="GE Inspira Sans"/>
                <a:ea typeface="+mn-ea"/>
                <a:cs typeface="+mn-cs"/>
              </a:rPr>
              <a:t>Giga-scale, long duration bulk storage technology via Hydro &amp; Pumped Storage</a:t>
            </a:r>
          </a:p>
          <a:p>
            <a:pPr marL="231775" marR="0" lvl="0" indent="-231775" algn="l" defTabSz="914400" rtl="0" eaLnBrk="1" fontAlgn="b" latinLnBrk="0" hangingPunct="1">
              <a:lnSpc>
                <a:spcPct val="100000"/>
              </a:lnSpc>
              <a:spcBef>
                <a:spcPts val="12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white"/>
                </a:solidFill>
                <a:effectLst/>
                <a:uLnTx/>
                <a:uFillTx/>
                <a:latin typeface="GE Inspira Sans"/>
                <a:ea typeface="+mn-ea"/>
                <a:cs typeface="+mn-cs"/>
              </a:rPr>
              <a:t>Smaller-scale, intra-day battery storage technology via GE Reservoir </a:t>
            </a:r>
          </a:p>
          <a:p>
            <a:pPr marL="231775" marR="0" lvl="0" indent="-231775" algn="l" defTabSz="914400" rtl="0" eaLnBrk="1" fontAlgn="b" latinLnBrk="0" hangingPunct="1">
              <a:lnSpc>
                <a:spcPct val="100000"/>
              </a:lnSpc>
              <a:spcBef>
                <a:spcPts val="12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white"/>
                </a:solidFill>
                <a:effectLst/>
                <a:uLnTx/>
                <a:uFillTx/>
                <a:latin typeface="GE Inspira Sans"/>
                <a:ea typeface="+mn-ea"/>
                <a:cs typeface="+mn-cs"/>
              </a:rPr>
              <a:t>Hybrids solutions combining one or more renewable generation assets with storage  </a:t>
            </a:r>
          </a:p>
          <a:p>
            <a:pPr marL="231775" indent="-231775" fontAlgn="b">
              <a:lnSpc>
                <a:spcPct val="100000"/>
              </a:lnSpc>
              <a:buFont typeface="Arial" panose="020B0604020202020204" pitchFamily="34" charset="0"/>
              <a:buChar char="•"/>
              <a:defRPr/>
            </a:pPr>
            <a:r>
              <a:rPr lang="en-US" sz="1400" b="1" dirty="0">
                <a:solidFill>
                  <a:schemeClr val="bg1"/>
                </a:solidFill>
                <a:latin typeface="GE Inspira Sans" panose="020B0503060000000003" pitchFamily="34" charset="0"/>
              </a:rPr>
              <a:t>GE system planning &amp; modeling expertise provides a roadmap to help achieve renewables and energy storage integration objectives across region</a:t>
            </a:r>
          </a:p>
        </p:txBody>
      </p:sp>
      <p:sp>
        <p:nvSpPr>
          <p:cNvPr id="32" name="Rectangle: Top Corners Rounded 31">
            <a:extLst>
              <a:ext uri="{FF2B5EF4-FFF2-40B4-BE49-F238E27FC236}">
                <a16:creationId xmlns:a16="http://schemas.microsoft.com/office/drawing/2014/main" id="{A620D825-BD5F-470A-9D1D-C4282E766EFD}"/>
              </a:ext>
            </a:extLst>
          </p:cNvPr>
          <p:cNvSpPr/>
          <p:nvPr/>
        </p:nvSpPr>
        <p:spPr>
          <a:xfrm rot="5400000">
            <a:off x="950190" y="-112555"/>
            <a:ext cx="593725" cy="2631041"/>
          </a:xfrm>
          <a:prstGeom prst="round2SameRect">
            <a:avLst>
              <a:gd name="adj1" fmla="val 0"/>
              <a:gd name="adj2" fmla="val 0"/>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GE Inspira Sans"/>
              <a:ea typeface="+mn-ea"/>
              <a:cs typeface="+mn-cs"/>
            </a:endParaRPr>
          </a:p>
        </p:txBody>
      </p:sp>
      <p:sp>
        <p:nvSpPr>
          <p:cNvPr id="9" name="Rectangle 8">
            <a:extLst>
              <a:ext uri="{FF2B5EF4-FFF2-40B4-BE49-F238E27FC236}">
                <a16:creationId xmlns:a16="http://schemas.microsoft.com/office/drawing/2014/main" id="{0B092316-9607-41C0-8E1B-5F0A4CD0E7B2}"/>
              </a:ext>
            </a:extLst>
          </p:cNvPr>
          <p:cNvSpPr/>
          <p:nvPr/>
        </p:nvSpPr>
        <p:spPr>
          <a:xfrm>
            <a:off x="5269612" y="3096043"/>
            <a:ext cx="2354433" cy="2774093"/>
          </a:xfrm>
          <a:prstGeom prst="rect">
            <a:avLst/>
          </a:prstGeom>
          <a:noFill/>
          <a:ln>
            <a:noFill/>
          </a:ln>
        </p:spPr>
        <p:txBody>
          <a:bodyPr wrap="square">
            <a:spAutoFit/>
          </a:bodyPr>
          <a:lstStyle/>
          <a:p>
            <a:pPr marL="0" marR="0" lvl="0" indent="0" algn="l" defTabSz="914400" rtl="0" eaLnBrk="1" fontAlgn="auto" latinLnBrk="0" hangingPunct="1">
              <a:lnSpc>
                <a:spcPct val="99000"/>
              </a:lnSpc>
              <a:spcBef>
                <a:spcPts val="0"/>
              </a:spcBef>
              <a:spcAft>
                <a:spcPts val="0"/>
              </a:spcAft>
              <a:buClr>
                <a:srgbClr val="0070C0"/>
              </a:buClr>
              <a:buSzTx/>
              <a:buFontTx/>
              <a:buNone/>
              <a:tabLst/>
              <a:defRPr/>
            </a:pPr>
            <a:r>
              <a:rPr kumimoji="0" lang="en-US" sz="1100" b="1" i="0" u="none" strike="noStrike" kern="1200" cap="none" spc="0" normalizeH="0" baseline="0" noProof="0" dirty="0">
                <a:ln>
                  <a:noFill/>
                </a:ln>
                <a:solidFill>
                  <a:srgbClr val="0070C0"/>
                </a:solidFill>
                <a:effectLst/>
                <a:uLnTx/>
                <a:uFillTx/>
                <a:latin typeface="GE Inspira Sans"/>
                <a:ea typeface="+mn-ea"/>
                <a:cs typeface="+mn-cs"/>
                <a:sym typeface="Wingdings" panose="05000000000000000000" pitchFamily="2" charset="2"/>
              </a:rPr>
              <a:t>Useful For</a:t>
            </a:r>
          </a:p>
          <a:p>
            <a:pPr marL="171450" marR="0" lvl="0" indent="-171450" algn="l" defTabSz="914400" rtl="0" eaLnBrk="1" fontAlgn="auto" latinLnBrk="0" hangingPunct="1">
              <a:lnSpc>
                <a:spcPct val="99000"/>
              </a:lnSpc>
              <a:spcBef>
                <a:spcPts val="0"/>
              </a:spcBef>
              <a:spcAft>
                <a:spcPts val="0"/>
              </a:spcAft>
              <a:buClr>
                <a:srgbClr val="0070C0"/>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All ancillary services (frequency response, blackstart)</a:t>
            </a:r>
          </a:p>
          <a:p>
            <a:pPr marL="171450" marR="0" lvl="0" indent="-171450" algn="l" defTabSz="914400" rtl="0" eaLnBrk="1" fontAlgn="auto" latinLnBrk="0" hangingPunct="1">
              <a:lnSpc>
                <a:spcPct val="99000"/>
              </a:lnSpc>
              <a:spcBef>
                <a:spcPts val="0"/>
              </a:spcBef>
              <a:spcAft>
                <a:spcPts val="0"/>
              </a:spcAft>
              <a:buClr>
                <a:srgbClr val="0070C0"/>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Ramp rate control at plant level</a:t>
            </a:r>
          </a:p>
          <a:p>
            <a:pPr marL="171450" marR="0" lvl="0" indent="-171450" algn="l" defTabSz="914400" rtl="0" eaLnBrk="1" fontAlgn="auto" latinLnBrk="0" hangingPunct="1">
              <a:lnSpc>
                <a:spcPct val="99000"/>
              </a:lnSpc>
              <a:spcBef>
                <a:spcPts val="0"/>
              </a:spcBef>
              <a:spcAft>
                <a:spcPts val="0"/>
              </a:spcAft>
              <a:buClr>
                <a:srgbClr val="0070C0"/>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Energy shifting; peaking (capacity)</a:t>
            </a:r>
          </a:p>
          <a:p>
            <a:pPr marL="171450" marR="0" lvl="0" indent="-171450" algn="l" defTabSz="914400" rtl="0" eaLnBrk="1" fontAlgn="auto" latinLnBrk="0" hangingPunct="1">
              <a:lnSpc>
                <a:spcPct val="99000"/>
              </a:lnSpc>
              <a:spcBef>
                <a:spcPts val="0"/>
              </a:spcBef>
              <a:spcAft>
                <a:spcPts val="0"/>
              </a:spcAft>
              <a:buClr>
                <a:srgbClr val="0070C0"/>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High round trip efficiency (&gt;88%)</a:t>
            </a:r>
          </a:p>
          <a:p>
            <a:pPr marL="171450" marR="0" lvl="0" indent="-171450" algn="l" defTabSz="914400" rtl="0" eaLnBrk="1" fontAlgn="auto" latinLnBrk="0" hangingPunct="1">
              <a:lnSpc>
                <a:spcPct val="99000"/>
              </a:lnSpc>
              <a:spcBef>
                <a:spcPts val="0"/>
              </a:spcBef>
              <a:spcAft>
                <a:spcPts val="0"/>
              </a:spcAft>
              <a:buClr>
                <a:srgbClr val="0070C0"/>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Modular &amp; scalable configurations</a:t>
            </a:r>
          </a:p>
          <a:p>
            <a:pPr marL="171450" marR="0" lvl="0" indent="-171450" algn="l" defTabSz="914400" rtl="0" eaLnBrk="1" fontAlgn="auto" latinLnBrk="0" hangingPunct="1">
              <a:lnSpc>
                <a:spcPct val="99000"/>
              </a:lnSpc>
              <a:spcBef>
                <a:spcPts val="0"/>
              </a:spcBef>
              <a:spcAft>
                <a:spcPts val="0"/>
              </a:spcAft>
              <a:buClr>
                <a:srgbClr val="0070C0"/>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Quick delivery time (3-6 months)</a:t>
            </a:r>
          </a:p>
          <a:p>
            <a:pPr marL="171450" marR="0" lvl="0" indent="-171450" algn="l" defTabSz="914400" rtl="0" eaLnBrk="1" fontAlgn="auto" latinLnBrk="0" hangingPunct="1">
              <a:lnSpc>
                <a:spcPct val="99000"/>
              </a:lnSpc>
              <a:spcBef>
                <a:spcPts val="0"/>
              </a:spcBef>
              <a:spcAft>
                <a:spcPts val="0"/>
              </a:spcAft>
              <a:buClr>
                <a:srgbClr val="0070C0"/>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DC- or AC-coupled solar + storage</a:t>
            </a:r>
          </a:p>
          <a:p>
            <a:pPr marL="171450" marR="0" lvl="0" indent="-171450" algn="l" defTabSz="914400" rtl="0" eaLnBrk="1" fontAlgn="auto" latinLnBrk="0" hangingPunct="1">
              <a:lnSpc>
                <a:spcPct val="99000"/>
              </a:lnSpc>
              <a:spcBef>
                <a:spcPts val="0"/>
              </a:spcBef>
              <a:spcAft>
                <a:spcPts val="0"/>
              </a:spcAft>
              <a:buClr>
                <a:srgbClr val="0070C0"/>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endParaRPr>
          </a:p>
          <a:p>
            <a:pPr marL="0" marR="0" lvl="0" indent="0" algn="l" defTabSz="914400" rtl="0" eaLnBrk="1" fontAlgn="auto" latinLnBrk="0" hangingPunct="1">
              <a:lnSpc>
                <a:spcPct val="99000"/>
              </a:lnSpc>
              <a:spcBef>
                <a:spcPts val="0"/>
              </a:spcBef>
              <a:spcAft>
                <a:spcPts val="0"/>
              </a:spcAft>
              <a:buClr>
                <a:srgbClr val="0070C0"/>
              </a:buClr>
              <a:buSzTx/>
              <a:buFontTx/>
              <a:buNone/>
              <a:tabLst/>
              <a:defRPr/>
            </a:pPr>
            <a:r>
              <a:rPr kumimoji="0" lang="en-US" sz="1100" b="1" i="0" u="none" strike="noStrike" kern="1200" cap="none" spc="0" normalizeH="0" baseline="0" noProof="0" dirty="0">
                <a:ln>
                  <a:noFill/>
                </a:ln>
                <a:solidFill>
                  <a:srgbClr val="0070C0"/>
                </a:solidFill>
                <a:effectLst/>
                <a:uLnTx/>
                <a:uFillTx/>
                <a:latin typeface="GE Inspira Sans"/>
                <a:ea typeface="+mn-ea"/>
                <a:cs typeface="+mn-cs"/>
                <a:sym typeface="Wingdings" panose="05000000000000000000" pitchFamily="2" charset="2"/>
              </a:rPr>
              <a:t>GE’s value proposition</a:t>
            </a:r>
          </a:p>
          <a:p>
            <a:pPr marL="171450" marR="0" lvl="0" indent="-171450" algn="l" defTabSz="914400" rtl="0" eaLnBrk="1" fontAlgn="auto" latinLnBrk="0" hangingPunct="1">
              <a:lnSpc>
                <a:spcPct val="99000"/>
              </a:lnSpc>
              <a:spcBef>
                <a:spcPts val="0"/>
              </a:spcBef>
              <a:spcAft>
                <a:spcPts val="0"/>
              </a:spcAft>
              <a:buClr>
                <a:srgbClr val="0070C0"/>
              </a:buClr>
              <a:buSzTx/>
              <a:buFont typeface="Wingdings" panose="05000000000000000000" pitchFamily="2" charset="2"/>
              <a:buChar char="ü"/>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Up to 15% extended battery life</a:t>
            </a:r>
          </a:p>
          <a:p>
            <a:pPr marL="171450" marR="0" lvl="0" indent="-171450" algn="l" defTabSz="914400" rtl="0" eaLnBrk="1" fontAlgn="auto" latinLnBrk="0" hangingPunct="1">
              <a:lnSpc>
                <a:spcPct val="99000"/>
              </a:lnSpc>
              <a:spcBef>
                <a:spcPts val="0"/>
              </a:spcBef>
              <a:spcAft>
                <a:spcPts val="0"/>
              </a:spcAft>
              <a:buClr>
                <a:srgbClr val="0070C0"/>
              </a:buClr>
              <a:buSzTx/>
              <a:buFont typeface="Wingdings" panose="05000000000000000000" pitchFamily="2" charset="2"/>
              <a:buChar char="ü"/>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Up to 50% more solar energy sales</a:t>
            </a:r>
          </a:p>
          <a:p>
            <a:pPr marL="171450" marR="0" lvl="0" indent="-171450" algn="l" defTabSz="914400" rtl="0" eaLnBrk="1" fontAlgn="auto" latinLnBrk="0" hangingPunct="1">
              <a:lnSpc>
                <a:spcPct val="99000"/>
              </a:lnSpc>
              <a:spcBef>
                <a:spcPts val="0"/>
              </a:spcBef>
              <a:spcAft>
                <a:spcPts val="0"/>
              </a:spcAft>
              <a:buClr>
                <a:srgbClr val="0070C0"/>
              </a:buClr>
              <a:buSzTx/>
              <a:buFont typeface="Wingdings" panose="05000000000000000000" pitchFamily="2" charset="2"/>
              <a:buChar char="ü"/>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Up to 10x improved safety by reducing fault current</a:t>
            </a:r>
          </a:p>
        </p:txBody>
      </p:sp>
      <p:sp>
        <p:nvSpPr>
          <p:cNvPr id="14" name="Rectangle 13">
            <a:extLst>
              <a:ext uri="{FF2B5EF4-FFF2-40B4-BE49-F238E27FC236}">
                <a16:creationId xmlns:a16="http://schemas.microsoft.com/office/drawing/2014/main" id="{2607CE3D-6BCF-4CB5-AE51-C58AEAB632C4}"/>
              </a:ext>
            </a:extLst>
          </p:cNvPr>
          <p:cNvSpPr/>
          <p:nvPr/>
        </p:nvSpPr>
        <p:spPr>
          <a:xfrm>
            <a:off x="2898975" y="3010342"/>
            <a:ext cx="2370637" cy="3127651"/>
          </a:xfrm>
          <a:prstGeom prst="rect">
            <a:avLst/>
          </a:prstGeom>
          <a:noFill/>
          <a:ln>
            <a:noFill/>
          </a:ln>
        </p:spPr>
        <p:txBody>
          <a:bodyPr wrap="square">
            <a:spAutoFit/>
          </a:bodyPr>
          <a:lstStyle/>
          <a:p>
            <a:pPr marL="0" marR="0" lvl="0" indent="0" algn="l" defTabSz="914400" rtl="0" eaLnBrk="1" fontAlgn="auto" latinLnBrk="0" hangingPunct="1">
              <a:lnSpc>
                <a:spcPct val="99000"/>
              </a:lnSpc>
              <a:spcBef>
                <a:spcPts val="0"/>
              </a:spcBef>
              <a:spcAft>
                <a:spcPts val="0"/>
              </a:spcAft>
              <a:buClr>
                <a:srgbClr val="0070C0"/>
              </a:buClr>
              <a:buSzTx/>
              <a:buFontTx/>
              <a:buNone/>
              <a:tabLst/>
              <a:defRPr/>
            </a:pPr>
            <a:r>
              <a:rPr kumimoji="0" lang="en-US" sz="1100" b="1" i="0" u="none" strike="noStrike" kern="1200" cap="none" spc="0" normalizeH="0" baseline="0" noProof="0" dirty="0">
                <a:ln>
                  <a:noFill/>
                </a:ln>
                <a:solidFill>
                  <a:srgbClr val="0070C0"/>
                </a:solidFill>
                <a:effectLst/>
                <a:uLnTx/>
                <a:uFillTx/>
                <a:latin typeface="GE Inspira Sans"/>
                <a:ea typeface="+mn-ea"/>
                <a:cs typeface="+mn-cs"/>
                <a:sym typeface="Wingdings" panose="05000000000000000000" pitchFamily="2" charset="2"/>
              </a:rPr>
              <a:t>Useful For</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rPr>
              <a:t>Cost competitive large-scale solution</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rPr>
              <a:t>Sustainable &amp; Renewable solution</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rPr>
              <a:t>Flexibility for balancing baseload generation, time-shifting and peaking</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rPr>
              <a:t>Enhanced  frequency response and ancillary services (inertia, black start)</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rPr>
              <a:t>High round trip efficiency (~80%)</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70C0"/>
              </a:solidFill>
              <a:effectLst/>
              <a:uLnTx/>
              <a:uFillTx/>
              <a:latin typeface="GE Inspira Sans"/>
              <a:ea typeface="+mn-ea"/>
              <a:cs typeface="+mn-cs"/>
              <a:sym typeface="Wingdings" panose="05000000000000000000" pitchFamily="2" charset="2"/>
            </a:endParaRPr>
          </a:p>
          <a:p>
            <a:pPr marL="0" marR="0" lvl="0" indent="0" algn="l" defTabSz="914400" rtl="0" eaLnBrk="1" fontAlgn="auto" latinLnBrk="0" hangingPunct="1">
              <a:lnSpc>
                <a:spcPct val="99000"/>
              </a:lnSpc>
              <a:spcBef>
                <a:spcPts val="0"/>
              </a:spcBef>
              <a:spcAft>
                <a:spcPts val="0"/>
              </a:spcAft>
              <a:buClr>
                <a:srgbClr val="0070C0"/>
              </a:buClr>
              <a:buSzTx/>
              <a:buFontTx/>
              <a:buNone/>
              <a:tabLst/>
              <a:defRPr/>
            </a:pPr>
            <a:r>
              <a:rPr kumimoji="0" lang="en-US" sz="1100" b="1" i="0" u="none" strike="noStrike" kern="1200" cap="none" spc="0" normalizeH="0" baseline="0" noProof="0" dirty="0">
                <a:ln>
                  <a:noFill/>
                </a:ln>
                <a:solidFill>
                  <a:srgbClr val="0070C0"/>
                </a:solidFill>
                <a:effectLst/>
                <a:uLnTx/>
                <a:uFillTx/>
                <a:latin typeface="GE Inspira Sans"/>
                <a:ea typeface="+mn-ea"/>
                <a:cs typeface="+mn-cs"/>
                <a:sym typeface="Wingdings" panose="05000000000000000000" pitchFamily="2" charset="2"/>
              </a:rPr>
              <a:t>GE’s value proposition</a:t>
            </a:r>
          </a:p>
          <a:p>
            <a:pPr marL="171450" marR="0" lvl="0" indent="-171450" algn="l" defTabSz="914400" rtl="0" eaLnBrk="1" fontAlgn="auto" latinLnBrk="0" hangingPunct="1">
              <a:lnSpc>
                <a:spcPct val="99000"/>
              </a:lnSpc>
              <a:spcBef>
                <a:spcPts val="0"/>
              </a:spcBef>
              <a:spcAft>
                <a:spcPts val="0"/>
              </a:spcAft>
              <a:buClr>
                <a:srgbClr val="0070C0"/>
              </a:buClr>
              <a:buSzTx/>
              <a:buFont typeface="Wingdings" panose="05000000000000000000" pitchFamily="2" charset="2"/>
              <a:buChar char="ü"/>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160 GW installed base, including </a:t>
            </a:r>
            <a:b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b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50 GW using GE technology</a:t>
            </a:r>
          </a:p>
          <a:p>
            <a:pPr marL="171450" marR="0" lvl="0" indent="-171450" algn="l" defTabSz="914400" rtl="0" eaLnBrk="1" fontAlgn="auto" latinLnBrk="0" hangingPunct="1">
              <a:lnSpc>
                <a:spcPct val="99000"/>
              </a:lnSpc>
              <a:spcBef>
                <a:spcPts val="0"/>
              </a:spcBef>
              <a:spcAft>
                <a:spcPts val="0"/>
              </a:spcAft>
              <a:buClr>
                <a:srgbClr val="0070C0"/>
              </a:buClr>
              <a:buSzTx/>
              <a:buFont typeface="Wingdings" panose="05000000000000000000" pitchFamily="2" charset="2"/>
              <a:buChar char="ü"/>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Response time in milliseconds for Variable Speed technology</a:t>
            </a:r>
          </a:p>
          <a:p>
            <a:pPr marL="171450" marR="0" lvl="0" indent="-171450" algn="l" defTabSz="914400" rtl="0" eaLnBrk="1" fontAlgn="auto" latinLnBrk="0" hangingPunct="1">
              <a:lnSpc>
                <a:spcPct val="99000"/>
              </a:lnSpc>
              <a:spcBef>
                <a:spcPts val="0"/>
              </a:spcBef>
              <a:spcAft>
                <a:spcPts val="0"/>
              </a:spcAft>
              <a:buClr>
                <a:srgbClr val="0070C0"/>
              </a:buClr>
              <a:buSzTx/>
              <a:buFont typeface="Wingdings" panose="05000000000000000000" pitchFamily="2" charset="2"/>
              <a:buChar char="ü"/>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Up to 34 GWh of storage capacity</a:t>
            </a:r>
          </a:p>
        </p:txBody>
      </p:sp>
      <p:sp>
        <p:nvSpPr>
          <p:cNvPr id="18" name="TextBox 17">
            <a:extLst>
              <a:ext uri="{FF2B5EF4-FFF2-40B4-BE49-F238E27FC236}">
                <a16:creationId xmlns:a16="http://schemas.microsoft.com/office/drawing/2014/main" id="{5E83B2E7-31EE-4352-8A5B-AD935C11B9A9}"/>
              </a:ext>
            </a:extLst>
          </p:cNvPr>
          <p:cNvSpPr txBox="1"/>
          <p:nvPr/>
        </p:nvSpPr>
        <p:spPr>
          <a:xfrm>
            <a:off x="2945184" y="864462"/>
            <a:ext cx="2351926" cy="338554"/>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B0F0"/>
                </a:solidFill>
                <a:effectLst/>
                <a:uLnTx/>
                <a:uFillTx/>
                <a:latin typeface="GE Inspira Sans"/>
                <a:ea typeface="+mn-ea"/>
                <a:cs typeface="Arial" pitchFamily="34" charset="0"/>
              </a:rPr>
              <a:t>Pumped Storage Hydro</a:t>
            </a:r>
          </a:p>
        </p:txBody>
      </p:sp>
      <p:sp>
        <p:nvSpPr>
          <p:cNvPr id="21" name="TextBox 20">
            <a:extLst>
              <a:ext uri="{FF2B5EF4-FFF2-40B4-BE49-F238E27FC236}">
                <a16:creationId xmlns:a16="http://schemas.microsoft.com/office/drawing/2014/main" id="{6DB25A15-EA36-4939-B66F-E90DA990E0EE}"/>
              </a:ext>
            </a:extLst>
          </p:cNvPr>
          <p:cNvSpPr txBox="1"/>
          <p:nvPr/>
        </p:nvSpPr>
        <p:spPr>
          <a:xfrm>
            <a:off x="5382461" y="883933"/>
            <a:ext cx="2151268"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B0F0"/>
                </a:solidFill>
                <a:effectLst/>
                <a:uLnTx/>
                <a:uFillTx/>
                <a:latin typeface="GE Inspira Sans"/>
                <a:ea typeface="+mn-ea"/>
                <a:cs typeface="Arial" pitchFamily="34" charset="0"/>
              </a:rPr>
              <a:t>GE Reservoir</a:t>
            </a:r>
          </a:p>
        </p:txBody>
      </p:sp>
      <p:sp>
        <p:nvSpPr>
          <p:cNvPr id="23" name="Rectangle 22">
            <a:extLst>
              <a:ext uri="{FF2B5EF4-FFF2-40B4-BE49-F238E27FC236}">
                <a16:creationId xmlns:a16="http://schemas.microsoft.com/office/drawing/2014/main" id="{88E7EE9B-DBAE-4C79-B28B-8260441C4267}"/>
              </a:ext>
            </a:extLst>
          </p:cNvPr>
          <p:cNvSpPr/>
          <p:nvPr/>
        </p:nvSpPr>
        <p:spPr>
          <a:xfrm>
            <a:off x="7624045" y="3010342"/>
            <a:ext cx="2260144" cy="2941703"/>
          </a:xfrm>
          <a:prstGeom prst="rect">
            <a:avLst/>
          </a:prstGeom>
          <a:noFill/>
          <a:ln>
            <a:noFill/>
          </a:ln>
        </p:spPr>
        <p:txBody>
          <a:bodyPr wrap="square">
            <a:spAutoFit/>
          </a:bodyPr>
          <a:lstStyle/>
          <a:p>
            <a:pPr marL="0" marR="0" lvl="0" indent="0" algn="l" defTabSz="914400" rtl="0" eaLnBrk="1" fontAlgn="auto" latinLnBrk="0" hangingPunct="1">
              <a:lnSpc>
                <a:spcPct val="99000"/>
              </a:lnSpc>
              <a:spcBef>
                <a:spcPts val="0"/>
              </a:spcBef>
              <a:spcAft>
                <a:spcPts val="0"/>
              </a:spcAft>
              <a:buClr>
                <a:srgbClr val="0070C0"/>
              </a:buClr>
              <a:buSzTx/>
              <a:buFontTx/>
              <a:buNone/>
              <a:tabLst/>
              <a:defRPr/>
            </a:pPr>
            <a:r>
              <a:rPr kumimoji="0" lang="en-US" sz="1100" b="1" i="0" u="none" strike="noStrike" kern="1200" cap="none" spc="0" normalizeH="0" baseline="0" noProof="0" dirty="0">
                <a:ln>
                  <a:noFill/>
                </a:ln>
                <a:solidFill>
                  <a:srgbClr val="0070C0"/>
                </a:solidFill>
                <a:effectLst/>
                <a:uLnTx/>
                <a:uFillTx/>
                <a:latin typeface="GE Inspira Sans"/>
                <a:ea typeface="+mn-ea"/>
                <a:cs typeface="+mn-cs"/>
                <a:sym typeface="Wingdings" panose="05000000000000000000" pitchFamily="2" charset="2"/>
              </a:rPr>
              <a:t>Useful For</a:t>
            </a:r>
          </a:p>
          <a:p>
            <a:pPr marL="171450" marR="0" lvl="0" indent="-171450" algn="l" defTabSz="914400" rtl="0" eaLnBrk="1" fontAlgn="auto" latinLnBrk="0" hangingPunct="1">
              <a:lnSpc>
                <a:spcPct val="99000"/>
              </a:lnSpc>
              <a:spcBef>
                <a:spcPts val="0"/>
              </a:spcBef>
              <a:spcAft>
                <a:spcPts val="0"/>
              </a:spcAft>
              <a:buClr>
                <a:srgbClr val="0070C0"/>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Lower O&amp;M costs</a:t>
            </a:r>
          </a:p>
          <a:p>
            <a:pPr marL="171450" marR="0" lvl="0" indent="-171450" algn="l" defTabSz="914400" rtl="0" eaLnBrk="1" fontAlgn="auto" latinLnBrk="0" hangingPunct="1">
              <a:lnSpc>
                <a:spcPct val="99000"/>
              </a:lnSpc>
              <a:spcBef>
                <a:spcPts val="0"/>
              </a:spcBef>
              <a:spcAft>
                <a:spcPts val="0"/>
              </a:spcAft>
              <a:buClr>
                <a:srgbClr val="0070C0"/>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Increase AEP</a:t>
            </a:r>
          </a:p>
          <a:p>
            <a:pPr marL="171450" marR="0" lvl="0" indent="-171450" algn="l" defTabSz="914400" rtl="0" eaLnBrk="1" fontAlgn="auto" latinLnBrk="0" hangingPunct="1">
              <a:lnSpc>
                <a:spcPct val="99000"/>
              </a:lnSpc>
              <a:spcBef>
                <a:spcPts val="0"/>
              </a:spcBef>
              <a:spcAft>
                <a:spcPts val="0"/>
              </a:spcAft>
              <a:buClr>
                <a:srgbClr val="0070C0"/>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Lower CAPEX with sharing of existing infrastructure (Substation, Switchgear, access to road and land, Grid Connection)</a:t>
            </a:r>
          </a:p>
          <a:p>
            <a:pPr marL="0" marR="0" lvl="0" indent="0" algn="l" defTabSz="914400" rtl="0" eaLnBrk="1" fontAlgn="auto" latinLnBrk="0" hangingPunct="1">
              <a:lnSpc>
                <a:spcPct val="99000"/>
              </a:lnSpc>
              <a:spcBef>
                <a:spcPts val="0"/>
              </a:spcBef>
              <a:spcAft>
                <a:spcPts val="0"/>
              </a:spcAft>
              <a:buClr>
                <a:srgbClr val="0070C0"/>
              </a:buClr>
              <a:buSzTx/>
              <a:buFontTx/>
              <a:buNone/>
              <a:tabLst/>
              <a:defRPr/>
            </a:pPr>
            <a:endPar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endParaRPr>
          </a:p>
          <a:p>
            <a:pPr marL="0" marR="0" lvl="0" indent="0" algn="l" defTabSz="914400" rtl="0" eaLnBrk="1" fontAlgn="auto" latinLnBrk="0" hangingPunct="1">
              <a:lnSpc>
                <a:spcPct val="99000"/>
              </a:lnSpc>
              <a:spcBef>
                <a:spcPts val="0"/>
              </a:spcBef>
              <a:spcAft>
                <a:spcPts val="0"/>
              </a:spcAft>
              <a:buClr>
                <a:srgbClr val="0070C0"/>
              </a:buClr>
              <a:buSzTx/>
              <a:buFontTx/>
              <a:buNone/>
              <a:tabLst/>
              <a:defRPr/>
            </a:pPr>
            <a:endPar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endParaRPr>
          </a:p>
          <a:p>
            <a:pPr marL="0" marR="0" lvl="0" indent="0" algn="l" defTabSz="914400" rtl="0" eaLnBrk="1" fontAlgn="auto" latinLnBrk="0" hangingPunct="1">
              <a:lnSpc>
                <a:spcPct val="99000"/>
              </a:lnSpc>
              <a:spcBef>
                <a:spcPts val="0"/>
              </a:spcBef>
              <a:spcAft>
                <a:spcPts val="0"/>
              </a:spcAft>
              <a:buClr>
                <a:srgbClr val="0070C0"/>
              </a:buClr>
              <a:buSzTx/>
              <a:buFontTx/>
              <a:buNone/>
              <a:tabLst/>
              <a:defRPr/>
            </a:pPr>
            <a:r>
              <a:rPr kumimoji="0" lang="en-US" sz="1100" b="1" i="0" u="none" strike="noStrike" kern="1200" cap="none" spc="0" normalizeH="0" baseline="0" noProof="0" dirty="0">
                <a:ln>
                  <a:noFill/>
                </a:ln>
                <a:solidFill>
                  <a:srgbClr val="0070C0"/>
                </a:solidFill>
                <a:effectLst/>
                <a:uLnTx/>
                <a:uFillTx/>
                <a:latin typeface="GE Inspira Sans"/>
                <a:ea typeface="+mn-ea"/>
                <a:cs typeface="+mn-cs"/>
                <a:sym typeface="Wingdings" panose="05000000000000000000" pitchFamily="2" charset="2"/>
              </a:rPr>
              <a:t>GE’s value proposition</a:t>
            </a:r>
          </a:p>
          <a:p>
            <a:pPr marL="171450" marR="0" lvl="0" indent="-171450" algn="l" defTabSz="914400" rtl="0" eaLnBrk="1" fontAlgn="auto" latinLnBrk="0" hangingPunct="1">
              <a:lnSpc>
                <a:spcPct val="99000"/>
              </a:lnSpc>
              <a:spcBef>
                <a:spcPts val="0"/>
              </a:spcBef>
              <a:spcAft>
                <a:spcPts val="0"/>
              </a:spcAft>
              <a:buClr>
                <a:srgbClr val="0070C0"/>
              </a:buClr>
              <a:buSzTx/>
              <a:buFont typeface="Wingdings" panose="05000000000000000000" pitchFamily="2" charset="2"/>
              <a:buChar char="ü"/>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Energy Storage in the from of Battery or Pumped Storage</a:t>
            </a:r>
          </a:p>
          <a:p>
            <a:pPr marL="171450" marR="0" lvl="0" indent="-171450" algn="l" defTabSz="914400" rtl="0" eaLnBrk="1" fontAlgn="auto" latinLnBrk="0" hangingPunct="1">
              <a:lnSpc>
                <a:spcPct val="99000"/>
              </a:lnSpc>
              <a:spcBef>
                <a:spcPts val="0"/>
              </a:spcBef>
              <a:spcAft>
                <a:spcPts val="0"/>
              </a:spcAft>
              <a:buClr>
                <a:srgbClr val="0070C0"/>
              </a:buClr>
              <a:buSzTx/>
              <a:buFont typeface="Wingdings" panose="05000000000000000000" pitchFamily="2" charset="2"/>
              <a:buChar char="ü"/>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Integrated farm with a single Hybrid controls system for plant optimization (lower CAPEX &amp; faster response)</a:t>
            </a:r>
          </a:p>
        </p:txBody>
      </p:sp>
      <p:sp>
        <p:nvSpPr>
          <p:cNvPr id="24" name="TextBox 19">
            <a:extLst>
              <a:ext uri="{FF2B5EF4-FFF2-40B4-BE49-F238E27FC236}">
                <a16:creationId xmlns:a16="http://schemas.microsoft.com/office/drawing/2014/main" id="{71C942B4-144B-4BAE-A02A-DAB0AB9E83E8}"/>
              </a:ext>
            </a:extLst>
          </p:cNvPr>
          <p:cNvSpPr txBox="1"/>
          <p:nvPr/>
        </p:nvSpPr>
        <p:spPr>
          <a:xfrm>
            <a:off x="7694342" y="944393"/>
            <a:ext cx="2187734"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B0F0"/>
                </a:solidFill>
                <a:effectLst/>
                <a:uLnTx/>
                <a:uFillTx/>
                <a:latin typeface="GE Inspira Sans"/>
                <a:ea typeface="+mn-ea"/>
                <a:cs typeface="Arial" pitchFamily="34" charset="0"/>
              </a:rPr>
              <a:t>Hybrids</a:t>
            </a:r>
          </a:p>
        </p:txBody>
      </p:sp>
      <p:pic>
        <p:nvPicPr>
          <p:cNvPr id="25" name="Picture 2" descr="energy-story-page">
            <a:extLst>
              <a:ext uri="{FF2B5EF4-FFF2-40B4-BE49-F238E27FC236}">
                <a16:creationId xmlns:a16="http://schemas.microsoft.com/office/drawing/2014/main" id="{83209169-E7FA-4913-8D5D-9C99DAA5F20A}"/>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842868" y="1503363"/>
            <a:ext cx="1954275" cy="1244959"/>
          </a:xfrm>
          <a:prstGeom prst="rect">
            <a:avLst/>
          </a:prstGeom>
          <a:noFill/>
          <a:extLst>
            <a:ext uri="{909E8E84-426E-40DD-AFC4-6F175D3DCCD1}">
              <a14:hiddenFill xmlns:a14="http://schemas.microsoft.com/office/drawing/2010/main">
                <a:solidFill>
                  <a:srgbClr val="FFFFFF"/>
                </a:solidFill>
              </a14:hiddenFill>
            </a:ext>
          </a:extLst>
        </p:spPr>
      </p:pic>
      <p:pic>
        <p:nvPicPr>
          <p:cNvPr id="26" name="Image 25">
            <a:extLst>
              <a:ext uri="{FF2B5EF4-FFF2-40B4-BE49-F238E27FC236}">
                <a16:creationId xmlns:a16="http://schemas.microsoft.com/office/drawing/2014/main" id="{F496CD49-829E-497E-B807-A86DBD35A4E8}"/>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l="-2126"/>
          <a:stretch/>
        </p:blipFill>
        <p:spPr>
          <a:xfrm>
            <a:off x="2990426" y="1305118"/>
            <a:ext cx="2187734" cy="1537238"/>
          </a:xfrm>
          <a:prstGeom prst="rect">
            <a:avLst/>
          </a:prstGeom>
        </p:spPr>
      </p:pic>
      <p:pic>
        <p:nvPicPr>
          <p:cNvPr id="28" name="Picture 37">
            <a:extLst>
              <a:ext uri="{FF2B5EF4-FFF2-40B4-BE49-F238E27FC236}">
                <a16:creationId xmlns:a16="http://schemas.microsoft.com/office/drawing/2014/main" id="{A2EB0399-EE0B-458E-8E0E-67931015D49A}"/>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550373" y="1267064"/>
            <a:ext cx="2007237" cy="1534562"/>
          </a:xfrm>
          <a:prstGeom prst="rect">
            <a:avLst/>
          </a:prstGeom>
        </p:spPr>
      </p:pic>
      <p:sp>
        <p:nvSpPr>
          <p:cNvPr id="22" name="Slide Number Placeholder 5">
            <a:extLst>
              <a:ext uri="{FF2B5EF4-FFF2-40B4-BE49-F238E27FC236}">
                <a16:creationId xmlns:a16="http://schemas.microsoft.com/office/drawing/2014/main" id="{0F7EA703-A658-44D9-9F0F-1E29EA5B5083}"/>
              </a:ext>
            </a:extLst>
          </p:cNvPr>
          <p:cNvSpPr txBox="1">
            <a:spLocks/>
          </p:cNvSpPr>
          <p:nvPr/>
        </p:nvSpPr>
        <p:spPr>
          <a:xfrm>
            <a:off x="11371032" y="6553226"/>
            <a:ext cx="329636" cy="182880"/>
          </a:xfrm>
          <a:prstGeom prst="rect">
            <a:avLst/>
          </a:prstGeom>
        </p:spPr>
        <p:txBody>
          <a:bodyPr vert="horz" lIns="0" tIns="0" rIns="0" bIns="0" rtlCol="0" anchor="t" anchorCtr="0">
            <a:noAutofit/>
          </a:bodyPr>
          <a:lstStyle>
            <a:defPPr>
              <a:defRPr lang="en-US"/>
            </a:defPPr>
            <a:lvl1pPr marL="0" algn="r" defTabSz="914400" rtl="0" eaLnBrk="1" latinLnBrk="0" hangingPunct="1">
              <a:defRPr sz="10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E6A5BD-C011-4A45-AA3A-201790FB7F2B}" type="slidenum">
              <a:rPr lang="en-US" smtClean="0"/>
              <a:pPr/>
              <a:t>22</a:t>
            </a:fld>
            <a:endParaRPr lang="en-US" dirty="0"/>
          </a:p>
        </p:txBody>
      </p:sp>
      <p:sp>
        <p:nvSpPr>
          <p:cNvPr id="20" name="Rectangle 19">
            <a:extLst>
              <a:ext uri="{FF2B5EF4-FFF2-40B4-BE49-F238E27FC236}">
                <a16:creationId xmlns:a16="http://schemas.microsoft.com/office/drawing/2014/main" id="{AAD36EB6-F863-4F52-A282-BC272CBEF57F}"/>
              </a:ext>
            </a:extLst>
          </p:cNvPr>
          <p:cNvSpPr/>
          <p:nvPr/>
        </p:nvSpPr>
        <p:spPr>
          <a:xfrm>
            <a:off x="9797143" y="3012237"/>
            <a:ext cx="2337071" cy="2941703"/>
          </a:xfrm>
          <a:prstGeom prst="rect">
            <a:avLst/>
          </a:prstGeom>
          <a:noFill/>
          <a:ln>
            <a:noFill/>
          </a:ln>
        </p:spPr>
        <p:txBody>
          <a:bodyPr wrap="square">
            <a:spAutoFit/>
          </a:bodyPr>
          <a:lstStyle/>
          <a:p>
            <a:pPr marL="0" marR="0" lvl="0" indent="0" algn="l" defTabSz="914400" rtl="0" eaLnBrk="1" fontAlgn="auto" latinLnBrk="0" hangingPunct="1">
              <a:lnSpc>
                <a:spcPct val="99000"/>
              </a:lnSpc>
              <a:spcBef>
                <a:spcPts val="0"/>
              </a:spcBef>
              <a:spcAft>
                <a:spcPts val="0"/>
              </a:spcAft>
              <a:buClr>
                <a:srgbClr val="0070C0"/>
              </a:buClr>
              <a:buSzTx/>
              <a:buFontTx/>
              <a:buNone/>
              <a:tabLst/>
              <a:defRPr/>
            </a:pPr>
            <a:r>
              <a:rPr kumimoji="0" lang="en-US" sz="1100" b="1" i="0" u="none" strike="noStrike" kern="1200" cap="none" spc="0" normalizeH="0" baseline="0" noProof="0" dirty="0">
                <a:ln>
                  <a:noFill/>
                </a:ln>
                <a:solidFill>
                  <a:srgbClr val="0070C0"/>
                </a:solidFill>
                <a:effectLst/>
                <a:uLnTx/>
                <a:uFillTx/>
                <a:latin typeface="GE Inspira Sans"/>
                <a:ea typeface="+mn-ea"/>
                <a:cs typeface="+mn-cs"/>
                <a:sym typeface="Wingdings" panose="05000000000000000000" pitchFamily="2" charset="2"/>
              </a:rPr>
              <a:t>Useful For</a:t>
            </a:r>
          </a:p>
          <a:p>
            <a:pPr marL="171450" marR="0" lvl="0" indent="-171450" algn="l" defTabSz="914400" rtl="0" eaLnBrk="1" fontAlgn="auto" latinLnBrk="0" hangingPunct="1">
              <a:lnSpc>
                <a:spcPct val="99000"/>
              </a:lnSpc>
              <a:spcBef>
                <a:spcPts val="0"/>
              </a:spcBef>
              <a:spcAft>
                <a:spcPts val="0"/>
              </a:spcAft>
              <a:buClr>
                <a:srgbClr val="0070C0"/>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Region-wide analysis of wind, solar and energy storage integration</a:t>
            </a:r>
          </a:p>
          <a:p>
            <a:pPr marL="171450" marR="0" lvl="0" indent="-171450" algn="l" defTabSz="914400" rtl="0" eaLnBrk="1" fontAlgn="auto" latinLnBrk="0" hangingPunct="1">
              <a:lnSpc>
                <a:spcPct val="99000"/>
              </a:lnSpc>
              <a:spcBef>
                <a:spcPts val="0"/>
              </a:spcBef>
              <a:spcAft>
                <a:spcPts val="0"/>
              </a:spcAft>
              <a:buClr>
                <a:srgbClr val="0070C0"/>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Financial modeling &amp; forecasting</a:t>
            </a:r>
          </a:p>
          <a:p>
            <a:pPr marL="171450" marR="0" lvl="0" indent="-171450" algn="l" defTabSz="914400" rtl="0" eaLnBrk="1" fontAlgn="auto" latinLnBrk="0" hangingPunct="1">
              <a:lnSpc>
                <a:spcPct val="99000"/>
              </a:lnSpc>
              <a:spcBef>
                <a:spcPts val="0"/>
              </a:spcBef>
              <a:spcAft>
                <a:spcPts val="0"/>
              </a:spcAft>
              <a:buClr>
                <a:srgbClr val="0070C0"/>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Stability studies</a:t>
            </a:r>
          </a:p>
          <a:p>
            <a:pPr marL="171450" marR="0" lvl="0" indent="-171450" algn="l" defTabSz="914400" rtl="0" eaLnBrk="1" fontAlgn="auto" latinLnBrk="0" hangingPunct="1">
              <a:lnSpc>
                <a:spcPct val="99000"/>
              </a:lnSpc>
              <a:spcBef>
                <a:spcPts val="0"/>
              </a:spcBef>
              <a:spcAft>
                <a:spcPts val="0"/>
              </a:spcAft>
              <a:buClr>
                <a:srgbClr val="0070C0"/>
              </a:buClr>
              <a:buSzTx/>
              <a:buFont typeface="Arial" panose="020B0604020202020204" pitchFamily="34" charset="0"/>
              <a:buChar char="•"/>
              <a:tabLst/>
              <a:defRPr/>
            </a:pPr>
            <a:r>
              <a:rPr lang="en-US" sz="1100" dirty="0">
                <a:solidFill>
                  <a:srgbClr val="63666A"/>
                </a:solidFill>
                <a:latin typeface="GE Inspira Sans"/>
                <a:sym typeface="Wingdings" panose="05000000000000000000" pitchFamily="2" charset="2"/>
              </a:rPr>
              <a:t>Network risk assessment</a:t>
            </a:r>
          </a:p>
          <a:p>
            <a:pPr marL="171450" marR="0" lvl="0" indent="-171450" algn="l" defTabSz="914400" rtl="0" eaLnBrk="1" fontAlgn="auto" latinLnBrk="0" hangingPunct="1">
              <a:lnSpc>
                <a:spcPct val="99000"/>
              </a:lnSpc>
              <a:spcBef>
                <a:spcPts val="0"/>
              </a:spcBef>
              <a:spcAft>
                <a:spcPts val="0"/>
              </a:spcAft>
              <a:buClr>
                <a:srgbClr val="0070C0"/>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Grid code testing and compliance</a:t>
            </a:r>
          </a:p>
          <a:p>
            <a:pPr marL="171450" marR="0" lvl="0" indent="-171450" algn="l" defTabSz="914400" rtl="0" eaLnBrk="1" fontAlgn="auto" latinLnBrk="0" hangingPunct="1">
              <a:lnSpc>
                <a:spcPct val="99000"/>
              </a:lnSpc>
              <a:spcBef>
                <a:spcPts val="0"/>
              </a:spcBef>
              <a:spcAft>
                <a:spcPts val="0"/>
              </a:spcAft>
              <a:buClr>
                <a:srgbClr val="0070C0"/>
              </a:buClr>
              <a:buSzTx/>
              <a:buFont typeface="Arial" panose="020B0604020202020204" pitchFamily="34" charset="0"/>
              <a:buChar char="•"/>
              <a:tabLst/>
              <a:defRPr/>
            </a:pPr>
            <a:r>
              <a:rPr lang="en-US" sz="1100" dirty="0">
                <a:solidFill>
                  <a:srgbClr val="63666A"/>
                </a:solidFill>
                <a:latin typeface="GE Inspira Sans"/>
                <a:sym typeface="Wingdings" panose="05000000000000000000" pitchFamily="2" charset="2"/>
              </a:rPr>
              <a:t>Equipment interconnection support</a:t>
            </a:r>
            <a:endPar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endParaRPr>
          </a:p>
          <a:p>
            <a:pPr marL="0" marR="0" lvl="0" indent="0" algn="l" defTabSz="914400" rtl="0" eaLnBrk="1" fontAlgn="auto" latinLnBrk="0" hangingPunct="1">
              <a:lnSpc>
                <a:spcPct val="99000"/>
              </a:lnSpc>
              <a:spcBef>
                <a:spcPts val="0"/>
              </a:spcBef>
              <a:spcAft>
                <a:spcPts val="0"/>
              </a:spcAft>
              <a:buClr>
                <a:srgbClr val="0070C0"/>
              </a:buClr>
              <a:buSzTx/>
              <a:buFontTx/>
              <a:buNone/>
              <a:tabLst/>
              <a:defRPr/>
            </a:pPr>
            <a:endPar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endParaRPr>
          </a:p>
          <a:p>
            <a:pPr marL="0" marR="0" lvl="0" indent="0" algn="l" defTabSz="914400" rtl="0" eaLnBrk="1" fontAlgn="auto" latinLnBrk="0" hangingPunct="1">
              <a:lnSpc>
                <a:spcPct val="99000"/>
              </a:lnSpc>
              <a:spcBef>
                <a:spcPts val="0"/>
              </a:spcBef>
              <a:spcAft>
                <a:spcPts val="0"/>
              </a:spcAft>
              <a:buClr>
                <a:srgbClr val="0070C0"/>
              </a:buClr>
              <a:buSzTx/>
              <a:buFontTx/>
              <a:buNone/>
              <a:tabLst/>
              <a:defRPr/>
            </a:pPr>
            <a:r>
              <a:rPr kumimoji="0" lang="en-US" sz="1100" b="1" i="0" u="none" strike="noStrike" kern="1200" cap="none" spc="0" normalizeH="0" baseline="0" noProof="0" dirty="0">
                <a:ln>
                  <a:noFill/>
                </a:ln>
                <a:solidFill>
                  <a:srgbClr val="0070C0"/>
                </a:solidFill>
                <a:effectLst/>
                <a:uLnTx/>
                <a:uFillTx/>
                <a:latin typeface="GE Inspira Sans"/>
                <a:ea typeface="+mn-ea"/>
                <a:cs typeface="+mn-cs"/>
                <a:sym typeface="Wingdings" panose="05000000000000000000" pitchFamily="2" charset="2"/>
              </a:rPr>
              <a:t>GE’s value proposition</a:t>
            </a:r>
          </a:p>
          <a:p>
            <a:pPr marL="171450" marR="0" lvl="0" indent="-171450" algn="l" defTabSz="914400" rtl="0" eaLnBrk="1" fontAlgn="auto" latinLnBrk="0" hangingPunct="1">
              <a:lnSpc>
                <a:spcPct val="99000"/>
              </a:lnSpc>
              <a:spcBef>
                <a:spcPts val="0"/>
              </a:spcBef>
              <a:spcAft>
                <a:spcPts val="0"/>
              </a:spcAft>
              <a:buClr>
                <a:srgbClr val="0070C0"/>
              </a:buClr>
              <a:buSzTx/>
              <a:buFont typeface="Wingdings" panose="05000000000000000000" pitchFamily="2" charset="2"/>
              <a:buChar char="ü"/>
              <a:tabLst/>
              <a:defRPr/>
            </a:pPr>
            <a:r>
              <a:rPr kumimoji="0" lang="en-US" sz="1100" b="0" i="0" u="none" strike="noStrike" kern="1200" cap="none" spc="0" normalizeH="0" baseline="0" noProof="0" dirty="0">
                <a:ln>
                  <a:noFill/>
                </a:ln>
                <a:solidFill>
                  <a:srgbClr val="63666A"/>
                </a:solidFill>
                <a:effectLst/>
                <a:uLnTx/>
                <a:uFillTx/>
                <a:latin typeface="GE Inspira Sans"/>
                <a:ea typeface="+mn-ea"/>
                <a:cs typeface="+mn-cs"/>
                <a:sym typeface="Wingdings" panose="05000000000000000000" pitchFamily="2" charset="2"/>
              </a:rPr>
              <a:t>GE Energy Consulting’s technical and business experts provides innovative solutions for diverse global clients across the power systems value chain</a:t>
            </a:r>
          </a:p>
        </p:txBody>
      </p:sp>
      <p:pic>
        <p:nvPicPr>
          <p:cNvPr id="27" name="Picture 26">
            <a:extLst>
              <a:ext uri="{FF2B5EF4-FFF2-40B4-BE49-F238E27FC236}">
                <a16:creationId xmlns:a16="http://schemas.microsoft.com/office/drawing/2014/main" id="{37EA08E6-4C98-46AF-9C2A-D229AC4C6EF3}"/>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l="29351" r="11841"/>
          <a:stretch/>
        </p:blipFill>
        <p:spPr>
          <a:xfrm>
            <a:off x="10293727" y="1382128"/>
            <a:ext cx="1406941" cy="1404851"/>
          </a:xfrm>
          <a:prstGeom prst="rect">
            <a:avLst/>
          </a:prstGeom>
          <a:blipFill>
            <a:blip r:embed="rId11" cstate="print">
              <a:extLst>
                <a:ext uri="{28A0092B-C50C-407E-A947-70E740481C1C}">
                  <a14:useLocalDpi xmlns:a14="http://schemas.microsoft.com/office/drawing/2010/main"/>
                </a:ext>
              </a:extLst>
            </a:blip>
            <a:stretch>
              <a:fillRect/>
            </a:stretch>
          </a:blipFill>
          <a:effectLst>
            <a:outerShdw blurRad="63500" sx="101000" sy="101000" algn="ctr" rotWithShape="0">
              <a:prstClr val="black">
                <a:alpha val="15000"/>
              </a:prstClr>
            </a:outerShdw>
          </a:effectLst>
        </p:spPr>
      </p:pic>
      <p:sp>
        <p:nvSpPr>
          <p:cNvPr id="29" name="TextBox 19">
            <a:extLst>
              <a:ext uri="{FF2B5EF4-FFF2-40B4-BE49-F238E27FC236}">
                <a16:creationId xmlns:a16="http://schemas.microsoft.com/office/drawing/2014/main" id="{2E3318FC-94B1-473C-A96B-2F0D9CB02960}"/>
              </a:ext>
            </a:extLst>
          </p:cNvPr>
          <p:cNvSpPr txBox="1"/>
          <p:nvPr/>
        </p:nvSpPr>
        <p:spPr>
          <a:xfrm>
            <a:off x="9939072" y="949662"/>
            <a:ext cx="2187734"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00B0F0"/>
                </a:solidFill>
                <a:latin typeface="GE Inspira Sans"/>
                <a:cs typeface="Arial" pitchFamily="34" charset="0"/>
              </a:rPr>
              <a:t>GE Energy Consulting</a:t>
            </a:r>
            <a:endParaRPr kumimoji="0" lang="en-US" sz="1600" b="1" i="0" u="none" strike="noStrike" kern="1200" cap="none" spc="0" normalizeH="0" baseline="0" noProof="0" dirty="0">
              <a:ln>
                <a:noFill/>
              </a:ln>
              <a:solidFill>
                <a:srgbClr val="00B0F0"/>
              </a:solidFill>
              <a:effectLst/>
              <a:uLnTx/>
              <a:uFillTx/>
              <a:latin typeface="GE Inspira Sans"/>
              <a:ea typeface="+mn-ea"/>
              <a:cs typeface="Arial" pitchFamily="34" charset="0"/>
            </a:endParaRPr>
          </a:p>
        </p:txBody>
      </p:sp>
      <p:sp>
        <p:nvSpPr>
          <p:cNvPr id="30" name="TextBox 21">
            <a:extLst>
              <a:ext uri="{FF2B5EF4-FFF2-40B4-BE49-F238E27FC236}">
                <a16:creationId xmlns:a16="http://schemas.microsoft.com/office/drawing/2014/main" id="{344155F9-35E0-45AE-8BF0-40BF9A91D052}"/>
              </a:ext>
            </a:extLst>
          </p:cNvPr>
          <p:cNvSpPr txBox="1"/>
          <p:nvPr/>
        </p:nvSpPr>
        <p:spPr>
          <a:xfrm>
            <a:off x="3840480" y="6399982"/>
            <a:ext cx="5765074" cy="247839"/>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GE Inspira Sans"/>
                <a:ea typeface="+mn-ea"/>
                <a:cs typeface="+mn-cs"/>
              </a:rPr>
              <a:t>© 2021 General Electric Company. </a:t>
            </a:r>
          </a:p>
        </p:txBody>
      </p:sp>
    </p:spTree>
    <p:extLst>
      <p:ext uri="{BB962C8B-B14F-4D97-AF65-F5344CB8AC3E}">
        <p14:creationId xmlns:p14="http://schemas.microsoft.com/office/powerpoint/2010/main" val="37609814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4845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Evolving energy transition globally and in Southern Africa</a:t>
            </a:r>
            <a:endParaRPr lang="en-US" dirty="0"/>
          </a:p>
        </p:txBody>
      </p:sp>
      <p:sp>
        <p:nvSpPr>
          <p:cNvPr id="5" name="Slide Number Placeholder 4"/>
          <p:cNvSpPr>
            <a:spLocks noGrp="1"/>
          </p:cNvSpPr>
          <p:nvPr>
            <p:ph type="sldNum" sz="quarter" idx="12"/>
          </p:nvPr>
        </p:nvSpPr>
        <p:spPr/>
        <p:txBody>
          <a:bodyPr/>
          <a:lstStyle/>
          <a:p>
            <a:fld id="{00E6A5BD-C011-4A45-AA3A-201790FB7F2B}" type="slidenum">
              <a:rPr lang="en-US" smtClean="0"/>
              <a:pPr/>
              <a:t>3</a:t>
            </a:fld>
            <a:endParaRPr lang="en-US" dirty="0"/>
          </a:p>
        </p:txBody>
      </p:sp>
    </p:spTree>
    <p:extLst>
      <p:ext uri="{BB962C8B-B14F-4D97-AF65-F5344CB8AC3E}">
        <p14:creationId xmlns:p14="http://schemas.microsoft.com/office/powerpoint/2010/main" val="14468896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45C378-BBFB-4969-8C2B-6DFE088C30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2" name="Object 1" hidden="1">
                        <a:extLst>
                          <a:ext uri="{FF2B5EF4-FFF2-40B4-BE49-F238E27FC236}">
                            <a16:creationId xmlns:a16="http://schemas.microsoft.com/office/drawing/2014/main" id="{F745C378-BBFB-4969-8C2B-6DFE088C30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2080E0E1-D00A-0F48-AA4D-AB03EA140A5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26224" r="737"/>
          <a:stretch/>
        </p:blipFill>
        <p:spPr>
          <a:xfrm>
            <a:off x="-1" y="0"/>
            <a:ext cx="5658405" cy="6873495"/>
          </a:xfrm>
          <a:prstGeom prst="rect">
            <a:avLst/>
          </a:prstGeom>
        </p:spPr>
      </p:pic>
      <p:sp>
        <p:nvSpPr>
          <p:cNvPr id="5" name="Arrow: Pentagon 50">
            <a:extLst>
              <a:ext uri="{FF2B5EF4-FFF2-40B4-BE49-F238E27FC236}">
                <a16:creationId xmlns:a16="http://schemas.microsoft.com/office/drawing/2014/main" id="{A71D5D8E-62FF-2F44-BC93-5D5F60294F96}"/>
              </a:ext>
            </a:extLst>
          </p:cNvPr>
          <p:cNvSpPr/>
          <p:nvPr/>
        </p:nvSpPr>
        <p:spPr>
          <a:xfrm>
            <a:off x="5662840" y="0"/>
            <a:ext cx="6529161" cy="6883325"/>
          </a:xfrm>
          <a:prstGeom prst="homePlate">
            <a:avLst>
              <a:gd name="adj" fmla="val 0"/>
            </a:avLst>
          </a:prstGeom>
          <a:gradFill flip="none" rotWithShape="1">
            <a:gsLst>
              <a:gs pos="34000">
                <a:schemeClr val="accent4"/>
              </a:gs>
              <a:gs pos="100000">
                <a:srgbClr val="005EB8">
                  <a:shade val="100000"/>
                  <a:satMod val="115000"/>
                </a:srgbClr>
              </a:gs>
            </a:gsLst>
            <a:lin ang="0" scaled="1"/>
            <a:tileRect/>
          </a:gra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E Inspira Sans"/>
              <a:ea typeface="+mn-ea"/>
              <a:cs typeface="+mn-cs"/>
            </a:endParaRPr>
          </a:p>
        </p:txBody>
      </p:sp>
      <p:sp>
        <p:nvSpPr>
          <p:cNvPr id="9" name="TextBox 8">
            <a:extLst>
              <a:ext uri="{FF2B5EF4-FFF2-40B4-BE49-F238E27FC236}">
                <a16:creationId xmlns:a16="http://schemas.microsoft.com/office/drawing/2014/main" id="{A6C94BFF-A8A8-4442-863D-826A846510D0}"/>
              </a:ext>
            </a:extLst>
          </p:cNvPr>
          <p:cNvSpPr txBox="1"/>
          <p:nvPr/>
        </p:nvSpPr>
        <p:spPr>
          <a:xfrm>
            <a:off x="6015883" y="2412659"/>
            <a:ext cx="5852160"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 Inspira Sans" panose="020B0503060000000003" pitchFamily="34" charset="77"/>
                <a:ea typeface="+mn-ea"/>
                <a:cs typeface="+mn-cs"/>
              </a:rPr>
              <a:t>Grid</a:t>
            </a:r>
            <a:r>
              <a:rPr kumimoji="0" lang="en-US" sz="2000" b="0" i="0" u="none" strike="noStrike" kern="1200" cap="none" spc="0" normalizeH="0" baseline="0" noProof="0" dirty="0">
                <a:ln>
                  <a:noFill/>
                </a:ln>
                <a:solidFill>
                  <a:prstClr val="white"/>
                </a:solidFill>
                <a:effectLst/>
                <a:uLnTx/>
                <a:uFillTx/>
                <a:latin typeface="GE Inspira Sans" panose="020B0503060000000003" pitchFamily="34" charset="77"/>
                <a:ea typeface="+mn-ea"/>
                <a:cs typeface="+mn-cs"/>
              </a:rPr>
              <a:t> will play a critical role in enabling the viability of renewables </a:t>
            </a:r>
            <a:endParaRPr kumimoji="0" lang="en-US" sz="2000" b="1" i="0" u="none" strike="noStrike" kern="1200" cap="none" spc="0" normalizeH="0" baseline="0" noProof="0" dirty="0">
              <a:ln>
                <a:noFill/>
              </a:ln>
              <a:solidFill>
                <a:prstClr val="white"/>
              </a:solidFill>
              <a:effectLst/>
              <a:uLnTx/>
              <a:uFillTx/>
              <a:latin typeface="GE Inspira Sans" panose="020B0503060000000003" pitchFamily="34" charset="77"/>
              <a:ea typeface="+mn-ea"/>
              <a:cs typeface="+mn-cs"/>
            </a:endParaRPr>
          </a:p>
        </p:txBody>
      </p:sp>
      <p:sp>
        <p:nvSpPr>
          <p:cNvPr id="10" name="TextBox 9">
            <a:extLst>
              <a:ext uri="{FF2B5EF4-FFF2-40B4-BE49-F238E27FC236}">
                <a16:creationId xmlns:a16="http://schemas.microsoft.com/office/drawing/2014/main" id="{697F51BB-8D62-3F4C-AE5A-2DD5E48DBD45}"/>
              </a:ext>
            </a:extLst>
          </p:cNvPr>
          <p:cNvSpPr txBox="1"/>
          <p:nvPr/>
        </p:nvSpPr>
        <p:spPr>
          <a:xfrm>
            <a:off x="6015884" y="3161980"/>
            <a:ext cx="5852160"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 Inspira Sans"/>
                <a:ea typeface="+mn-ea"/>
                <a:cs typeface="+mn-cs"/>
              </a:rPr>
              <a:t>Digital technology </a:t>
            </a:r>
            <a:r>
              <a:rPr kumimoji="0" lang="en-US" sz="2000" b="0" i="0" u="none" strike="noStrike" kern="1200" cap="none" spc="0" normalizeH="0" baseline="0" noProof="0" dirty="0">
                <a:ln>
                  <a:noFill/>
                </a:ln>
                <a:solidFill>
                  <a:prstClr val="white"/>
                </a:solidFill>
                <a:effectLst/>
                <a:uLnTx/>
                <a:uFillTx/>
                <a:latin typeface="GE Inspira Sans"/>
                <a:ea typeface="+mn-ea"/>
                <a:cs typeface="+mn-cs"/>
              </a:rPr>
              <a:t>is an </a:t>
            </a:r>
            <a:r>
              <a:rPr kumimoji="0" lang="en-US" sz="2000" b="1" i="0" u="none" strike="noStrike" kern="1200" cap="none" spc="0" normalizeH="0" baseline="0" noProof="0" dirty="0">
                <a:ln>
                  <a:noFill/>
                </a:ln>
                <a:solidFill>
                  <a:prstClr val="white"/>
                </a:solidFill>
                <a:effectLst/>
                <a:uLnTx/>
                <a:uFillTx/>
                <a:latin typeface="GE Inspira Sans"/>
                <a:ea typeface="+mn-ea"/>
                <a:cs typeface="+mn-cs"/>
              </a:rPr>
              <a:t>enabler</a:t>
            </a:r>
            <a:r>
              <a:rPr kumimoji="0" lang="en-US" sz="2000" b="0" i="0" u="none" strike="noStrike" kern="1200" cap="none" spc="0" normalizeH="0" baseline="0" noProof="0" dirty="0">
                <a:ln>
                  <a:noFill/>
                </a:ln>
                <a:solidFill>
                  <a:prstClr val="white"/>
                </a:solidFill>
                <a:effectLst/>
                <a:uLnTx/>
                <a:uFillTx/>
                <a:latin typeface="GE Inspira Sans"/>
                <a:ea typeface="+mn-ea"/>
                <a:cs typeface="+mn-cs"/>
              </a:rPr>
              <a:t> tying it all together, </a:t>
            </a:r>
            <a:r>
              <a:rPr kumimoji="0" lang="en-US" sz="2000" b="1" i="0" u="none" strike="noStrike" kern="1200" cap="none" spc="0" normalizeH="0" baseline="0" noProof="0" dirty="0">
                <a:ln>
                  <a:noFill/>
                </a:ln>
                <a:solidFill>
                  <a:prstClr val="white"/>
                </a:solidFill>
                <a:effectLst/>
                <a:uLnTx/>
                <a:uFillTx/>
                <a:latin typeface="GE Inspira Sans"/>
                <a:ea typeface="+mn-ea"/>
                <a:cs typeface="+mn-cs"/>
              </a:rPr>
              <a:t>orchestrating </a:t>
            </a:r>
            <a:r>
              <a:rPr kumimoji="0" lang="en-US" sz="2000" b="0" i="0" u="none" strike="noStrike" kern="1200" cap="none" spc="0" normalizeH="0" baseline="0" noProof="0" dirty="0">
                <a:ln>
                  <a:noFill/>
                </a:ln>
                <a:solidFill>
                  <a:prstClr val="white"/>
                </a:solidFill>
                <a:effectLst/>
                <a:uLnTx/>
                <a:uFillTx/>
                <a:latin typeface="GE Inspira Sans"/>
                <a:ea typeface="+mn-ea"/>
                <a:cs typeface="+mn-cs"/>
              </a:rPr>
              <a:t>the world’s energy through software</a:t>
            </a:r>
          </a:p>
        </p:txBody>
      </p:sp>
      <p:sp>
        <p:nvSpPr>
          <p:cNvPr id="11" name="TextBox 10">
            <a:extLst>
              <a:ext uri="{FF2B5EF4-FFF2-40B4-BE49-F238E27FC236}">
                <a16:creationId xmlns:a16="http://schemas.microsoft.com/office/drawing/2014/main" id="{F86CD32A-B015-DC4B-ABDF-4BA21472E21C}"/>
              </a:ext>
            </a:extLst>
          </p:cNvPr>
          <p:cNvSpPr txBox="1"/>
          <p:nvPr/>
        </p:nvSpPr>
        <p:spPr>
          <a:xfrm>
            <a:off x="6015884" y="4767947"/>
            <a:ext cx="5852160"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 Inspira Sans"/>
                <a:ea typeface="+mn-ea"/>
                <a:cs typeface="+mn-cs"/>
              </a:rPr>
              <a:t>New business models </a:t>
            </a:r>
            <a:r>
              <a:rPr kumimoji="0" lang="en-US" sz="2000" b="0" i="0" u="none" strike="noStrike" kern="1200" cap="none" spc="0" normalizeH="0" baseline="0" noProof="0" dirty="0">
                <a:ln>
                  <a:noFill/>
                </a:ln>
                <a:solidFill>
                  <a:prstClr val="white"/>
                </a:solidFill>
                <a:effectLst/>
                <a:uLnTx/>
                <a:uFillTx/>
                <a:latin typeface="GE Inspira Sans"/>
                <a:ea typeface="+mn-ea"/>
                <a:cs typeface="+mn-cs"/>
              </a:rPr>
              <a:t>need to emerge to create </a:t>
            </a:r>
            <a:r>
              <a:rPr kumimoji="0" lang="en-US" sz="2000" b="1" i="0" u="none" strike="noStrike" kern="1200" cap="none" spc="0" normalizeH="0" baseline="0" noProof="0" dirty="0">
                <a:ln>
                  <a:noFill/>
                </a:ln>
                <a:solidFill>
                  <a:prstClr val="white"/>
                </a:solidFill>
                <a:effectLst/>
                <a:uLnTx/>
                <a:uFillTx/>
                <a:latin typeface="GE Inspira Sans"/>
                <a:ea typeface="+mn-ea"/>
                <a:cs typeface="+mn-cs"/>
              </a:rPr>
              <a:t>customer value </a:t>
            </a:r>
            <a:r>
              <a:rPr kumimoji="0" lang="en-US" sz="2000" b="0" i="0" u="none" strike="noStrike" kern="1200" cap="none" spc="0" normalizeH="0" baseline="0" noProof="0" dirty="0">
                <a:ln>
                  <a:noFill/>
                </a:ln>
                <a:solidFill>
                  <a:prstClr val="white"/>
                </a:solidFill>
                <a:effectLst/>
                <a:uLnTx/>
                <a:uFillTx/>
                <a:latin typeface="GE Inspira Sans"/>
                <a:ea typeface="+mn-ea"/>
                <a:cs typeface="+mn-cs"/>
              </a:rPr>
              <a:t>and new </a:t>
            </a:r>
            <a:r>
              <a:rPr kumimoji="0" lang="en-US" sz="2000" b="1" i="0" u="none" strike="noStrike" kern="1200" cap="none" spc="0" normalizeH="0" baseline="0" noProof="0" dirty="0">
                <a:ln>
                  <a:noFill/>
                </a:ln>
                <a:solidFill>
                  <a:prstClr val="white"/>
                </a:solidFill>
                <a:effectLst/>
                <a:uLnTx/>
                <a:uFillTx/>
                <a:latin typeface="GE Inspira Sans"/>
                <a:ea typeface="+mn-ea"/>
                <a:cs typeface="+mn-cs"/>
              </a:rPr>
              <a:t>profit pools</a:t>
            </a:r>
          </a:p>
        </p:txBody>
      </p:sp>
      <p:sp>
        <p:nvSpPr>
          <p:cNvPr id="29" name="Title 2">
            <a:extLst>
              <a:ext uri="{FF2B5EF4-FFF2-40B4-BE49-F238E27FC236}">
                <a16:creationId xmlns:a16="http://schemas.microsoft.com/office/drawing/2014/main" id="{F19E642B-167E-9A41-BA20-06177B3E63A2}"/>
              </a:ext>
            </a:extLst>
          </p:cNvPr>
          <p:cNvSpPr txBox="1">
            <a:spLocks/>
          </p:cNvSpPr>
          <p:nvPr/>
        </p:nvSpPr>
        <p:spPr>
          <a:xfrm>
            <a:off x="5878703" y="219141"/>
            <a:ext cx="6308862" cy="573044"/>
          </a:xfrm>
          <a:prstGeom prst="rect">
            <a:avLst/>
          </a:prstGeom>
        </p:spPr>
        <p:txBody>
          <a:bodyPr/>
          <a:lstStyle>
            <a:lvl1pPr algn="l" defTabSz="914400" rtl="0" eaLnBrk="1" latinLnBrk="0" hangingPunct="1">
              <a:lnSpc>
                <a:spcPct val="90000"/>
              </a:lnSpc>
              <a:spcBef>
                <a:spcPct val="0"/>
              </a:spcBef>
              <a:buNone/>
              <a:defRPr sz="2000" kern="1200">
                <a:solidFill>
                  <a:schemeClr val="tx1"/>
                </a:solidFill>
                <a:latin typeface="GE Inspira Sans" panose="020B0503060000000003" pitchFamily="34"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GE Inspira Sans" panose="020B0503060000000003" pitchFamily="34" charset="77"/>
                <a:ea typeface="+mj-ea"/>
                <a:cs typeface="+mj-cs"/>
              </a:rPr>
              <a:t>The Future of the Power Sector</a:t>
            </a:r>
          </a:p>
        </p:txBody>
      </p:sp>
      <p:sp>
        <p:nvSpPr>
          <p:cNvPr id="30" name="TextBox 29">
            <a:extLst>
              <a:ext uri="{FF2B5EF4-FFF2-40B4-BE49-F238E27FC236}">
                <a16:creationId xmlns:a16="http://schemas.microsoft.com/office/drawing/2014/main" id="{477828F3-926C-6A46-A628-F859E450868E}"/>
              </a:ext>
            </a:extLst>
          </p:cNvPr>
          <p:cNvSpPr txBox="1"/>
          <p:nvPr/>
        </p:nvSpPr>
        <p:spPr>
          <a:xfrm>
            <a:off x="6015884" y="1615212"/>
            <a:ext cx="5852160"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 Inspira Sans"/>
                <a:ea typeface="+mn-ea"/>
                <a:cs typeface="+mn-cs"/>
              </a:rPr>
              <a:t>Storage &amp; hybrid solutions </a:t>
            </a:r>
            <a:r>
              <a:rPr kumimoji="0" lang="en-US" sz="2000" b="0" i="0" u="none" strike="noStrike" kern="1200" cap="none" spc="0" normalizeH="0" baseline="0" noProof="0" dirty="0">
                <a:ln>
                  <a:noFill/>
                </a:ln>
                <a:solidFill>
                  <a:prstClr val="white"/>
                </a:solidFill>
                <a:effectLst/>
                <a:uLnTx/>
                <a:uFillTx/>
                <a:latin typeface="GE Inspira Sans"/>
                <a:ea typeface="+mn-ea"/>
                <a:cs typeface="+mn-cs"/>
              </a:rPr>
              <a:t>increase, </a:t>
            </a:r>
            <a:r>
              <a:rPr kumimoji="0" lang="en-US" sz="2000" b="1" i="0" u="none" strike="noStrike" kern="1200" cap="none" spc="0" normalizeH="0" baseline="0" noProof="0" dirty="0">
                <a:ln>
                  <a:noFill/>
                </a:ln>
                <a:solidFill>
                  <a:prstClr val="white"/>
                </a:solidFill>
                <a:effectLst/>
                <a:uLnTx/>
                <a:uFillTx/>
                <a:latin typeface="GE Inspira Sans"/>
                <a:ea typeface="+mn-ea"/>
                <a:cs typeface="+mn-cs"/>
              </a:rPr>
              <a:t>enabling</a:t>
            </a:r>
            <a:r>
              <a:rPr kumimoji="0" lang="en-US" sz="2000" b="0" i="0" u="none" strike="noStrike" kern="1200" cap="none" spc="0" normalizeH="0" baseline="0" noProof="0" dirty="0">
                <a:ln>
                  <a:noFill/>
                </a:ln>
                <a:solidFill>
                  <a:prstClr val="white"/>
                </a:solidFill>
                <a:effectLst/>
                <a:uLnTx/>
                <a:uFillTx/>
                <a:latin typeface="GE Inspira Sans"/>
                <a:ea typeface="+mn-ea"/>
                <a:cs typeface="+mn-cs"/>
              </a:rPr>
              <a:t> </a:t>
            </a:r>
            <a:r>
              <a:rPr kumimoji="0" lang="en-US" sz="2000" b="1" i="0" u="none" strike="noStrike" kern="1200" cap="none" spc="0" normalizeH="0" baseline="0" noProof="0" dirty="0">
                <a:ln>
                  <a:noFill/>
                </a:ln>
                <a:solidFill>
                  <a:prstClr val="white"/>
                </a:solidFill>
                <a:effectLst/>
                <a:uLnTx/>
                <a:uFillTx/>
                <a:latin typeface="GE Inspira Sans"/>
                <a:ea typeface="+mn-ea"/>
                <a:cs typeface="+mn-cs"/>
              </a:rPr>
              <a:t>baseload</a:t>
            </a:r>
            <a:r>
              <a:rPr kumimoji="0" lang="en-US" sz="2000" b="0" i="0" u="none" strike="noStrike" kern="1200" cap="none" spc="0" normalizeH="0" baseline="0" noProof="0" dirty="0">
                <a:ln>
                  <a:noFill/>
                </a:ln>
                <a:solidFill>
                  <a:prstClr val="white"/>
                </a:solidFill>
                <a:effectLst/>
                <a:uLnTx/>
                <a:uFillTx/>
                <a:latin typeface="GE Inspira Sans"/>
                <a:ea typeface="+mn-ea"/>
                <a:cs typeface="+mn-cs"/>
              </a:rPr>
              <a:t> </a:t>
            </a:r>
            <a:r>
              <a:rPr kumimoji="0" lang="en-US" sz="2000" b="1" i="0" u="none" strike="noStrike" kern="1200" cap="none" spc="0" normalizeH="0" baseline="0" noProof="0" dirty="0">
                <a:ln>
                  <a:noFill/>
                </a:ln>
                <a:solidFill>
                  <a:prstClr val="white"/>
                </a:solidFill>
                <a:effectLst/>
                <a:uLnTx/>
                <a:uFillTx/>
                <a:latin typeface="GE Inspira Sans"/>
                <a:ea typeface="+mn-ea"/>
                <a:cs typeface="+mn-cs"/>
              </a:rPr>
              <a:t>dispatchability</a:t>
            </a:r>
            <a:r>
              <a:rPr kumimoji="0" lang="en-US" sz="2000" b="0" i="0" u="none" strike="noStrike" kern="1200" cap="none" spc="0" normalizeH="0" baseline="0" noProof="0" dirty="0">
                <a:ln>
                  <a:noFill/>
                </a:ln>
                <a:solidFill>
                  <a:prstClr val="white"/>
                </a:solidFill>
                <a:effectLst/>
                <a:uLnTx/>
                <a:uFillTx/>
                <a:latin typeface="GE Inspira Sans"/>
                <a:ea typeface="+mn-ea"/>
                <a:cs typeface="+mn-cs"/>
              </a:rPr>
              <a:t> of renewables</a:t>
            </a:r>
          </a:p>
        </p:txBody>
      </p:sp>
      <p:sp>
        <p:nvSpPr>
          <p:cNvPr id="7" name="Rectangle 6">
            <a:extLst>
              <a:ext uri="{FF2B5EF4-FFF2-40B4-BE49-F238E27FC236}">
                <a16:creationId xmlns:a16="http://schemas.microsoft.com/office/drawing/2014/main" id="{DA5762C5-7B69-412A-987E-F8F6F5A4ABB5}"/>
              </a:ext>
            </a:extLst>
          </p:cNvPr>
          <p:cNvSpPr/>
          <p:nvPr/>
        </p:nvSpPr>
        <p:spPr>
          <a:xfrm>
            <a:off x="4435" y="9676"/>
            <a:ext cx="5653969" cy="4509025"/>
          </a:xfrm>
          <a:prstGeom prst="rect">
            <a:avLst/>
          </a:prstGeom>
          <a:solidFill>
            <a:schemeClr val="bg2">
              <a:lumMod val="10000"/>
              <a:alpha val="5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GE Inspira Sans"/>
              <a:ea typeface="+mn-ea"/>
              <a:cs typeface="+mn-cs"/>
            </a:endParaRPr>
          </a:p>
        </p:txBody>
      </p:sp>
      <p:grpSp>
        <p:nvGrpSpPr>
          <p:cNvPr id="3" name="Group 2">
            <a:extLst>
              <a:ext uri="{FF2B5EF4-FFF2-40B4-BE49-F238E27FC236}">
                <a16:creationId xmlns:a16="http://schemas.microsoft.com/office/drawing/2014/main" id="{7C2C4ED2-F985-4B9A-983B-5560427E6015}"/>
              </a:ext>
            </a:extLst>
          </p:cNvPr>
          <p:cNvGrpSpPr/>
          <p:nvPr/>
        </p:nvGrpSpPr>
        <p:grpSpPr>
          <a:xfrm>
            <a:off x="5995439" y="1487215"/>
            <a:ext cx="5879170" cy="3189788"/>
            <a:chOff x="5357073" y="1672047"/>
            <a:chExt cx="6400800" cy="3189788"/>
          </a:xfrm>
        </p:grpSpPr>
        <p:cxnSp>
          <p:nvCxnSpPr>
            <p:cNvPr id="13" name="Straight Connector 12">
              <a:extLst>
                <a:ext uri="{FF2B5EF4-FFF2-40B4-BE49-F238E27FC236}">
                  <a16:creationId xmlns:a16="http://schemas.microsoft.com/office/drawing/2014/main" id="{931D75EF-9B59-334B-9D63-47C36DA1D6EB}"/>
                </a:ext>
              </a:extLst>
            </p:cNvPr>
            <p:cNvCxnSpPr>
              <a:cxnSpLocks/>
            </p:cNvCxnSpPr>
            <p:nvPr/>
          </p:nvCxnSpPr>
          <p:spPr>
            <a:xfrm>
              <a:off x="5357073" y="2469494"/>
              <a:ext cx="6400800" cy="0"/>
            </a:xfrm>
            <a:prstGeom prst="line">
              <a:avLst/>
            </a:prstGeom>
            <a:noFill/>
            <a:ln w="9525" cap="rnd">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cxnSp>
        <p:cxnSp>
          <p:nvCxnSpPr>
            <p:cNvPr id="14" name="Straight Connector 13">
              <a:extLst>
                <a:ext uri="{FF2B5EF4-FFF2-40B4-BE49-F238E27FC236}">
                  <a16:creationId xmlns:a16="http://schemas.microsoft.com/office/drawing/2014/main" id="{3FCC63D5-39F3-5D4C-A68F-FD180F3C8D67}"/>
                </a:ext>
              </a:extLst>
            </p:cNvPr>
            <p:cNvCxnSpPr>
              <a:cxnSpLocks/>
            </p:cNvCxnSpPr>
            <p:nvPr/>
          </p:nvCxnSpPr>
          <p:spPr>
            <a:xfrm>
              <a:off x="5357073" y="1672047"/>
              <a:ext cx="6400800" cy="0"/>
            </a:xfrm>
            <a:prstGeom prst="line">
              <a:avLst/>
            </a:prstGeom>
            <a:noFill/>
            <a:ln w="9525" cap="rnd">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a:extLst>
                <a:ext uri="{FF2B5EF4-FFF2-40B4-BE49-F238E27FC236}">
                  <a16:creationId xmlns:a16="http://schemas.microsoft.com/office/drawing/2014/main" id="{6299B889-B846-9A47-8CD5-83B31AD923F2}"/>
                </a:ext>
              </a:extLst>
            </p:cNvPr>
            <p:cNvCxnSpPr>
              <a:cxnSpLocks/>
            </p:cNvCxnSpPr>
            <p:nvPr/>
          </p:nvCxnSpPr>
          <p:spPr>
            <a:xfrm>
              <a:off x="5357073" y="4861835"/>
              <a:ext cx="6400800" cy="0"/>
            </a:xfrm>
            <a:prstGeom prst="line">
              <a:avLst/>
            </a:prstGeom>
            <a:noFill/>
            <a:ln w="9525" cap="rnd">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5">
              <a:extLst>
                <a:ext uri="{FF2B5EF4-FFF2-40B4-BE49-F238E27FC236}">
                  <a16:creationId xmlns:a16="http://schemas.microsoft.com/office/drawing/2014/main" id="{DFCF8081-8327-324A-9929-491398CEC89B}"/>
                </a:ext>
              </a:extLst>
            </p:cNvPr>
            <p:cNvCxnSpPr>
              <a:cxnSpLocks/>
            </p:cNvCxnSpPr>
            <p:nvPr/>
          </p:nvCxnSpPr>
          <p:spPr>
            <a:xfrm>
              <a:off x="5357073" y="4064388"/>
              <a:ext cx="6400800" cy="0"/>
            </a:xfrm>
            <a:prstGeom prst="line">
              <a:avLst/>
            </a:prstGeom>
            <a:noFill/>
            <a:ln w="9525" cap="rnd">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cxnSp>
        <p:cxnSp>
          <p:nvCxnSpPr>
            <p:cNvPr id="31" name="Straight Connector 30">
              <a:extLst>
                <a:ext uri="{FF2B5EF4-FFF2-40B4-BE49-F238E27FC236}">
                  <a16:creationId xmlns:a16="http://schemas.microsoft.com/office/drawing/2014/main" id="{0A2FA50C-209B-EB48-9FF4-06BD3E7B38AF}"/>
                </a:ext>
              </a:extLst>
            </p:cNvPr>
            <p:cNvCxnSpPr>
              <a:cxnSpLocks/>
            </p:cNvCxnSpPr>
            <p:nvPr/>
          </p:nvCxnSpPr>
          <p:spPr>
            <a:xfrm>
              <a:off x="5357073" y="3266941"/>
              <a:ext cx="6400800" cy="0"/>
            </a:xfrm>
            <a:prstGeom prst="line">
              <a:avLst/>
            </a:prstGeom>
            <a:noFill/>
            <a:ln w="9525" cap="rnd">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cxnSp>
      </p:grpSp>
      <p:sp>
        <p:nvSpPr>
          <p:cNvPr id="33" name="TextBox 32">
            <a:extLst>
              <a:ext uri="{FF2B5EF4-FFF2-40B4-BE49-F238E27FC236}">
                <a16:creationId xmlns:a16="http://schemas.microsoft.com/office/drawing/2014/main" id="{E6161767-6521-4B48-8967-FF005BF1F82B}"/>
              </a:ext>
            </a:extLst>
          </p:cNvPr>
          <p:cNvSpPr txBox="1"/>
          <p:nvPr/>
        </p:nvSpPr>
        <p:spPr>
          <a:xfrm>
            <a:off x="6015884" y="780715"/>
            <a:ext cx="5852160"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 Inspira Sans"/>
                <a:ea typeface="+mn-ea"/>
                <a:cs typeface="+mn-cs"/>
              </a:rPr>
              <a:t>Wind &amp; solar </a:t>
            </a:r>
            <a:r>
              <a:rPr kumimoji="0" lang="en-US" sz="2000" b="0" i="0" u="none" strike="noStrike" kern="1200" cap="none" spc="0" normalizeH="0" baseline="0" noProof="0" dirty="0">
                <a:ln>
                  <a:noFill/>
                </a:ln>
                <a:solidFill>
                  <a:prstClr val="white"/>
                </a:solidFill>
                <a:effectLst/>
                <a:uLnTx/>
                <a:uFillTx/>
                <a:latin typeface="GE Inspira Sans"/>
                <a:ea typeface="+mn-ea"/>
                <a:cs typeface="+mn-cs"/>
              </a:rPr>
              <a:t>grow fastest over next decade driven by </a:t>
            </a:r>
            <a:r>
              <a:rPr kumimoji="0" lang="en-US" sz="2000" b="1" i="0" u="none" strike="noStrike" kern="1200" cap="none" spc="0" normalizeH="0" baseline="0" noProof="0" dirty="0">
                <a:ln>
                  <a:noFill/>
                </a:ln>
                <a:solidFill>
                  <a:prstClr val="white"/>
                </a:solidFill>
                <a:effectLst/>
                <a:uLnTx/>
                <a:uFillTx/>
                <a:latin typeface="GE Inspira Sans"/>
                <a:ea typeface="+mn-ea"/>
                <a:cs typeface="+mn-cs"/>
              </a:rPr>
              <a:t>LCOE competitiveness, technology </a:t>
            </a:r>
            <a:r>
              <a:rPr kumimoji="0" lang="en-US" sz="2000" b="0" i="0" u="none" strike="noStrike" kern="1200" cap="none" spc="0" normalizeH="0" baseline="0" noProof="0" dirty="0">
                <a:ln>
                  <a:noFill/>
                </a:ln>
                <a:solidFill>
                  <a:prstClr val="white"/>
                </a:solidFill>
                <a:effectLst/>
                <a:uLnTx/>
                <a:uFillTx/>
                <a:latin typeface="GE Inspira Sans"/>
                <a:ea typeface="+mn-ea"/>
                <a:cs typeface="+mn-cs"/>
              </a:rPr>
              <a:t>and</a:t>
            </a:r>
            <a:r>
              <a:rPr kumimoji="0" lang="en-US" sz="2000" b="1" i="0" u="none" strike="noStrike" kern="1200" cap="none" spc="0" normalizeH="0" baseline="0" noProof="0" dirty="0">
                <a:ln>
                  <a:noFill/>
                </a:ln>
                <a:solidFill>
                  <a:prstClr val="white"/>
                </a:solidFill>
                <a:effectLst/>
                <a:uLnTx/>
                <a:uFillTx/>
                <a:latin typeface="GE Inspira Sans"/>
                <a:ea typeface="+mn-ea"/>
                <a:cs typeface="+mn-cs"/>
              </a:rPr>
              <a:t> scale</a:t>
            </a:r>
          </a:p>
        </p:txBody>
      </p:sp>
      <p:sp>
        <p:nvSpPr>
          <p:cNvPr id="34" name="Freeform 5">
            <a:extLst>
              <a:ext uri="{FF2B5EF4-FFF2-40B4-BE49-F238E27FC236}">
                <a16:creationId xmlns:a16="http://schemas.microsoft.com/office/drawing/2014/main" id="{9AAD1F64-1354-4982-A3CE-45366B3C17A2}"/>
              </a:ext>
            </a:extLst>
          </p:cNvPr>
          <p:cNvSpPr>
            <a:spLocks noChangeAspect="1" noEditPoints="1"/>
          </p:cNvSpPr>
          <p:nvPr/>
        </p:nvSpPr>
        <p:spPr bwMode="auto">
          <a:xfrm>
            <a:off x="515012" y="6388956"/>
            <a:ext cx="384048" cy="384048"/>
          </a:xfrm>
          <a:custGeom>
            <a:avLst/>
            <a:gdLst>
              <a:gd name="T0" fmla="*/ 3869 w 5760"/>
              <a:gd name="T1" fmla="*/ 1545 h 5760"/>
              <a:gd name="T2" fmla="*/ 2018 w 5760"/>
              <a:gd name="T3" fmla="*/ 2250 h 5760"/>
              <a:gd name="T4" fmla="*/ 2018 w 5760"/>
              <a:gd name="T5" fmla="*/ 2250 h 5760"/>
              <a:gd name="T6" fmla="*/ 1556 w 5760"/>
              <a:gd name="T7" fmla="*/ 3934 h 5760"/>
              <a:gd name="T8" fmla="*/ 1755 w 5760"/>
              <a:gd name="T9" fmla="*/ 4133 h 5760"/>
              <a:gd name="T10" fmla="*/ 3470 w 5760"/>
              <a:gd name="T11" fmla="*/ 3455 h 5760"/>
              <a:gd name="T12" fmla="*/ 3861 w 5760"/>
              <a:gd name="T13" fmla="*/ 3710 h 5760"/>
              <a:gd name="T14" fmla="*/ 3933 w 5760"/>
              <a:gd name="T15" fmla="*/ 3255 h 5760"/>
              <a:gd name="T16" fmla="*/ 3734 w 5760"/>
              <a:gd name="T17" fmla="*/ 4133 h 5760"/>
              <a:gd name="T18" fmla="*/ 3694 w 5760"/>
              <a:gd name="T19" fmla="*/ 2712 h 5760"/>
              <a:gd name="T20" fmla="*/ 3905 w 5760"/>
              <a:gd name="T21" fmla="*/ 2466 h 5760"/>
              <a:gd name="T22" fmla="*/ 3574 w 5760"/>
              <a:gd name="T23" fmla="*/ 2354 h 5760"/>
              <a:gd name="T24" fmla="*/ 3853 w 5760"/>
              <a:gd name="T25" fmla="*/ 1324 h 5760"/>
              <a:gd name="T26" fmla="*/ 3295 w 5760"/>
              <a:gd name="T27" fmla="*/ 2298 h 5760"/>
              <a:gd name="T28" fmla="*/ 2685 w 5760"/>
              <a:gd name="T29" fmla="*/ 2469 h 5760"/>
              <a:gd name="T30" fmla="*/ 2816 w 5760"/>
              <a:gd name="T31" fmla="*/ 1987 h 5760"/>
              <a:gd name="T32" fmla="*/ 2170 w 5760"/>
              <a:gd name="T33" fmla="*/ 2593 h 5760"/>
              <a:gd name="T34" fmla="*/ 2712 w 5760"/>
              <a:gd name="T35" fmla="*/ 1580 h 5760"/>
              <a:gd name="T36" fmla="*/ 1779 w 5760"/>
              <a:gd name="T37" fmla="*/ 2274 h 5760"/>
              <a:gd name="T38" fmla="*/ 1643 w 5760"/>
              <a:gd name="T39" fmla="*/ 1795 h 5760"/>
              <a:gd name="T40" fmla="*/ 1388 w 5760"/>
              <a:gd name="T41" fmla="*/ 2066 h 5760"/>
              <a:gd name="T42" fmla="*/ 2122 w 5760"/>
              <a:gd name="T43" fmla="*/ 2792 h 5760"/>
              <a:gd name="T44" fmla="*/ 2417 w 5760"/>
              <a:gd name="T45" fmla="*/ 2832 h 5760"/>
              <a:gd name="T46" fmla="*/ 1292 w 5760"/>
              <a:gd name="T47" fmla="*/ 3917 h 5760"/>
              <a:gd name="T48" fmla="*/ 2537 w 5760"/>
              <a:gd name="T49" fmla="*/ 3678 h 5760"/>
              <a:gd name="T50" fmla="*/ 3374 w 5760"/>
              <a:gd name="T51" fmla="*/ 2489 h 5760"/>
              <a:gd name="T52" fmla="*/ 2888 w 5760"/>
              <a:gd name="T53" fmla="*/ 3502 h 5760"/>
              <a:gd name="T54" fmla="*/ 4484 w 5760"/>
              <a:gd name="T55" fmla="*/ 3646 h 5760"/>
              <a:gd name="T56" fmla="*/ 5321 w 5760"/>
              <a:gd name="T57" fmla="*/ 3701 h 5760"/>
              <a:gd name="T58" fmla="*/ 5297 w 5760"/>
              <a:gd name="T59" fmla="*/ 3694 h 5760"/>
              <a:gd name="T60" fmla="*/ 5066 w 5760"/>
              <a:gd name="T61" fmla="*/ 2513 h 5760"/>
              <a:gd name="T62" fmla="*/ 5138 w 5760"/>
              <a:gd name="T63" fmla="*/ 3415 h 5760"/>
              <a:gd name="T64" fmla="*/ 2880 w 5760"/>
              <a:gd name="T65" fmla="*/ 5449 h 5760"/>
              <a:gd name="T66" fmla="*/ 2063 w 5760"/>
              <a:gd name="T67" fmla="*/ 5306 h 5760"/>
              <a:gd name="T68" fmla="*/ 2689 w 5760"/>
              <a:gd name="T69" fmla="*/ 5393 h 5760"/>
              <a:gd name="T70" fmla="*/ 3047 w 5760"/>
              <a:gd name="T71" fmla="*/ 4875 h 5760"/>
              <a:gd name="T72" fmla="*/ 1771 w 5760"/>
              <a:gd name="T73" fmla="*/ 5042 h 5760"/>
              <a:gd name="T74" fmla="*/ 440 w 5760"/>
              <a:gd name="T75" fmla="*/ 2067 h 5760"/>
              <a:gd name="T76" fmla="*/ 462 w 5760"/>
              <a:gd name="T77" fmla="*/ 2075 h 5760"/>
              <a:gd name="T78" fmla="*/ 694 w 5760"/>
              <a:gd name="T79" fmla="*/ 3247 h 5760"/>
              <a:gd name="T80" fmla="*/ 622 w 5760"/>
              <a:gd name="T81" fmla="*/ 2354 h 5760"/>
              <a:gd name="T82" fmla="*/ 2880 w 5760"/>
              <a:gd name="T83" fmla="*/ 311 h 5760"/>
              <a:gd name="T84" fmla="*/ 3696 w 5760"/>
              <a:gd name="T85" fmla="*/ 461 h 5760"/>
              <a:gd name="T86" fmla="*/ 3071 w 5760"/>
              <a:gd name="T87" fmla="*/ 367 h 5760"/>
              <a:gd name="T88" fmla="*/ 2712 w 5760"/>
              <a:gd name="T89" fmla="*/ 885 h 5760"/>
              <a:gd name="T90" fmla="*/ 3989 w 5760"/>
              <a:gd name="T91" fmla="*/ 726 h 5760"/>
              <a:gd name="T92" fmla="*/ 5321 w 5760"/>
              <a:gd name="T93" fmla="*/ 3701 h 5760"/>
              <a:gd name="T94" fmla="*/ 135 w 5760"/>
              <a:gd name="T95" fmla="*/ 2880 h 5760"/>
              <a:gd name="T96" fmla="*/ 5624 w 5760"/>
              <a:gd name="T97" fmla="*/ 2880 h 5760"/>
              <a:gd name="T98" fmla="*/ 2880 w 5760"/>
              <a:gd name="T99" fmla="*/ 5760 h 5760"/>
              <a:gd name="T100" fmla="*/ 2880 w 5760"/>
              <a:gd name="T101" fmla="*/ 0 h 5760"/>
              <a:gd name="T102" fmla="*/ 2880 w 5760"/>
              <a:gd name="T103" fmla="*/ 576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5760">
                <a:moveTo>
                  <a:pt x="3526" y="2130"/>
                </a:moveTo>
                <a:cubicBezTo>
                  <a:pt x="3526" y="1803"/>
                  <a:pt x="3748" y="1485"/>
                  <a:pt x="3869" y="1545"/>
                </a:cubicBezTo>
                <a:cubicBezTo>
                  <a:pt x="4006" y="1614"/>
                  <a:pt x="3766" y="1923"/>
                  <a:pt x="3526" y="2130"/>
                </a:cubicBezTo>
                <a:moveTo>
                  <a:pt x="2018" y="2250"/>
                </a:moveTo>
                <a:cubicBezTo>
                  <a:pt x="2018" y="1987"/>
                  <a:pt x="2278" y="1486"/>
                  <a:pt x="2437" y="1539"/>
                </a:cubicBezTo>
                <a:cubicBezTo>
                  <a:pt x="2625" y="1601"/>
                  <a:pt x="2282" y="2106"/>
                  <a:pt x="2018" y="2250"/>
                </a:cubicBezTo>
                <a:close/>
                <a:moveTo>
                  <a:pt x="1755" y="4133"/>
                </a:moveTo>
                <a:cubicBezTo>
                  <a:pt x="1635" y="4138"/>
                  <a:pt x="1556" y="4062"/>
                  <a:pt x="1556" y="3934"/>
                </a:cubicBezTo>
                <a:cubicBezTo>
                  <a:pt x="1556" y="3591"/>
                  <a:pt x="2031" y="3264"/>
                  <a:pt x="2390" y="3088"/>
                </a:cubicBezTo>
                <a:cubicBezTo>
                  <a:pt x="2327" y="3567"/>
                  <a:pt x="2165" y="4114"/>
                  <a:pt x="1755" y="4133"/>
                </a:cubicBezTo>
                <a:close/>
                <a:moveTo>
                  <a:pt x="3949" y="3016"/>
                </a:moveTo>
                <a:cubicBezTo>
                  <a:pt x="3678" y="3016"/>
                  <a:pt x="3470" y="3215"/>
                  <a:pt x="3470" y="3455"/>
                </a:cubicBezTo>
                <a:cubicBezTo>
                  <a:pt x="3470" y="3654"/>
                  <a:pt x="3590" y="3813"/>
                  <a:pt x="3750" y="3813"/>
                </a:cubicBezTo>
                <a:cubicBezTo>
                  <a:pt x="3806" y="3813"/>
                  <a:pt x="3861" y="3782"/>
                  <a:pt x="3861" y="3710"/>
                </a:cubicBezTo>
                <a:cubicBezTo>
                  <a:pt x="3861" y="3606"/>
                  <a:pt x="3724" y="3581"/>
                  <a:pt x="3734" y="3426"/>
                </a:cubicBezTo>
                <a:cubicBezTo>
                  <a:pt x="3741" y="3323"/>
                  <a:pt x="3837" y="3255"/>
                  <a:pt x="3933" y="3255"/>
                </a:cubicBezTo>
                <a:cubicBezTo>
                  <a:pt x="4124" y="3255"/>
                  <a:pt x="4214" y="3440"/>
                  <a:pt x="4214" y="3632"/>
                </a:cubicBezTo>
                <a:cubicBezTo>
                  <a:pt x="4206" y="3927"/>
                  <a:pt x="3989" y="4133"/>
                  <a:pt x="3734" y="4133"/>
                </a:cubicBezTo>
                <a:cubicBezTo>
                  <a:pt x="3398" y="4133"/>
                  <a:pt x="3183" y="3813"/>
                  <a:pt x="3183" y="3470"/>
                </a:cubicBezTo>
                <a:cubicBezTo>
                  <a:pt x="3183" y="2960"/>
                  <a:pt x="3518" y="2760"/>
                  <a:pt x="3694" y="2712"/>
                </a:cubicBezTo>
                <a:cubicBezTo>
                  <a:pt x="3696" y="2712"/>
                  <a:pt x="4153" y="2794"/>
                  <a:pt x="4138" y="2592"/>
                </a:cubicBezTo>
                <a:cubicBezTo>
                  <a:pt x="4132" y="2504"/>
                  <a:pt x="4000" y="2470"/>
                  <a:pt x="3905" y="2466"/>
                </a:cubicBezTo>
                <a:cubicBezTo>
                  <a:pt x="3799" y="2462"/>
                  <a:pt x="3692" y="2500"/>
                  <a:pt x="3692" y="2500"/>
                </a:cubicBezTo>
                <a:cubicBezTo>
                  <a:pt x="3636" y="2472"/>
                  <a:pt x="3598" y="2417"/>
                  <a:pt x="3574" y="2354"/>
                </a:cubicBezTo>
                <a:cubicBezTo>
                  <a:pt x="3901" y="2106"/>
                  <a:pt x="4133" y="1867"/>
                  <a:pt x="4133" y="1596"/>
                </a:cubicBezTo>
                <a:cubicBezTo>
                  <a:pt x="4133" y="1452"/>
                  <a:pt x="4037" y="1324"/>
                  <a:pt x="3853" y="1324"/>
                </a:cubicBezTo>
                <a:cubicBezTo>
                  <a:pt x="3526" y="1324"/>
                  <a:pt x="3279" y="1739"/>
                  <a:pt x="3279" y="2114"/>
                </a:cubicBezTo>
                <a:cubicBezTo>
                  <a:pt x="3279" y="2178"/>
                  <a:pt x="3279" y="2242"/>
                  <a:pt x="3295" y="2298"/>
                </a:cubicBezTo>
                <a:cubicBezTo>
                  <a:pt x="3087" y="2449"/>
                  <a:pt x="2933" y="2543"/>
                  <a:pt x="2654" y="2711"/>
                </a:cubicBezTo>
                <a:cubicBezTo>
                  <a:pt x="2654" y="2676"/>
                  <a:pt x="2661" y="2586"/>
                  <a:pt x="2685" y="2469"/>
                </a:cubicBezTo>
                <a:cubicBezTo>
                  <a:pt x="2780" y="2365"/>
                  <a:pt x="2912" y="2210"/>
                  <a:pt x="2912" y="2090"/>
                </a:cubicBezTo>
                <a:cubicBezTo>
                  <a:pt x="2912" y="2034"/>
                  <a:pt x="2880" y="1987"/>
                  <a:pt x="2816" y="1987"/>
                </a:cubicBezTo>
                <a:cubicBezTo>
                  <a:pt x="2657" y="1987"/>
                  <a:pt x="2537" y="2226"/>
                  <a:pt x="2505" y="2393"/>
                </a:cubicBezTo>
                <a:cubicBezTo>
                  <a:pt x="2433" y="2481"/>
                  <a:pt x="2290" y="2593"/>
                  <a:pt x="2170" y="2593"/>
                </a:cubicBezTo>
                <a:cubicBezTo>
                  <a:pt x="2074" y="2593"/>
                  <a:pt x="2042" y="2505"/>
                  <a:pt x="2034" y="2473"/>
                </a:cubicBezTo>
                <a:cubicBezTo>
                  <a:pt x="2338" y="2369"/>
                  <a:pt x="2712" y="1955"/>
                  <a:pt x="2712" y="1580"/>
                </a:cubicBezTo>
                <a:cubicBezTo>
                  <a:pt x="2712" y="1500"/>
                  <a:pt x="2681" y="1324"/>
                  <a:pt x="2441" y="1324"/>
                </a:cubicBezTo>
                <a:cubicBezTo>
                  <a:pt x="2082" y="1324"/>
                  <a:pt x="1779" y="1859"/>
                  <a:pt x="1779" y="2274"/>
                </a:cubicBezTo>
                <a:cubicBezTo>
                  <a:pt x="1651" y="2274"/>
                  <a:pt x="1604" y="2138"/>
                  <a:pt x="1604" y="2034"/>
                </a:cubicBezTo>
                <a:cubicBezTo>
                  <a:pt x="1604" y="1931"/>
                  <a:pt x="1643" y="1827"/>
                  <a:pt x="1643" y="1795"/>
                </a:cubicBezTo>
                <a:cubicBezTo>
                  <a:pt x="1643" y="1763"/>
                  <a:pt x="1627" y="1723"/>
                  <a:pt x="1580" y="1723"/>
                </a:cubicBezTo>
                <a:cubicBezTo>
                  <a:pt x="1460" y="1723"/>
                  <a:pt x="1388" y="1883"/>
                  <a:pt x="1388" y="2066"/>
                </a:cubicBezTo>
                <a:cubicBezTo>
                  <a:pt x="1396" y="2322"/>
                  <a:pt x="1564" y="2481"/>
                  <a:pt x="1787" y="2497"/>
                </a:cubicBezTo>
                <a:cubicBezTo>
                  <a:pt x="1819" y="2649"/>
                  <a:pt x="1955" y="2792"/>
                  <a:pt x="2122" y="2792"/>
                </a:cubicBezTo>
                <a:cubicBezTo>
                  <a:pt x="2226" y="2792"/>
                  <a:pt x="2353" y="2760"/>
                  <a:pt x="2441" y="2681"/>
                </a:cubicBezTo>
                <a:cubicBezTo>
                  <a:pt x="2433" y="2737"/>
                  <a:pt x="2425" y="2784"/>
                  <a:pt x="2417" y="2832"/>
                </a:cubicBezTo>
                <a:cubicBezTo>
                  <a:pt x="2066" y="3016"/>
                  <a:pt x="1811" y="3143"/>
                  <a:pt x="1580" y="3351"/>
                </a:cubicBezTo>
                <a:cubicBezTo>
                  <a:pt x="1396" y="3518"/>
                  <a:pt x="1292" y="3742"/>
                  <a:pt x="1292" y="3917"/>
                </a:cubicBezTo>
                <a:cubicBezTo>
                  <a:pt x="1292" y="4157"/>
                  <a:pt x="1444" y="4380"/>
                  <a:pt x="1755" y="4380"/>
                </a:cubicBezTo>
                <a:cubicBezTo>
                  <a:pt x="2122" y="4380"/>
                  <a:pt x="2401" y="4085"/>
                  <a:pt x="2537" y="3678"/>
                </a:cubicBezTo>
                <a:cubicBezTo>
                  <a:pt x="2601" y="3486"/>
                  <a:pt x="2626" y="3208"/>
                  <a:pt x="2642" y="2952"/>
                </a:cubicBezTo>
                <a:cubicBezTo>
                  <a:pt x="3009" y="2745"/>
                  <a:pt x="3183" y="2625"/>
                  <a:pt x="3374" y="2489"/>
                </a:cubicBezTo>
                <a:cubicBezTo>
                  <a:pt x="3398" y="2529"/>
                  <a:pt x="3423" y="2561"/>
                  <a:pt x="3454" y="2585"/>
                </a:cubicBezTo>
                <a:cubicBezTo>
                  <a:pt x="3287" y="2673"/>
                  <a:pt x="2888" y="2920"/>
                  <a:pt x="2888" y="3502"/>
                </a:cubicBezTo>
                <a:cubicBezTo>
                  <a:pt x="2888" y="3917"/>
                  <a:pt x="3167" y="4380"/>
                  <a:pt x="3718" y="4380"/>
                </a:cubicBezTo>
                <a:cubicBezTo>
                  <a:pt x="4172" y="4380"/>
                  <a:pt x="4484" y="4005"/>
                  <a:pt x="4484" y="3646"/>
                </a:cubicBezTo>
                <a:cubicBezTo>
                  <a:pt x="4484" y="3319"/>
                  <a:pt x="4300" y="3016"/>
                  <a:pt x="3949" y="3016"/>
                </a:cubicBezTo>
                <a:close/>
                <a:moveTo>
                  <a:pt x="5321" y="3701"/>
                </a:moveTo>
                <a:cubicBezTo>
                  <a:pt x="5319" y="3703"/>
                  <a:pt x="5315" y="3707"/>
                  <a:pt x="5306" y="3704"/>
                </a:cubicBezTo>
                <a:cubicBezTo>
                  <a:pt x="5299" y="3702"/>
                  <a:pt x="5297" y="3698"/>
                  <a:pt x="5297" y="3694"/>
                </a:cubicBezTo>
                <a:cubicBezTo>
                  <a:pt x="5298" y="3689"/>
                  <a:pt x="5394" y="3405"/>
                  <a:pt x="5393" y="3080"/>
                </a:cubicBezTo>
                <a:cubicBezTo>
                  <a:pt x="5392" y="2728"/>
                  <a:pt x="5249" y="2513"/>
                  <a:pt x="5066" y="2513"/>
                </a:cubicBezTo>
                <a:cubicBezTo>
                  <a:pt x="4954" y="2513"/>
                  <a:pt x="4874" y="2593"/>
                  <a:pt x="4874" y="2712"/>
                </a:cubicBezTo>
                <a:cubicBezTo>
                  <a:pt x="4874" y="2928"/>
                  <a:pt x="5138" y="2944"/>
                  <a:pt x="5138" y="3415"/>
                </a:cubicBezTo>
                <a:cubicBezTo>
                  <a:pt x="5138" y="3606"/>
                  <a:pt x="5098" y="3789"/>
                  <a:pt x="5034" y="3989"/>
                </a:cubicBezTo>
                <a:cubicBezTo>
                  <a:pt x="4739" y="4986"/>
                  <a:pt x="3797" y="5449"/>
                  <a:pt x="2880" y="5449"/>
                </a:cubicBezTo>
                <a:cubicBezTo>
                  <a:pt x="2457" y="5449"/>
                  <a:pt x="2157" y="5362"/>
                  <a:pt x="2067" y="5322"/>
                </a:cubicBezTo>
                <a:cubicBezTo>
                  <a:pt x="2063" y="5320"/>
                  <a:pt x="2061" y="5313"/>
                  <a:pt x="2063" y="5306"/>
                </a:cubicBezTo>
                <a:cubicBezTo>
                  <a:pt x="2065" y="5300"/>
                  <a:pt x="2072" y="5296"/>
                  <a:pt x="2075" y="5298"/>
                </a:cubicBezTo>
                <a:cubicBezTo>
                  <a:pt x="2111" y="5312"/>
                  <a:pt x="2369" y="5393"/>
                  <a:pt x="2689" y="5393"/>
                </a:cubicBezTo>
                <a:cubicBezTo>
                  <a:pt x="3040" y="5393"/>
                  <a:pt x="3247" y="5250"/>
                  <a:pt x="3247" y="5074"/>
                </a:cubicBezTo>
                <a:cubicBezTo>
                  <a:pt x="3247" y="4962"/>
                  <a:pt x="3159" y="4875"/>
                  <a:pt x="3047" y="4875"/>
                </a:cubicBezTo>
                <a:cubicBezTo>
                  <a:pt x="2832" y="4875"/>
                  <a:pt x="2816" y="5146"/>
                  <a:pt x="2353" y="5146"/>
                </a:cubicBezTo>
                <a:cubicBezTo>
                  <a:pt x="2154" y="5146"/>
                  <a:pt x="1979" y="5106"/>
                  <a:pt x="1771" y="5042"/>
                </a:cubicBezTo>
                <a:cubicBezTo>
                  <a:pt x="782" y="4739"/>
                  <a:pt x="310" y="3805"/>
                  <a:pt x="311" y="2880"/>
                </a:cubicBezTo>
                <a:cubicBezTo>
                  <a:pt x="311" y="2429"/>
                  <a:pt x="438" y="2070"/>
                  <a:pt x="440" y="2067"/>
                </a:cubicBezTo>
                <a:cubicBezTo>
                  <a:pt x="441" y="2065"/>
                  <a:pt x="447" y="2062"/>
                  <a:pt x="454" y="2065"/>
                </a:cubicBezTo>
                <a:cubicBezTo>
                  <a:pt x="461" y="2067"/>
                  <a:pt x="463" y="2073"/>
                  <a:pt x="462" y="2075"/>
                </a:cubicBezTo>
                <a:cubicBezTo>
                  <a:pt x="451" y="2112"/>
                  <a:pt x="367" y="2370"/>
                  <a:pt x="367" y="2688"/>
                </a:cubicBezTo>
                <a:cubicBezTo>
                  <a:pt x="367" y="3040"/>
                  <a:pt x="511" y="3247"/>
                  <a:pt x="694" y="3247"/>
                </a:cubicBezTo>
                <a:cubicBezTo>
                  <a:pt x="798" y="3247"/>
                  <a:pt x="885" y="3167"/>
                  <a:pt x="885" y="3056"/>
                </a:cubicBezTo>
                <a:cubicBezTo>
                  <a:pt x="885" y="2840"/>
                  <a:pt x="622" y="2816"/>
                  <a:pt x="622" y="2354"/>
                </a:cubicBezTo>
                <a:cubicBezTo>
                  <a:pt x="622" y="2154"/>
                  <a:pt x="662" y="1978"/>
                  <a:pt x="726" y="1771"/>
                </a:cubicBezTo>
                <a:cubicBezTo>
                  <a:pt x="1029" y="782"/>
                  <a:pt x="1963" y="318"/>
                  <a:pt x="2880" y="311"/>
                </a:cubicBezTo>
                <a:cubicBezTo>
                  <a:pt x="3306" y="308"/>
                  <a:pt x="3680" y="435"/>
                  <a:pt x="3694" y="447"/>
                </a:cubicBezTo>
                <a:cubicBezTo>
                  <a:pt x="3696" y="449"/>
                  <a:pt x="3699" y="455"/>
                  <a:pt x="3696" y="461"/>
                </a:cubicBezTo>
                <a:cubicBezTo>
                  <a:pt x="3693" y="468"/>
                  <a:pt x="3688" y="469"/>
                  <a:pt x="3686" y="469"/>
                </a:cubicBezTo>
                <a:cubicBezTo>
                  <a:pt x="3681" y="468"/>
                  <a:pt x="3439" y="367"/>
                  <a:pt x="3071" y="367"/>
                </a:cubicBezTo>
                <a:cubicBezTo>
                  <a:pt x="2728" y="367"/>
                  <a:pt x="2513" y="510"/>
                  <a:pt x="2513" y="694"/>
                </a:cubicBezTo>
                <a:cubicBezTo>
                  <a:pt x="2513" y="798"/>
                  <a:pt x="2593" y="885"/>
                  <a:pt x="2712" y="885"/>
                </a:cubicBezTo>
                <a:cubicBezTo>
                  <a:pt x="2928" y="885"/>
                  <a:pt x="2944" y="622"/>
                  <a:pt x="3406" y="622"/>
                </a:cubicBezTo>
                <a:cubicBezTo>
                  <a:pt x="3606" y="622"/>
                  <a:pt x="3781" y="662"/>
                  <a:pt x="3989" y="726"/>
                </a:cubicBezTo>
                <a:cubicBezTo>
                  <a:pt x="4986" y="1029"/>
                  <a:pt x="5440" y="1971"/>
                  <a:pt x="5449" y="2880"/>
                </a:cubicBezTo>
                <a:cubicBezTo>
                  <a:pt x="5453" y="3346"/>
                  <a:pt x="5322" y="3699"/>
                  <a:pt x="5321" y="3701"/>
                </a:cubicBezTo>
                <a:close/>
                <a:moveTo>
                  <a:pt x="2880" y="136"/>
                </a:moveTo>
                <a:cubicBezTo>
                  <a:pt x="1364" y="136"/>
                  <a:pt x="135" y="1364"/>
                  <a:pt x="135" y="2880"/>
                </a:cubicBezTo>
                <a:cubicBezTo>
                  <a:pt x="135" y="4396"/>
                  <a:pt x="1364" y="5624"/>
                  <a:pt x="2880" y="5624"/>
                </a:cubicBezTo>
                <a:cubicBezTo>
                  <a:pt x="4396" y="5624"/>
                  <a:pt x="5624" y="4396"/>
                  <a:pt x="5624" y="2880"/>
                </a:cubicBezTo>
                <a:cubicBezTo>
                  <a:pt x="5624" y="1372"/>
                  <a:pt x="4396" y="136"/>
                  <a:pt x="2880" y="136"/>
                </a:cubicBezTo>
                <a:close/>
                <a:moveTo>
                  <a:pt x="2880" y="5760"/>
                </a:moveTo>
                <a:cubicBezTo>
                  <a:pt x="1292" y="5760"/>
                  <a:pt x="0" y="4476"/>
                  <a:pt x="0" y="2880"/>
                </a:cubicBezTo>
                <a:cubicBezTo>
                  <a:pt x="0" y="1292"/>
                  <a:pt x="1292" y="0"/>
                  <a:pt x="2880" y="0"/>
                </a:cubicBezTo>
                <a:cubicBezTo>
                  <a:pt x="4467" y="0"/>
                  <a:pt x="5760" y="1292"/>
                  <a:pt x="5760" y="2880"/>
                </a:cubicBezTo>
                <a:cubicBezTo>
                  <a:pt x="5760" y="4476"/>
                  <a:pt x="4467" y="5760"/>
                  <a:pt x="2880" y="576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3666A"/>
              </a:solidFill>
              <a:effectLst/>
              <a:uLnTx/>
              <a:uFillTx/>
              <a:latin typeface="GE Inspira Sans"/>
              <a:ea typeface="+mn-ea"/>
              <a:cs typeface="+mn-cs"/>
            </a:endParaRPr>
          </a:p>
        </p:txBody>
      </p:sp>
      <p:sp>
        <p:nvSpPr>
          <p:cNvPr id="35" name="TextBox 34">
            <a:extLst>
              <a:ext uri="{FF2B5EF4-FFF2-40B4-BE49-F238E27FC236}">
                <a16:creationId xmlns:a16="http://schemas.microsoft.com/office/drawing/2014/main" id="{9E382A69-34E1-4D7A-8A68-F983F92252F4}"/>
              </a:ext>
            </a:extLst>
          </p:cNvPr>
          <p:cNvSpPr txBox="1"/>
          <p:nvPr/>
        </p:nvSpPr>
        <p:spPr>
          <a:xfrm>
            <a:off x="5995439" y="3925454"/>
            <a:ext cx="5852160"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GE Inspira Sans"/>
                <a:ea typeface="+mn-ea"/>
                <a:cs typeface="+mn-cs"/>
              </a:rPr>
              <a:t>Gas </a:t>
            </a:r>
            <a:r>
              <a:rPr kumimoji="0" lang="en-US" sz="2000" b="0" i="0" u="none" strike="noStrike" kern="1200" cap="none" spc="0" normalizeH="0" baseline="0" noProof="0" dirty="0">
                <a:ln>
                  <a:noFill/>
                </a:ln>
                <a:solidFill>
                  <a:prstClr val="white"/>
                </a:solidFill>
                <a:effectLst/>
                <a:uLnTx/>
                <a:uFillTx/>
                <a:latin typeface="GE Inspira Sans"/>
                <a:ea typeface="+mn-ea"/>
                <a:cs typeface="+mn-cs"/>
              </a:rPr>
              <a:t>will still play a vital but changing role, providing </a:t>
            </a:r>
            <a:r>
              <a:rPr kumimoji="0" lang="en-US" sz="2000" b="1" i="0" u="none" strike="noStrike" kern="1200" cap="none" spc="0" normalizeH="0" baseline="0" noProof="0" dirty="0">
                <a:ln>
                  <a:noFill/>
                </a:ln>
                <a:solidFill>
                  <a:prstClr val="white"/>
                </a:solidFill>
                <a:effectLst/>
                <a:uLnTx/>
                <a:uFillTx/>
                <a:latin typeface="GE Inspira Sans"/>
                <a:ea typeface="+mn-ea"/>
                <a:cs typeface="+mn-cs"/>
              </a:rPr>
              <a:t>dispatchable, flexible, resilient,  &amp; lower CO</a:t>
            </a:r>
            <a:r>
              <a:rPr kumimoji="0" lang="en-US" sz="2000" b="1" i="0" u="none" strike="noStrike" kern="1200" cap="none" spc="0" normalizeH="0" baseline="-25000" noProof="0" dirty="0">
                <a:ln>
                  <a:noFill/>
                </a:ln>
                <a:solidFill>
                  <a:prstClr val="white"/>
                </a:solidFill>
                <a:effectLst/>
                <a:uLnTx/>
                <a:uFillTx/>
                <a:latin typeface="GE Inspira Sans"/>
                <a:ea typeface="+mn-ea"/>
                <a:cs typeface="+mn-cs"/>
              </a:rPr>
              <a:t>2</a:t>
            </a:r>
            <a:r>
              <a:rPr kumimoji="0" lang="en-US" sz="2000" b="1" i="0" u="none" strike="noStrike" kern="1200" cap="none" spc="0" normalizeH="0" baseline="0" noProof="0" dirty="0">
                <a:ln>
                  <a:noFill/>
                </a:ln>
                <a:solidFill>
                  <a:prstClr val="white"/>
                </a:solidFill>
                <a:effectLst/>
                <a:uLnTx/>
                <a:uFillTx/>
                <a:latin typeface="GE Inspira Sans"/>
                <a:ea typeface="+mn-ea"/>
                <a:cs typeface="+mn-cs"/>
              </a:rPr>
              <a:t> </a:t>
            </a:r>
            <a:r>
              <a:rPr kumimoji="0" lang="en-US" sz="2000" b="0" i="0" u="none" strike="noStrike" kern="1200" cap="none" spc="0" normalizeH="0" baseline="0" noProof="0" dirty="0">
                <a:ln>
                  <a:noFill/>
                </a:ln>
                <a:solidFill>
                  <a:prstClr val="white"/>
                </a:solidFill>
                <a:effectLst/>
                <a:uLnTx/>
                <a:uFillTx/>
                <a:latin typeface="GE Inspira Sans"/>
                <a:ea typeface="+mn-ea"/>
                <a:cs typeface="+mn-cs"/>
              </a:rPr>
              <a:t>power</a:t>
            </a:r>
          </a:p>
        </p:txBody>
      </p:sp>
      <p:sp>
        <p:nvSpPr>
          <p:cNvPr id="4" name="Rectangle 3">
            <a:extLst>
              <a:ext uri="{FF2B5EF4-FFF2-40B4-BE49-F238E27FC236}">
                <a16:creationId xmlns:a16="http://schemas.microsoft.com/office/drawing/2014/main" id="{1DBFB02E-2594-46E5-92A7-75C82D9A62DB}"/>
              </a:ext>
            </a:extLst>
          </p:cNvPr>
          <p:cNvSpPr/>
          <p:nvPr/>
        </p:nvSpPr>
        <p:spPr>
          <a:xfrm>
            <a:off x="453187" y="200863"/>
            <a:ext cx="1843718" cy="584775"/>
          </a:xfrm>
          <a:prstGeom prst="rect">
            <a:avLst/>
          </a:prstGeom>
          <a:noFill/>
        </p:spPr>
        <p:txBody>
          <a:bodyPr wrap="square" lIns="36000" r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GE Inspira Sans"/>
                <a:ea typeface="+mn-ea"/>
                <a:cs typeface="Arial" pitchFamily="34" charset="0"/>
              </a:rPr>
              <a:t>Forecast orders mix in MW (’19-’28)</a:t>
            </a:r>
          </a:p>
        </p:txBody>
      </p:sp>
      <p:sp>
        <p:nvSpPr>
          <p:cNvPr id="41" name="TextBox 40">
            <a:extLst>
              <a:ext uri="{FF2B5EF4-FFF2-40B4-BE49-F238E27FC236}">
                <a16:creationId xmlns:a16="http://schemas.microsoft.com/office/drawing/2014/main" id="{7C40DC43-69D8-405D-9D62-0AA5028DECED}"/>
              </a:ext>
            </a:extLst>
          </p:cNvPr>
          <p:cNvSpPr txBox="1"/>
          <p:nvPr/>
        </p:nvSpPr>
        <p:spPr>
          <a:xfrm>
            <a:off x="1783385" y="2757754"/>
            <a:ext cx="1133440"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E Inspira Sans"/>
                <a:ea typeface="+mn-ea"/>
                <a:cs typeface="+mn-cs"/>
              </a:rPr>
              <a:t>Source: GE Internal Forecast GPO19</a:t>
            </a:r>
          </a:p>
        </p:txBody>
      </p:sp>
      <p:sp>
        <p:nvSpPr>
          <p:cNvPr id="17" name="TextBox 16">
            <a:extLst>
              <a:ext uri="{FF2B5EF4-FFF2-40B4-BE49-F238E27FC236}">
                <a16:creationId xmlns:a16="http://schemas.microsoft.com/office/drawing/2014/main" id="{5F1E6775-ADB0-4AFA-9711-A65B7F715B07}"/>
              </a:ext>
            </a:extLst>
          </p:cNvPr>
          <p:cNvSpPr txBox="1"/>
          <p:nvPr/>
        </p:nvSpPr>
        <p:spPr>
          <a:xfrm>
            <a:off x="1851503" y="2576090"/>
            <a:ext cx="157153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GE Inspira Sans"/>
                <a:ea typeface="+mn-ea"/>
                <a:cs typeface="+mn-cs"/>
              </a:rPr>
              <a:t>* Fossil: Coal and oil</a:t>
            </a:r>
          </a:p>
        </p:txBody>
      </p:sp>
      <p:pic>
        <p:nvPicPr>
          <p:cNvPr id="21" name="Picture 20">
            <a:extLst>
              <a:ext uri="{FF2B5EF4-FFF2-40B4-BE49-F238E27FC236}">
                <a16:creationId xmlns:a16="http://schemas.microsoft.com/office/drawing/2014/main" id="{285B1B76-BC5C-4683-92CB-B405D7DD124C}"/>
              </a:ext>
            </a:extLst>
          </p:cNvPr>
          <p:cNvPicPr>
            <a:picLocks noChangeAspect="1"/>
          </p:cNvPicPr>
          <p:nvPr/>
        </p:nvPicPr>
        <p:blipFill>
          <a:blip r:embed="rId7"/>
          <a:stretch>
            <a:fillRect/>
          </a:stretch>
        </p:blipFill>
        <p:spPr>
          <a:xfrm>
            <a:off x="2051300" y="36013"/>
            <a:ext cx="3522336" cy="3233771"/>
          </a:xfrm>
          <a:prstGeom prst="rect">
            <a:avLst/>
          </a:prstGeom>
        </p:spPr>
      </p:pic>
      <p:sp>
        <p:nvSpPr>
          <p:cNvPr id="47" name="Rectangle: Rounded Corners 13">
            <a:extLst>
              <a:ext uri="{FF2B5EF4-FFF2-40B4-BE49-F238E27FC236}">
                <a16:creationId xmlns:a16="http://schemas.microsoft.com/office/drawing/2014/main" id="{8F483F62-16C8-4B0C-8F09-7C04B8F2C51B}"/>
              </a:ext>
            </a:extLst>
          </p:cNvPr>
          <p:cNvSpPr/>
          <p:nvPr/>
        </p:nvSpPr>
        <p:spPr>
          <a:xfrm>
            <a:off x="5906029" y="5545606"/>
            <a:ext cx="6136814" cy="918436"/>
          </a:xfrm>
          <a:prstGeom prst="roundRect">
            <a:avLst>
              <a:gd name="adj" fmla="val 50000"/>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GE Inspira Sans"/>
                <a:ea typeface="+mn-ea"/>
                <a:cs typeface="+mn-cs"/>
              </a:rPr>
              <a:t>Renewables segment growing at unprecedent pace </a:t>
            </a:r>
            <a:br>
              <a:rPr kumimoji="0" lang="en-US" sz="2000" b="0" i="0" u="none" strike="noStrike" kern="1200" cap="none" spc="0" normalizeH="0" baseline="0" noProof="0" dirty="0">
                <a:ln>
                  <a:noFill/>
                </a:ln>
                <a:solidFill>
                  <a:prstClr val="white"/>
                </a:solidFill>
                <a:effectLst/>
                <a:uLnTx/>
                <a:uFillTx/>
                <a:latin typeface="GE Inspira Sans"/>
                <a:ea typeface="+mn-ea"/>
                <a:cs typeface="+mn-cs"/>
              </a:rPr>
            </a:br>
            <a:r>
              <a:rPr kumimoji="0" lang="en-US" sz="2000" b="0" i="0" u="none" strike="noStrike" kern="1200" cap="none" spc="0" normalizeH="0" baseline="0" noProof="0" dirty="0">
                <a:ln>
                  <a:noFill/>
                </a:ln>
                <a:solidFill>
                  <a:prstClr val="white"/>
                </a:solidFill>
                <a:effectLst/>
                <a:uLnTx/>
                <a:uFillTx/>
                <a:latin typeface="GE Inspira Sans"/>
                <a:ea typeface="+mn-ea"/>
                <a:cs typeface="+mn-cs"/>
              </a:rPr>
              <a:t>To meet climate change and grid imperatives, the model must evolve</a:t>
            </a:r>
          </a:p>
        </p:txBody>
      </p:sp>
      <p:sp>
        <p:nvSpPr>
          <p:cNvPr id="48" name="TextBox 47">
            <a:extLst>
              <a:ext uri="{FF2B5EF4-FFF2-40B4-BE49-F238E27FC236}">
                <a16:creationId xmlns:a16="http://schemas.microsoft.com/office/drawing/2014/main" id="{04B4E1B2-9A15-424B-A0D4-139F2446D985}"/>
              </a:ext>
            </a:extLst>
          </p:cNvPr>
          <p:cNvSpPr txBox="1"/>
          <p:nvPr/>
        </p:nvSpPr>
        <p:spPr>
          <a:xfrm>
            <a:off x="546083" y="5865287"/>
            <a:ext cx="2334212"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E Inspira Sans"/>
                <a:ea typeface="+mn-ea"/>
                <a:cs typeface="+mn-cs"/>
              </a:rPr>
              <a:t>Source: GE</a:t>
            </a:r>
          </a:p>
        </p:txBody>
      </p:sp>
      <p:sp>
        <p:nvSpPr>
          <p:cNvPr id="27" name="TextBox 21">
            <a:extLst>
              <a:ext uri="{FF2B5EF4-FFF2-40B4-BE49-F238E27FC236}">
                <a16:creationId xmlns:a16="http://schemas.microsoft.com/office/drawing/2014/main" id="{A8E8CA19-7D54-4D56-A403-36B2477067D3}"/>
              </a:ext>
            </a:extLst>
          </p:cNvPr>
          <p:cNvSpPr txBox="1"/>
          <p:nvPr/>
        </p:nvSpPr>
        <p:spPr>
          <a:xfrm>
            <a:off x="3832576" y="6562642"/>
            <a:ext cx="4540651" cy="18288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E Inspira Sans"/>
                <a:ea typeface="+mn-ea"/>
                <a:cs typeface="+mn-cs"/>
              </a:rPr>
              <a:t>© 2021 General Electric Company. </a:t>
            </a:r>
          </a:p>
        </p:txBody>
      </p:sp>
      <p:pic>
        <p:nvPicPr>
          <p:cNvPr id="18" name="Image 17">
            <a:extLst>
              <a:ext uri="{FF2B5EF4-FFF2-40B4-BE49-F238E27FC236}">
                <a16:creationId xmlns:a16="http://schemas.microsoft.com/office/drawing/2014/main" id="{4FFE5CC3-1AAF-4DBE-8D36-0C2A9856B472}"/>
              </a:ext>
            </a:extLst>
          </p:cNvPr>
          <p:cNvPicPr>
            <a:picLocks noChangeAspect="1"/>
          </p:cNvPicPr>
          <p:nvPr/>
        </p:nvPicPr>
        <p:blipFill rotWithShape="1">
          <a:blip r:embed="rId8"/>
          <a:srcRect t="10521"/>
          <a:stretch/>
        </p:blipFill>
        <p:spPr>
          <a:xfrm>
            <a:off x="-247626" y="3773079"/>
            <a:ext cx="5934333" cy="2926546"/>
          </a:xfrm>
          <a:prstGeom prst="rect">
            <a:avLst/>
          </a:prstGeom>
        </p:spPr>
      </p:pic>
      <p:sp>
        <p:nvSpPr>
          <p:cNvPr id="37" name="Espace réservé du numéro de diapositive 4">
            <a:extLst>
              <a:ext uri="{FF2B5EF4-FFF2-40B4-BE49-F238E27FC236}">
                <a16:creationId xmlns:a16="http://schemas.microsoft.com/office/drawing/2014/main" id="{4E52E9C0-0158-420F-824F-7BB67949BE46}"/>
              </a:ext>
            </a:extLst>
          </p:cNvPr>
          <p:cNvSpPr>
            <a:spLocks noGrp="1"/>
          </p:cNvSpPr>
          <p:nvPr>
            <p:ph type="sldNum" sz="quarter" idx="12"/>
          </p:nvPr>
        </p:nvSpPr>
        <p:spPr>
          <a:xfrm>
            <a:off x="11371032" y="6553226"/>
            <a:ext cx="329636" cy="18288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6A5BD-C011-4A45-AA3A-201790FB7F2B}" type="slidenum">
              <a:rPr kumimoji="0" lang="en-CA" sz="1000" b="0" i="0" u="none" strike="noStrike" kern="1200" cap="none" spc="0" normalizeH="0" baseline="0" noProof="0" smtClean="0">
                <a:ln>
                  <a:noFill/>
                </a:ln>
                <a:solidFill>
                  <a:prstClr val="white"/>
                </a:solidFill>
                <a:effectLst/>
                <a:uLnTx/>
                <a:uFillTx/>
                <a:latin typeface="GE Inspira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A" sz="1000" b="0" i="0" u="none" strike="noStrike" kern="1200" cap="none" spc="0" normalizeH="0" baseline="0" noProof="0">
              <a:ln>
                <a:noFill/>
              </a:ln>
              <a:solidFill>
                <a:prstClr val="white"/>
              </a:solidFill>
              <a:effectLst/>
              <a:uLnTx/>
              <a:uFillTx/>
              <a:latin typeface="GE Inspira Sans"/>
              <a:ea typeface="+mn-ea"/>
              <a:cs typeface="+mn-cs"/>
            </a:endParaRPr>
          </a:p>
        </p:txBody>
      </p:sp>
      <p:cxnSp>
        <p:nvCxnSpPr>
          <p:cNvPr id="12" name="Straight Connector 11">
            <a:extLst>
              <a:ext uri="{FF2B5EF4-FFF2-40B4-BE49-F238E27FC236}">
                <a16:creationId xmlns:a16="http://schemas.microsoft.com/office/drawing/2014/main" id="{9F336EDD-68D7-4427-ABF2-2916FE6F4493}"/>
              </a:ext>
            </a:extLst>
          </p:cNvPr>
          <p:cNvCxnSpPr/>
          <p:nvPr/>
        </p:nvCxnSpPr>
        <p:spPr>
          <a:xfrm flipH="1">
            <a:off x="515012" y="3223665"/>
            <a:ext cx="5058624" cy="0"/>
          </a:xfrm>
          <a:prstGeom prst="line">
            <a:avLst/>
          </a:prstGeom>
          <a:noFill/>
          <a:ln w="28575">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cxnSp>
      <p:sp>
        <p:nvSpPr>
          <p:cNvPr id="38" name="Rectangle 37">
            <a:extLst>
              <a:ext uri="{FF2B5EF4-FFF2-40B4-BE49-F238E27FC236}">
                <a16:creationId xmlns:a16="http://schemas.microsoft.com/office/drawing/2014/main" id="{B796C8D4-EE73-43F9-A83E-12C50F04D74C}"/>
              </a:ext>
            </a:extLst>
          </p:cNvPr>
          <p:cNvSpPr/>
          <p:nvPr/>
        </p:nvSpPr>
        <p:spPr>
          <a:xfrm>
            <a:off x="465188" y="3251622"/>
            <a:ext cx="3027042" cy="584775"/>
          </a:xfrm>
          <a:prstGeom prst="rect">
            <a:avLst/>
          </a:prstGeom>
          <a:noFill/>
        </p:spPr>
        <p:txBody>
          <a:bodyPr wrap="square" lIns="36000" r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GE Inspira Sans"/>
                <a:ea typeface="+mn-ea"/>
                <a:cs typeface="Arial" pitchFamily="34" charset="0"/>
              </a:rPr>
              <a:t>Installed base evolution (in GW) over 2018-2028 by region</a:t>
            </a:r>
            <a:endParaRPr kumimoji="0" lang="en-US" sz="1600" b="1" i="0" u="none" strike="noStrike" kern="1200" cap="none" spc="0" normalizeH="0" baseline="0" noProof="0" dirty="0">
              <a:ln>
                <a:noFill/>
              </a:ln>
              <a:solidFill>
                <a:prstClr val="white"/>
              </a:solidFill>
              <a:effectLst/>
              <a:uLnTx/>
              <a:uFillTx/>
              <a:latin typeface="GE Inspira Sans"/>
              <a:ea typeface="+mn-ea"/>
              <a:cs typeface="Arial" pitchFamily="34" charset="0"/>
            </a:endParaRPr>
          </a:p>
        </p:txBody>
      </p:sp>
    </p:spTree>
    <p:extLst>
      <p:ext uri="{BB962C8B-B14F-4D97-AF65-F5344CB8AC3E}">
        <p14:creationId xmlns:p14="http://schemas.microsoft.com/office/powerpoint/2010/main" val="1420651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54BC4CE-62C8-4755-9ABB-CA5DF5912CD2}"/>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242533" y="658446"/>
            <a:ext cx="8077125" cy="5708974"/>
          </a:xfrm>
          <a:prstGeom prst="rect">
            <a:avLst/>
          </a:prstGeom>
        </p:spPr>
      </p:pic>
      <p:sp>
        <p:nvSpPr>
          <p:cNvPr id="13" name="TextBox 12">
            <a:extLst>
              <a:ext uri="{FF2B5EF4-FFF2-40B4-BE49-F238E27FC236}">
                <a16:creationId xmlns:a16="http://schemas.microsoft.com/office/drawing/2014/main" id="{165DFBD5-2AEB-4115-823F-567F4193ADF6}"/>
              </a:ext>
            </a:extLst>
          </p:cNvPr>
          <p:cNvSpPr txBox="1"/>
          <p:nvPr/>
        </p:nvSpPr>
        <p:spPr>
          <a:xfrm>
            <a:off x="457200" y="140737"/>
            <a:ext cx="4667945"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GE Inspira Sans"/>
                <a:ea typeface="+mn-ea"/>
                <a:cs typeface="+mn-cs"/>
              </a:rPr>
              <a:t>A Lot Can Happen In 10 Years</a:t>
            </a:r>
            <a:endParaRPr kumimoji="0" lang="en-GB" sz="2800" b="0" i="0" u="none" strike="noStrike" kern="1200" cap="none" spc="0" normalizeH="0" baseline="0" noProof="0" dirty="0">
              <a:ln>
                <a:noFill/>
              </a:ln>
              <a:solidFill>
                <a:prstClr val="white"/>
              </a:solidFill>
              <a:effectLst/>
              <a:uLnTx/>
              <a:uFillTx/>
              <a:latin typeface="GE Inspira Sans"/>
              <a:ea typeface="+mn-ea"/>
              <a:cs typeface="+mn-cs"/>
            </a:endParaRPr>
          </a:p>
        </p:txBody>
      </p:sp>
      <p:sp>
        <p:nvSpPr>
          <p:cNvPr id="14" name="TextBox 13">
            <a:extLst>
              <a:ext uri="{FF2B5EF4-FFF2-40B4-BE49-F238E27FC236}">
                <a16:creationId xmlns:a16="http://schemas.microsoft.com/office/drawing/2014/main" id="{CAB45825-C89F-4A69-ACF1-ADA8F71F1ABC}"/>
              </a:ext>
            </a:extLst>
          </p:cNvPr>
          <p:cNvSpPr txBox="1"/>
          <p:nvPr/>
        </p:nvSpPr>
        <p:spPr>
          <a:xfrm>
            <a:off x="5378245" y="6122610"/>
            <a:ext cx="1435510"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white"/>
                </a:solidFill>
                <a:effectLst/>
                <a:uLnTx/>
                <a:uFillTx/>
                <a:latin typeface="GE Inspira Sans"/>
                <a:ea typeface="+mn-ea"/>
                <a:cs typeface="+mn-cs"/>
              </a:rPr>
              <a:t>Source: GE</a:t>
            </a:r>
          </a:p>
        </p:txBody>
      </p:sp>
      <p:sp>
        <p:nvSpPr>
          <p:cNvPr id="5" name="Freeform 5">
            <a:extLst>
              <a:ext uri="{FF2B5EF4-FFF2-40B4-BE49-F238E27FC236}">
                <a16:creationId xmlns:a16="http://schemas.microsoft.com/office/drawing/2014/main" id="{80BF1EEF-5F3A-44F8-982D-B5B6B6AE2B14}"/>
              </a:ext>
            </a:extLst>
          </p:cNvPr>
          <p:cNvSpPr>
            <a:spLocks noChangeAspect="1" noEditPoints="1"/>
          </p:cNvSpPr>
          <p:nvPr/>
        </p:nvSpPr>
        <p:spPr bwMode="auto">
          <a:xfrm>
            <a:off x="326571" y="6333215"/>
            <a:ext cx="387448" cy="384048"/>
          </a:xfrm>
          <a:custGeom>
            <a:avLst/>
            <a:gdLst>
              <a:gd name="T0" fmla="*/ 3869 w 5760"/>
              <a:gd name="T1" fmla="*/ 1545 h 5760"/>
              <a:gd name="T2" fmla="*/ 2018 w 5760"/>
              <a:gd name="T3" fmla="*/ 2250 h 5760"/>
              <a:gd name="T4" fmla="*/ 2018 w 5760"/>
              <a:gd name="T5" fmla="*/ 2250 h 5760"/>
              <a:gd name="T6" fmla="*/ 1556 w 5760"/>
              <a:gd name="T7" fmla="*/ 3934 h 5760"/>
              <a:gd name="T8" fmla="*/ 1755 w 5760"/>
              <a:gd name="T9" fmla="*/ 4133 h 5760"/>
              <a:gd name="T10" fmla="*/ 3470 w 5760"/>
              <a:gd name="T11" fmla="*/ 3455 h 5760"/>
              <a:gd name="T12" fmla="*/ 3861 w 5760"/>
              <a:gd name="T13" fmla="*/ 3710 h 5760"/>
              <a:gd name="T14" fmla="*/ 3933 w 5760"/>
              <a:gd name="T15" fmla="*/ 3255 h 5760"/>
              <a:gd name="T16" fmla="*/ 3734 w 5760"/>
              <a:gd name="T17" fmla="*/ 4133 h 5760"/>
              <a:gd name="T18" fmla="*/ 3694 w 5760"/>
              <a:gd name="T19" fmla="*/ 2712 h 5760"/>
              <a:gd name="T20" fmla="*/ 3905 w 5760"/>
              <a:gd name="T21" fmla="*/ 2466 h 5760"/>
              <a:gd name="T22" fmla="*/ 3574 w 5760"/>
              <a:gd name="T23" fmla="*/ 2354 h 5760"/>
              <a:gd name="T24" fmla="*/ 3853 w 5760"/>
              <a:gd name="T25" fmla="*/ 1324 h 5760"/>
              <a:gd name="T26" fmla="*/ 3295 w 5760"/>
              <a:gd name="T27" fmla="*/ 2298 h 5760"/>
              <a:gd name="T28" fmla="*/ 2685 w 5760"/>
              <a:gd name="T29" fmla="*/ 2469 h 5760"/>
              <a:gd name="T30" fmla="*/ 2816 w 5760"/>
              <a:gd name="T31" fmla="*/ 1987 h 5760"/>
              <a:gd name="T32" fmla="*/ 2170 w 5760"/>
              <a:gd name="T33" fmla="*/ 2593 h 5760"/>
              <a:gd name="T34" fmla="*/ 2712 w 5760"/>
              <a:gd name="T35" fmla="*/ 1580 h 5760"/>
              <a:gd name="T36" fmla="*/ 1779 w 5760"/>
              <a:gd name="T37" fmla="*/ 2274 h 5760"/>
              <a:gd name="T38" fmla="*/ 1643 w 5760"/>
              <a:gd name="T39" fmla="*/ 1795 h 5760"/>
              <a:gd name="T40" fmla="*/ 1388 w 5760"/>
              <a:gd name="T41" fmla="*/ 2066 h 5760"/>
              <a:gd name="T42" fmla="*/ 2122 w 5760"/>
              <a:gd name="T43" fmla="*/ 2792 h 5760"/>
              <a:gd name="T44" fmla="*/ 2417 w 5760"/>
              <a:gd name="T45" fmla="*/ 2832 h 5760"/>
              <a:gd name="T46" fmla="*/ 1292 w 5760"/>
              <a:gd name="T47" fmla="*/ 3917 h 5760"/>
              <a:gd name="T48" fmla="*/ 2537 w 5760"/>
              <a:gd name="T49" fmla="*/ 3678 h 5760"/>
              <a:gd name="T50" fmla="*/ 3374 w 5760"/>
              <a:gd name="T51" fmla="*/ 2489 h 5760"/>
              <a:gd name="T52" fmla="*/ 2888 w 5760"/>
              <a:gd name="T53" fmla="*/ 3502 h 5760"/>
              <a:gd name="T54" fmla="*/ 4484 w 5760"/>
              <a:gd name="T55" fmla="*/ 3646 h 5760"/>
              <a:gd name="T56" fmla="*/ 5321 w 5760"/>
              <a:gd name="T57" fmla="*/ 3701 h 5760"/>
              <a:gd name="T58" fmla="*/ 5297 w 5760"/>
              <a:gd name="T59" fmla="*/ 3694 h 5760"/>
              <a:gd name="T60" fmla="*/ 5066 w 5760"/>
              <a:gd name="T61" fmla="*/ 2513 h 5760"/>
              <a:gd name="T62" fmla="*/ 5138 w 5760"/>
              <a:gd name="T63" fmla="*/ 3415 h 5760"/>
              <a:gd name="T64" fmla="*/ 2880 w 5760"/>
              <a:gd name="T65" fmla="*/ 5449 h 5760"/>
              <a:gd name="T66" fmla="*/ 2063 w 5760"/>
              <a:gd name="T67" fmla="*/ 5306 h 5760"/>
              <a:gd name="T68" fmla="*/ 2689 w 5760"/>
              <a:gd name="T69" fmla="*/ 5393 h 5760"/>
              <a:gd name="T70" fmla="*/ 3047 w 5760"/>
              <a:gd name="T71" fmla="*/ 4875 h 5760"/>
              <a:gd name="T72" fmla="*/ 1771 w 5760"/>
              <a:gd name="T73" fmla="*/ 5042 h 5760"/>
              <a:gd name="T74" fmla="*/ 440 w 5760"/>
              <a:gd name="T75" fmla="*/ 2067 h 5760"/>
              <a:gd name="T76" fmla="*/ 462 w 5760"/>
              <a:gd name="T77" fmla="*/ 2075 h 5760"/>
              <a:gd name="T78" fmla="*/ 694 w 5760"/>
              <a:gd name="T79" fmla="*/ 3247 h 5760"/>
              <a:gd name="T80" fmla="*/ 622 w 5760"/>
              <a:gd name="T81" fmla="*/ 2354 h 5760"/>
              <a:gd name="T82" fmla="*/ 2880 w 5760"/>
              <a:gd name="T83" fmla="*/ 311 h 5760"/>
              <a:gd name="T84" fmla="*/ 3696 w 5760"/>
              <a:gd name="T85" fmla="*/ 461 h 5760"/>
              <a:gd name="T86" fmla="*/ 3071 w 5760"/>
              <a:gd name="T87" fmla="*/ 367 h 5760"/>
              <a:gd name="T88" fmla="*/ 2712 w 5760"/>
              <a:gd name="T89" fmla="*/ 885 h 5760"/>
              <a:gd name="T90" fmla="*/ 3989 w 5760"/>
              <a:gd name="T91" fmla="*/ 726 h 5760"/>
              <a:gd name="T92" fmla="*/ 5321 w 5760"/>
              <a:gd name="T93" fmla="*/ 3701 h 5760"/>
              <a:gd name="T94" fmla="*/ 135 w 5760"/>
              <a:gd name="T95" fmla="*/ 2880 h 5760"/>
              <a:gd name="T96" fmla="*/ 5624 w 5760"/>
              <a:gd name="T97" fmla="*/ 2880 h 5760"/>
              <a:gd name="T98" fmla="*/ 2880 w 5760"/>
              <a:gd name="T99" fmla="*/ 5760 h 5760"/>
              <a:gd name="T100" fmla="*/ 2880 w 5760"/>
              <a:gd name="T101" fmla="*/ 0 h 5760"/>
              <a:gd name="T102" fmla="*/ 2880 w 5760"/>
              <a:gd name="T103" fmla="*/ 576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0" h="5760">
                <a:moveTo>
                  <a:pt x="3526" y="2130"/>
                </a:moveTo>
                <a:cubicBezTo>
                  <a:pt x="3526" y="1803"/>
                  <a:pt x="3748" y="1485"/>
                  <a:pt x="3869" y="1545"/>
                </a:cubicBezTo>
                <a:cubicBezTo>
                  <a:pt x="4006" y="1614"/>
                  <a:pt x="3766" y="1923"/>
                  <a:pt x="3526" y="2130"/>
                </a:cubicBezTo>
                <a:moveTo>
                  <a:pt x="2018" y="2250"/>
                </a:moveTo>
                <a:cubicBezTo>
                  <a:pt x="2018" y="1987"/>
                  <a:pt x="2278" y="1486"/>
                  <a:pt x="2437" y="1539"/>
                </a:cubicBezTo>
                <a:cubicBezTo>
                  <a:pt x="2625" y="1601"/>
                  <a:pt x="2282" y="2106"/>
                  <a:pt x="2018" y="2250"/>
                </a:cubicBezTo>
                <a:close/>
                <a:moveTo>
                  <a:pt x="1755" y="4133"/>
                </a:moveTo>
                <a:cubicBezTo>
                  <a:pt x="1635" y="4138"/>
                  <a:pt x="1556" y="4062"/>
                  <a:pt x="1556" y="3934"/>
                </a:cubicBezTo>
                <a:cubicBezTo>
                  <a:pt x="1556" y="3591"/>
                  <a:pt x="2031" y="3264"/>
                  <a:pt x="2390" y="3088"/>
                </a:cubicBezTo>
                <a:cubicBezTo>
                  <a:pt x="2327" y="3567"/>
                  <a:pt x="2165" y="4114"/>
                  <a:pt x="1755" y="4133"/>
                </a:cubicBezTo>
                <a:close/>
                <a:moveTo>
                  <a:pt x="3949" y="3016"/>
                </a:moveTo>
                <a:cubicBezTo>
                  <a:pt x="3678" y="3016"/>
                  <a:pt x="3470" y="3215"/>
                  <a:pt x="3470" y="3455"/>
                </a:cubicBezTo>
                <a:cubicBezTo>
                  <a:pt x="3470" y="3654"/>
                  <a:pt x="3590" y="3813"/>
                  <a:pt x="3750" y="3813"/>
                </a:cubicBezTo>
                <a:cubicBezTo>
                  <a:pt x="3806" y="3813"/>
                  <a:pt x="3861" y="3782"/>
                  <a:pt x="3861" y="3710"/>
                </a:cubicBezTo>
                <a:cubicBezTo>
                  <a:pt x="3861" y="3606"/>
                  <a:pt x="3724" y="3581"/>
                  <a:pt x="3734" y="3426"/>
                </a:cubicBezTo>
                <a:cubicBezTo>
                  <a:pt x="3741" y="3323"/>
                  <a:pt x="3837" y="3255"/>
                  <a:pt x="3933" y="3255"/>
                </a:cubicBezTo>
                <a:cubicBezTo>
                  <a:pt x="4124" y="3255"/>
                  <a:pt x="4214" y="3440"/>
                  <a:pt x="4214" y="3632"/>
                </a:cubicBezTo>
                <a:cubicBezTo>
                  <a:pt x="4206" y="3927"/>
                  <a:pt x="3989" y="4133"/>
                  <a:pt x="3734" y="4133"/>
                </a:cubicBezTo>
                <a:cubicBezTo>
                  <a:pt x="3398" y="4133"/>
                  <a:pt x="3183" y="3813"/>
                  <a:pt x="3183" y="3470"/>
                </a:cubicBezTo>
                <a:cubicBezTo>
                  <a:pt x="3183" y="2960"/>
                  <a:pt x="3518" y="2760"/>
                  <a:pt x="3694" y="2712"/>
                </a:cubicBezTo>
                <a:cubicBezTo>
                  <a:pt x="3696" y="2712"/>
                  <a:pt x="4153" y="2794"/>
                  <a:pt x="4138" y="2592"/>
                </a:cubicBezTo>
                <a:cubicBezTo>
                  <a:pt x="4132" y="2504"/>
                  <a:pt x="4000" y="2470"/>
                  <a:pt x="3905" y="2466"/>
                </a:cubicBezTo>
                <a:cubicBezTo>
                  <a:pt x="3799" y="2462"/>
                  <a:pt x="3692" y="2500"/>
                  <a:pt x="3692" y="2500"/>
                </a:cubicBezTo>
                <a:cubicBezTo>
                  <a:pt x="3636" y="2472"/>
                  <a:pt x="3598" y="2417"/>
                  <a:pt x="3574" y="2354"/>
                </a:cubicBezTo>
                <a:cubicBezTo>
                  <a:pt x="3901" y="2106"/>
                  <a:pt x="4133" y="1867"/>
                  <a:pt x="4133" y="1596"/>
                </a:cubicBezTo>
                <a:cubicBezTo>
                  <a:pt x="4133" y="1452"/>
                  <a:pt x="4037" y="1324"/>
                  <a:pt x="3853" y="1324"/>
                </a:cubicBezTo>
                <a:cubicBezTo>
                  <a:pt x="3526" y="1324"/>
                  <a:pt x="3279" y="1739"/>
                  <a:pt x="3279" y="2114"/>
                </a:cubicBezTo>
                <a:cubicBezTo>
                  <a:pt x="3279" y="2178"/>
                  <a:pt x="3279" y="2242"/>
                  <a:pt x="3295" y="2298"/>
                </a:cubicBezTo>
                <a:cubicBezTo>
                  <a:pt x="3087" y="2449"/>
                  <a:pt x="2933" y="2543"/>
                  <a:pt x="2654" y="2711"/>
                </a:cubicBezTo>
                <a:cubicBezTo>
                  <a:pt x="2654" y="2676"/>
                  <a:pt x="2661" y="2586"/>
                  <a:pt x="2685" y="2469"/>
                </a:cubicBezTo>
                <a:cubicBezTo>
                  <a:pt x="2780" y="2365"/>
                  <a:pt x="2912" y="2210"/>
                  <a:pt x="2912" y="2090"/>
                </a:cubicBezTo>
                <a:cubicBezTo>
                  <a:pt x="2912" y="2034"/>
                  <a:pt x="2880" y="1987"/>
                  <a:pt x="2816" y="1987"/>
                </a:cubicBezTo>
                <a:cubicBezTo>
                  <a:pt x="2657" y="1987"/>
                  <a:pt x="2537" y="2226"/>
                  <a:pt x="2505" y="2393"/>
                </a:cubicBezTo>
                <a:cubicBezTo>
                  <a:pt x="2433" y="2481"/>
                  <a:pt x="2290" y="2593"/>
                  <a:pt x="2170" y="2593"/>
                </a:cubicBezTo>
                <a:cubicBezTo>
                  <a:pt x="2074" y="2593"/>
                  <a:pt x="2042" y="2505"/>
                  <a:pt x="2034" y="2473"/>
                </a:cubicBezTo>
                <a:cubicBezTo>
                  <a:pt x="2338" y="2369"/>
                  <a:pt x="2712" y="1955"/>
                  <a:pt x="2712" y="1580"/>
                </a:cubicBezTo>
                <a:cubicBezTo>
                  <a:pt x="2712" y="1500"/>
                  <a:pt x="2681" y="1324"/>
                  <a:pt x="2441" y="1324"/>
                </a:cubicBezTo>
                <a:cubicBezTo>
                  <a:pt x="2082" y="1324"/>
                  <a:pt x="1779" y="1859"/>
                  <a:pt x="1779" y="2274"/>
                </a:cubicBezTo>
                <a:cubicBezTo>
                  <a:pt x="1651" y="2274"/>
                  <a:pt x="1604" y="2138"/>
                  <a:pt x="1604" y="2034"/>
                </a:cubicBezTo>
                <a:cubicBezTo>
                  <a:pt x="1604" y="1931"/>
                  <a:pt x="1643" y="1827"/>
                  <a:pt x="1643" y="1795"/>
                </a:cubicBezTo>
                <a:cubicBezTo>
                  <a:pt x="1643" y="1763"/>
                  <a:pt x="1627" y="1723"/>
                  <a:pt x="1580" y="1723"/>
                </a:cubicBezTo>
                <a:cubicBezTo>
                  <a:pt x="1460" y="1723"/>
                  <a:pt x="1388" y="1883"/>
                  <a:pt x="1388" y="2066"/>
                </a:cubicBezTo>
                <a:cubicBezTo>
                  <a:pt x="1396" y="2322"/>
                  <a:pt x="1564" y="2481"/>
                  <a:pt x="1787" y="2497"/>
                </a:cubicBezTo>
                <a:cubicBezTo>
                  <a:pt x="1819" y="2649"/>
                  <a:pt x="1955" y="2792"/>
                  <a:pt x="2122" y="2792"/>
                </a:cubicBezTo>
                <a:cubicBezTo>
                  <a:pt x="2226" y="2792"/>
                  <a:pt x="2353" y="2760"/>
                  <a:pt x="2441" y="2681"/>
                </a:cubicBezTo>
                <a:cubicBezTo>
                  <a:pt x="2433" y="2737"/>
                  <a:pt x="2425" y="2784"/>
                  <a:pt x="2417" y="2832"/>
                </a:cubicBezTo>
                <a:cubicBezTo>
                  <a:pt x="2066" y="3016"/>
                  <a:pt x="1811" y="3143"/>
                  <a:pt x="1580" y="3351"/>
                </a:cubicBezTo>
                <a:cubicBezTo>
                  <a:pt x="1396" y="3518"/>
                  <a:pt x="1292" y="3742"/>
                  <a:pt x="1292" y="3917"/>
                </a:cubicBezTo>
                <a:cubicBezTo>
                  <a:pt x="1292" y="4157"/>
                  <a:pt x="1444" y="4380"/>
                  <a:pt x="1755" y="4380"/>
                </a:cubicBezTo>
                <a:cubicBezTo>
                  <a:pt x="2122" y="4380"/>
                  <a:pt x="2401" y="4085"/>
                  <a:pt x="2537" y="3678"/>
                </a:cubicBezTo>
                <a:cubicBezTo>
                  <a:pt x="2601" y="3486"/>
                  <a:pt x="2626" y="3208"/>
                  <a:pt x="2642" y="2952"/>
                </a:cubicBezTo>
                <a:cubicBezTo>
                  <a:pt x="3009" y="2745"/>
                  <a:pt x="3183" y="2625"/>
                  <a:pt x="3374" y="2489"/>
                </a:cubicBezTo>
                <a:cubicBezTo>
                  <a:pt x="3398" y="2529"/>
                  <a:pt x="3423" y="2561"/>
                  <a:pt x="3454" y="2585"/>
                </a:cubicBezTo>
                <a:cubicBezTo>
                  <a:pt x="3287" y="2673"/>
                  <a:pt x="2888" y="2920"/>
                  <a:pt x="2888" y="3502"/>
                </a:cubicBezTo>
                <a:cubicBezTo>
                  <a:pt x="2888" y="3917"/>
                  <a:pt x="3167" y="4380"/>
                  <a:pt x="3718" y="4380"/>
                </a:cubicBezTo>
                <a:cubicBezTo>
                  <a:pt x="4172" y="4380"/>
                  <a:pt x="4484" y="4005"/>
                  <a:pt x="4484" y="3646"/>
                </a:cubicBezTo>
                <a:cubicBezTo>
                  <a:pt x="4484" y="3319"/>
                  <a:pt x="4300" y="3016"/>
                  <a:pt x="3949" y="3016"/>
                </a:cubicBezTo>
                <a:close/>
                <a:moveTo>
                  <a:pt x="5321" y="3701"/>
                </a:moveTo>
                <a:cubicBezTo>
                  <a:pt x="5319" y="3703"/>
                  <a:pt x="5315" y="3707"/>
                  <a:pt x="5306" y="3704"/>
                </a:cubicBezTo>
                <a:cubicBezTo>
                  <a:pt x="5299" y="3702"/>
                  <a:pt x="5297" y="3698"/>
                  <a:pt x="5297" y="3694"/>
                </a:cubicBezTo>
                <a:cubicBezTo>
                  <a:pt x="5298" y="3689"/>
                  <a:pt x="5394" y="3405"/>
                  <a:pt x="5393" y="3080"/>
                </a:cubicBezTo>
                <a:cubicBezTo>
                  <a:pt x="5392" y="2728"/>
                  <a:pt x="5249" y="2513"/>
                  <a:pt x="5066" y="2513"/>
                </a:cubicBezTo>
                <a:cubicBezTo>
                  <a:pt x="4954" y="2513"/>
                  <a:pt x="4874" y="2593"/>
                  <a:pt x="4874" y="2712"/>
                </a:cubicBezTo>
                <a:cubicBezTo>
                  <a:pt x="4874" y="2928"/>
                  <a:pt x="5138" y="2944"/>
                  <a:pt x="5138" y="3415"/>
                </a:cubicBezTo>
                <a:cubicBezTo>
                  <a:pt x="5138" y="3606"/>
                  <a:pt x="5098" y="3789"/>
                  <a:pt x="5034" y="3989"/>
                </a:cubicBezTo>
                <a:cubicBezTo>
                  <a:pt x="4739" y="4986"/>
                  <a:pt x="3797" y="5449"/>
                  <a:pt x="2880" y="5449"/>
                </a:cubicBezTo>
                <a:cubicBezTo>
                  <a:pt x="2457" y="5449"/>
                  <a:pt x="2157" y="5362"/>
                  <a:pt x="2067" y="5322"/>
                </a:cubicBezTo>
                <a:cubicBezTo>
                  <a:pt x="2063" y="5320"/>
                  <a:pt x="2061" y="5313"/>
                  <a:pt x="2063" y="5306"/>
                </a:cubicBezTo>
                <a:cubicBezTo>
                  <a:pt x="2065" y="5300"/>
                  <a:pt x="2072" y="5296"/>
                  <a:pt x="2075" y="5298"/>
                </a:cubicBezTo>
                <a:cubicBezTo>
                  <a:pt x="2111" y="5312"/>
                  <a:pt x="2369" y="5393"/>
                  <a:pt x="2689" y="5393"/>
                </a:cubicBezTo>
                <a:cubicBezTo>
                  <a:pt x="3040" y="5393"/>
                  <a:pt x="3247" y="5250"/>
                  <a:pt x="3247" y="5074"/>
                </a:cubicBezTo>
                <a:cubicBezTo>
                  <a:pt x="3247" y="4962"/>
                  <a:pt x="3159" y="4875"/>
                  <a:pt x="3047" y="4875"/>
                </a:cubicBezTo>
                <a:cubicBezTo>
                  <a:pt x="2832" y="4875"/>
                  <a:pt x="2816" y="5146"/>
                  <a:pt x="2353" y="5146"/>
                </a:cubicBezTo>
                <a:cubicBezTo>
                  <a:pt x="2154" y="5146"/>
                  <a:pt x="1979" y="5106"/>
                  <a:pt x="1771" y="5042"/>
                </a:cubicBezTo>
                <a:cubicBezTo>
                  <a:pt x="782" y="4739"/>
                  <a:pt x="310" y="3805"/>
                  <a:pt x="311" y="2880"/>
                </a:cubicBezTo>
                <a:cubicBezTo>
                  <a:pt x="311" y="2429"/>
                  <a:pt x="438" y="2070"/>
                  <a:pt x="440" y="2067"/>
                </a:cubicBezTo>
                <a:cubicBezTo>
                  <a:pt x="441" y="2065"/>
                  <a:pt x="447" y="2062"/>
                  <a:pt x="454" y="2065"/>
                </a:cubicBezTo>
                <a:cubicBezTo>
                  <a:pt x="461" y="2067"/>
                  <a:pt x="463" y="2073"/>
                  <a:pt x="462" y="2075"/>
                </a:cubicBezTo>
                <a:cubicBezTo>
                  <a:pt x="451" y="2112"/>
                  <a:pt x="367" y="2370"/>
                  <a:pt x="367" y="2688"/>
                </a:cubicBezTo>
                <a:cubicBezTo>
                  <a:pt x="367" y="3040"/>
                  <a:pt x="511" y="3247"/>
                  <a:pt x="694" y="3247"/>
                </a:cubicBezTo>
                <a:cubicBezTo>
                  <a:pt x="798" y="3247"/>
                  <a:pt x="885" y="3167"/>
                  <a:pt x="885" y="3056"/>
                </a:cubicBezTo>
                <a:cubicBezTo>
                  <a:pt x="885" y="2840"/>
                  <a:pt x="622" y="2816"/>
                  <a:pt x="622" y="2354"/>
                </a:cubicBezTo>
                <a:cubicBezTo>
                  <a:pt x="622" y="2154"/>
                  <a:pt x="662" y="1978"/>
                  <a:pt x="726" y="1771"/>
                </a:cubicBezTo>
                <a:cubicBezTo>
                  <a:pt x="1029" y="782"/>
                  <a:pt x="1963" y="318"/>
                  <a:pt x="2880" y="311"/>
                </a:cubicBezTo>
                <a:cubicBezTo>
                  <a:pt x="3306" y="308"/>
                  <a:pt x="3680" y="435"/>
                  <a:pt x="3694" y="447"/>
                </a:cubicBezTo>
                <a:cubicBezTo>
                  <a:pt x="3696" y="449"/>
                  <a:pt x="3699" y="455"/>
                  <a:pt x="3696" y="461"/>
                </a:cubicBezTo>
                <a:cubicBezTo>
                  <a:pt x="3693" y="468"/>
                  <a:pt x="3688" y="469"/>
                  <a:pt x="3686" y="469"/>
                </a:cubicBezTo>
                <a:cubicBezTo>
                  <a:pt x="3681" y="468"/>
                  <a:pt x="3439" y="367"/>
                  <a:pt x="3071" y="367"/>
                </a:cubicBezTo>
                <a:cubicBezTo>
                  <a:pt x="2728" y="367"/>
                  <a:pt x="2513" y="510"/>
                  <a:pt x="2513" y="694"/>
                </a:cubicBezTo>
                <a:cubicBezTo>
                  <a:pt x="2513" y="798"/>
                  <a:pt x="2593" y="885"/>
                  <a:pt x="2712" y="885"/>
                </a:cubicBezTo>
                <a:cubicBezTo>
                  <a:pt x="2928" y="885"/>
                  <a:pt x="2944" y="622"/>
                  <a:pt x="3406" y="622"/>
                </a:cubicBezTo>
                <a:cubicBezTo>
                  <a:pt x="3606" y="622"/>
                  <a:pt x="3781" y="662"/>
                  <a:pt x="3989" y="726"/>
                </a:cubicBezTo>
                <a:cubicBezTo>
                  <a:pt x="4986" y="1029"/>
                  <a:pt x="5440" y="1971"/>
                  <a:pt x="5449" y="2880"/>
                </a:cubicBezTo>
                <a:cubicBezTo>
                  <a:pt x="5453" y="3346"/>
                  <a:pt x="5322" y="3699"/>
                  <a:pt x="5321" y="3701"/>
                </a:cubicBezTo>
                <a:close/>
                <a:moveTo>
                  <a:pt x="2880" y="136"/>
                </a:moveTo>
                <a:cubicBezTo>
                  <a:pt x="1364" y="136"/>
                  <a:pt x="135" y="1364"/>
                  <a:pt x="135" y="2880"/>
                </a:cubicBezTo>
                <a:cubicBezTo>
                  <a:pt x="135" y="4396"/>
                  <a:pt x="1364" y="5624"/>
                  <a:pt x="2880" y="5624"/>
                </a:cubicBezTo>
                <a:cubicBezTo>
                  <a:pt x="4396" y="5624"/>
                  <a:pt x="5624" y="4396"/>
                  <a:pt x="5624" y="2880"/>
                </a:cubicBezTo>
                <a:cubicBezTo>
                  <a:pt x="5624" y="1372"/>
                  <a:pt x="4396" y="136"/>
                  <a:pt x="2880" y="136"/>
                </a:cubicBezTo>
                <a:close/>
                <a:moveTo>
                  <a:pt x="2880" y="5760"/>
                </a:moveTo>
                <a:cubicBezTo>
                  <a:pt x="1292" y="5760"/>
                  <a:pt x="0" y="4476"/>
                  <a:pt x="0" y="2880"/>
                </a:cubicBezTo>
                <a:cubicBezTo>
                  <a:pt x="0" y="1292"/>
                  <a:pt x="1292" y="0"/>
                  <a:pt x="2880" y="0"/>
                </a:cubicBezTo>
                <a:cubicBezTo>
                  <a:pt x="4467" y="0"/>
                  <a:pt x="5760" y="1292"/>
                  <a:pt x="5760" y="2880"/>
                </a:cubicBezTo>
                <a:cubicBezTo>
                  <a:pt x="5760" y="4476"/>
                  <a:pt x="4467" y="5760"/>
                  <a:pt x="2880" y="576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3666A"/>
              </a:solidFill>
              <a:effectLst/>
              <a:uLnTx/>
              <a:uFillTx/>
              <a:latin typeface="GE Inspira Sans"/>
              <a:ea typeface="+mn-ea"/>
              <a:cs typeface="+mn-cs"/>
            </a:endParaRPr>
          </a:p>
        </p:txBody>
      </p:sp>
      <p:sp>
        <p:nvSpPr>
          <p:cNvPr id="6" name="TextBox 21">
            <a:extLst>
              <a:ext uri="{FF2B5EF4-FFF2-40B4-BE49-F238E27FC236}">
                <a16:creationId xmlns:a16="http://schemas.microsoft.com/office/drawing/2014/main" id="{C6624EF7-5938-4C11-9A94-2D475F461D23}"/>
              </a:ext>
            </a:extLst>
          </p:cNvPr>
          <p:cNvSpPr txBox="1"/>
          <p:nvPr/>
        </p:nvSpPr>
        <p:spPr>
          <a:xfrm>
            <a:off x="3492137" y="6525239"/>
            <a:ext cx="5765074" cy="24783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GE Inspira Sans"/>
                <a:ea typeface="+mn-ea"/>
                <a:cs typeface="+mn-cs"/>
              </a:rPr>
              <a:t>© 2021 General Electric Company. </a:t>
            </a:r>
          </a:p>
        </p:txBody>
      </p:sp>
    </p:spTree>
    <p:extLst>
      <p:ext uri="{BB962C8B-B14F-4D97-AF65-F5344CB8AC3E}">
        <p14:creationId xmlns:p14="http://schemas.microsoft.com/office/powerpoint/2010/main" val="21801988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32591419-A8D7-4A94-9C11-4515AF9E1F74}"/>
              </a:ext>
            </a:extLst>
          </p:cNvPr>
          <p:cNvPicPr>
            <a:picLocks noChangeAspect="1"/>
          </p:cNvPicPr>
          <p:nvPr/>
        </p:nvPicPr>
        <p:blipFill>
          <a:blip r:embed="rId2"/>
          <a:stretch>
            <a:fillRect/>
          </a:stretch>
        </p:blipFill>
        <p:spPr>
          <a:xfrm>
            <a:off x="1055092" y="4181228"/>
            <a:ext cx="1771615" cy="1435232"/>
          </a:xfrm>
          <a:prstGeom prst="rect">
            <a:avLst/>
          </a:prstGeom>
        </p:spPr>
      </p:pic>
      <p:sp>
        <p:nvSpPr>
          <p:cNvPr id="3" name="Slide Number Placeholder 2">
            <a:extLst>
              <a:ext uri="{FF2B5EF4-FFF2-40B4-BE49-F238E27FC236}">
                <a16:creationId xmlns:a16="http://schemas.microsoft.com/office/drawing/2014/main" id="{7F367207-ED8C-4313-8676-B4CA93C9ED10}"/>
              </a:ext>
            </a:extLst>
          </p:cNvPr>
          <p:cNvSpPr>
            <a:spLocks noGrp="1"/>
          </p:cNvSpPr>
          <p:nvPr>
            <p:ph type="sldNum" sz="quarter" idx="12"/>
          </p:nvPr>
        </p:nvSpPr>
        <p:spPr/>
        <p:txBody>
          <a:bodyPr/>
          <a:lstStyle/>
          <a:p>
            <a:fld id="{00E6A5BD-C011-4A45-AA3A-201790FB7F2B}" type="slidenum">
              <a:rPr lang="en-CA" smtClean="0"/>
              <a:pPr/>
              <a:t>6</a:t>
            </a:fld>
            <a:endParaRPr lang="en-CA" dirty="0"/>
          </a:p>
        </p:txBody>
      </p:sp>
      <p:sp>
        <p:nvSpPr>
          <p:cNvPr id="5" name="Rectangle 3">
            <a:extLst>
              <a:ext uri="{FF2B5EF4-FFF2-40B4-BE49-F238E27FC236}">
                <a16:creationId xmlns:a16="http://schemas.microsoft.com/office/drawing/2014/main" id="{98AF76B0-8BFF-457A-AA6B-D00AD725D95B}"/>
              </a:ext>
            </a:extLst>
          </p:cNvPr>
          <p:cNvSpPr>
            <a:spLocks noChangeArrowheads="1"/>
          </p:cNvSpPr>
          <p:nvPr/>
        </p:nvSpPr>
        <p:spPr bwMode="auto">
          <a:xfrm>
            <a:off x="32118" y="162499"/>
            <a:ext cx="11537872" cy="998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ctr">
              <a:lnSpc>
                <a:spcPct val="90000"/>
              </a:lnSpc>
              <a:defRPr/>
            </a:pPr>
            <a:r>
              <a:rPr lang="en-US" sz="3200" dirty="0">
                <a:latin typeface="GE Inspira Pitch" pitchFamily="34" charset="0"/>
              </a:rPr>
              <a:t>Energy Transition in Southern Africa</a:t>
            </a:r>
            <a:endParaRPr lang="en-US" sz="2200" dirty="0">
              <a:solidFill>
                <a:schemeClr val="accent1"/>
              </a:solidFill>
              <a:latin typeface="GE Inspira Pitch" pitchFamily="34" charset="0"/>
            </a:endParaRPr>
          </a:p>
        </p:txBody>
      </p:sp>
      <p:pic>
        <p:nvPicPr>
          <p:cNvPr id="23" name="Picture 22">
            <a:extLst>
              <a:ext uri="{FF2B5EF4-FFF2-40B4-BE49-F238E27FC236}">
                <a16:creationId xmlns:a16="http://schemas.microsoft.com/office/drawing/2014/main" id="{6284B6CB-C37B-461E-8FF4-8B7EFAC059FF}"/>
              </a:ext>
            </a:extLst>
          </p:cNvPr>
          <p:cNvPicPr>
            <a:picLocks noChangeAspect="1"/>
          </p:cNvPicPr>
          <p:nvPr/>
        </p:nvPicPr>
        <p:blipFill>
          <a:blip r:embed="rId3"/>
          <a:stretch>
            <a:fillRect/>
          </a:stretch>
        </p:blipFill>
        <p:spPr>
          <a:xfrm>
            <a:off x="3072766" y="2615153"/>
            <a:ext cx="3179762" cy="3107728"/>
          </a:xfrm>
          <a:prstGeom prst="rect">
            <a:avLst/>
          </a:prstGeom>
        </p:spPr>
      </p:pic>
      <p:pic>
        <p:nvPicPr>
          <p:cNvPr id="27" name="Picture 26">
            <a:extLst>
              <a:ext uri="{FF2B5EF4-FFF2-40B4-BE49-F238E27FC236}">
                <a16:creationId xmlns:a16="http://schemas.microsoft.com/office/drawing/2014/main" id="{F5CAECC8-5192-423B-9BBB-2BBE8D2FB705}"/>
              </a:ext>
            </a:extLst>
          </p:cNvPr>
          <p:cNvPicPr>
            <a:picLocks noChangeAspect="1"/>
          </p:cNvPicPr>
          <p:nvPr/>
        </p:nvPicPr>
        <p:blipFill>
          <a:blip r:embed="rId4"/>
          <a:stretch>
            <a:fillRect/>
          </a:stretch>
        </p:blipFill>
        <p:spPr>
          <a:xfrm>
            <a:off x="6383532" y="816019"/>
            <a:ext cx="5373415" cy="4415432"/>
          </a:xfrm>
          <a:prstGeom prst="rect">
            <a:avLst/>
          </a:prstGeom>
        </p:spPr>
      </p:pic>
      <p:pic>
        <p:nvPicPr>
          <p:cNvPr id="29" name="Picture 28">
            <a:extLst>
              <a:ext uri="{FF2B5EF4-FFF2-40B4-BE49-F238E27FC236}">
                <a16:creationId xmlns:a16="http://schemas.microsoft.com/office/drawing/2014/main" id="{724D3818-EA1C-4E56-BE21-306CF5D273ED}"/>
              </a:ext>
            </a:extLst>
          </p:cNvPr>
          <p:cNvPicPr>
            <a:picLocks noChangeAspect="1"/>
          </p:cNvPicPr>
          <p:nvPr/>
        </p:nvPicPr>
        <p:blipFill>
          <a:blip r:embed="rId5"/>
          <a:stretch>
            <a:fillRect/>
          </a:stretch>
        </p:blipFill>
        <p:spPr>
          <a:xfrm>
            <a:off x="3072766" y="816019"/>
            <a:ext cx="3193983" cy="2661652"/>
          </a:xfrm>
          <a:prstGeom prst="rect">
            <a:avLst/>
          </a:prstGeom>
        </p:spPr>
      </p:pic>
      <p:pic>
        <p:nvPicPr>
          <p:cNvPr id="11" name="Picture 10">
            <a:extLst>
              <a:ext uri="{FF2B5EF4-FFF2-40B4-BE49-F238E27FC236}">
                <a16:creationId xmlns:a16="http://schemas.microsoft.com/office/drawing/2014/main" id="{60DC8B91-B5DB-46E2-9E15-08D72B695D78}"/>
              </a:ext>
            </a:extLst>
          </p:cNvPr>
          <p:cNvPicPr>
            <a:picLocks noChangeAspect="1"/>
          </p:cNvPicPr>
          <p:nvPr/>
        </p:nvPicPr>
        <p:blipFill>
          <a:blip r:embed="rId6"/>
          <a:stretch>
            <a:fillRect/>
          </a:stretch>
        </p:blipFill>
        <p:spPr>
          <a:xfrm>
            <a:off x="8048" y="879566"/>
            <a:ext cx="2947935" cy="3445667"/>
          </a:xfrm>
          <a:prstGeom prst="rect">
            <a:avLst/>
          </a:prstGeom>
        </p:spPr>
      </p:pic>
      <p:sp>
        <p:nvSpPr>
          <p:cNvPr id="30" name="Oval 29">
            <a:extLst>
              <a:ext uri="{FF2B5EF4-FFF2-40B4-BE49-F238E27FC236}">
                <a16:creationId xmlns:a16="http://schemas.microsoft.com/office/drawing/2014/main" id="{9D1C79E5-AEC4-435A-A890-7891BFE7EAA6}"/>
              </a:ext>
            </a:extLst>
          </p:cNvPr>
          <p:cNvSpPr/>
          <p:nvPr/>
        </p:nvSpPr>
        <p:spPr>
          <a:xfrm rot="20347413">
            <a:off x="5568310" y="1306078"/>
            <a:ext cx="557349" cy="1732819"/>
          </a:xfrm>
          <a:prstGeom prst="ellipse">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Shape 31">
            <a:extLst>
              <a:ext uri="{FF2B5EF4-FFF2-40B4-BE49-F238E27FC236}">
                <a16:creationId xmlns:a16="http://schemas.microsoft.com/office/drawing/2014/main" id="{F4AEDEE5-0F5A-428D-BDE1-44A86BAE4D2D}"/>
              </a:ext>
            </a:extLst>
          </p:cNvPr>
          <p:cNvSpPr/>
          <p:nvPr/>
        </p:nvSpPr>
        <p:spPr>
          <a:xfrm>
            <a:off x="6792686" y="879566"/>
            <a:ext cx="4833257" cy="1828800"/>
          </a:xfrm>
          <a:custGeom>
            <a:avLst/>
            <a:gdLst>
              <a:gd name="connsiteX0" fmla="*/ 34834 w 4833257"/>
              <a:gd name="connsiteY0" fmla="*/ 1828800 h 1828800"/>
              <a:gd name="connsiteX1" fmla="*/ 1985554 w 4833257"/>
              <a:gd name="connsiteY1" fmla="*/ 1367245 h 1828800"/>
              <a:gd name="connsiteX2" fmla="*/ 4833257 w 4833257"/>
              <a:gd name="connsiteY2" fmla="*/ 1227908 h 1828800"/>
              <a:gd name="connsiteX3" fmla="*/ 4833257 w 4833257"/>
              <a:gd name="connsiteY3" fmla="*/ 0 h 1828800"/>
              <a:gd name="connsiteX4" fmla="*/ 0 w 4833257"/>
              <a:gd name="connsiteY4" fmla="*/ 1750423 h 1828800"/>
              <a:gd name="connsiteX5" fmla="*/ 34834 w 4833257"/>
              <a:gd name="connsiteY5" fmla="*/ 1828800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3257" h="1828800">
                <a:moveTo>
                  <a:pt x="34834" y="1828800"/>
                </a:moveTo>
                <a:lnTo>
                  <a:pt x="1985554" y="1367245"/>
                </a:lnTo>
                <a:lnTo>
                  <a:pt x="4833257" y="1227908"/>
                </a:lnTo>
                <a:lnTo>
                  <a:pt x="4833257" y="0"/>
                </a:lnTo>
                <a:lnTo>
                  <a:pt x="0" y="1750423"/>
                </a:lnTo>
                <a:lnTo>
                  <a:pt x="34834" y="1828800"/>
                </a:lnTo>
                <a:close/>
              </a:path>
            </a:pathLst>
          </a:cu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19">
            <a:extLst>
              <a:ext uri="{FF2B5EF4-FFF2-40B4-BE49-F238E27FC236}">
                <a16:creationId xmlns:a16="http://schemas.microsoft.com/office/drawing/2014/main" id="{E2E62204-60C8-4F58-B327-0049349D42F6}"/>
              </a:ext>
            </a:extLst>
          </p:cNvPr>
          <p:cNvSpPr>
            <a:spLocks noChangeArrowheads="1"/>
          </p:cNvSpPr>
          <p:nvPr/>
        </p:nvSpPr>
        <p:spPr bwMode="auto">
          <a:xfrm>
            <a:off x="0" y="5770711"/>
            <a:ext cx="12192000" cy="400110"/>
          </a:xfrm>
          <a:prstGeom prst="rect">
            <a:avLst/>
          </a:prstGeom>
          <a:solidFill>
            <a:srgbClr val="1E4191"/>
          </a:solidFill>
          <a:ln w="25400" cap="rnd">
            <a:solidFill>
              <a:srgbClr val="1E4191"/>
            </a:solidFill>
            <a:round/>
            <a:headEnd/>
            <a:tailEnd/>
          </a:ln>
        </p:spPr>
        <p:txBody>
          <a:bodyPr wrap="square" lIns="45720" rIns="45720">
            <a:spAutoFit/>
          </a:bodyPr>
          <a:lstStyle>
            <a:lvl1pPr eaLnBrk="0" hangingPunct="0">
              <a:lnSpc>
                <a:spcPct val="90000"/>
              </a:lnSpc>
              <a:spcBef>
                <a:spcPct val="50000"/>
              </a:spcBef>
              <a:buClr>
                <a:srgbClr val="004880"/>
              </a:buClr>
              <a:defRPr sz="2800">
                <a:solidFill>
                  <a:srgbClr val="1E4191"/>
                </a:solidFill>
                <a:latin typeface="GE Inspira" pitchFamily="34" charset="0"/>
              </a:defRPr>
            </a:lvl1pPr>
            <a:lvl2pPr marL="742950" indent="-285750" eaLnBrk="0" hangingPunct="0">
              <a:lnSpc>
                <a:spcPct val="90000"/>
              </a:lnSpc>
              <a:spcBef>
                <a:spcPct val="30000"/>
              </a:spcBef>
              <a:buClr>
                <a:srgbClr val="004880"/>
              </a:buClr>
              <a:buFont typeface="GE Inspira" pitchFamily="34" charset="0"/>
              <a:buChar char="•"/>
              <a:defRPr sz="2800">
                <a:solidFill>
                  <a:srgbClr val="1E4191"/>
                </a:solidFill>
                <a:latin typeface="GE Inspira" pitchFamily="34" charset="0"/>
              </a:defRPr>
            </a:lvl2pPr>
            <a:lvl3pPr marL="1143000" indent="-228600" eaLnBrk="0" hangingPunct="0">
              <a:lnSpc>
                <a:spcPct val="90000"/>
              </a:lnSpc>
              <a:spcBef>
                <a:spcPct val="20000"/>
              </a:spcBef>
              <a:buClr>
                <a:srgbClr val="004880"/>
              </a:buClr>
              <a:buChar char="–"/>
              <a:defRPr sz="2800">
                <a:solidFill>
                  <a:srgbClr val="1E4191"/>
                </a:solidFill>
                <a:latin typeface="GE Inspira" pitchFamily="34" charset="0"/>
              </a:defRPr>
            </a:lvl3pPr>
            <a:lvl4pPr marL="1600200" indent="-228600" eaLnBrk="0" hangingPunct="0">
              <a:lnSpc>
                <a:spcPct val="90000"/>
              </a:lnSpc>
              <a:spcBef>
                <a:spcPct val="10000"/>
              </a:spcBef>
              <a:buClr>
                <a:srgbClr val="004880"/>
              </a:buClr>
              <a:buChar char="–"/>
              <a:defRPr sz="2800">
                <a:solidFill>
                  <a:srgbClr val="1E4191"/>
                </a:solidFill>
                <a:latin typeface="GE Inspira" pitchFamily="34" charset="0"/>
              </a:defRPr>
            </a:lvl4pPr>
            <a:lvl5pPr marL="2057400" indent="-228600" eaLnBrk="0" hangingPunct="0">
              <a:lnSpc>
                <a:spcPct val="90000"/>
              </a:lnSpc>
              <a:buClr>
                <a:srgbClr val="004880"/>
              </a:buClr>
              <a:buChar char="–"/>
              <a:defRPr sz="2800">
                <a:solidFill>
                  <a:srgbClr val="1E4191"/>
                </a:solidFill>
                <a:latin typeface="GE Inspira" pitchFamily="34" charset="0"/>
              </a:defRPr>
            </a:lvl5pPr>
            <a:lvl6pPr marL="25146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6pPr>
            <a:lvl7pPr marL="29718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7pPr>
            <a:lvl8pPr marL="34290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8pPr>
            <a:lvl9pPr marL="38862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9pPr>
          </a:lstStyle>
          <a:p>
            <a:pPr marL="0" marR="0" lvl="0" indent="0" algn="ctr" defTabSz="914400" eaLnBrk="1" fontAlgn="base" latinLnBrk="0" hangingPunct="1">
              <a:lnSpc>
                <a:spcPct val="100000"/>
              </a:lnSpc>
              <a:spcBef>
                <a:spcPct val="0"/>
              </a:spcBef>
              <a:spcAft>
                <a:spcPct val="0"/>
              </a:spcAft>
              <a:buClr>
                <a:srgbClr val="004880"/>
              </a:buClr>
              <a:buSzTx/>
              <a:buFontTx/>
              <a:buNone/>
              <a:tabLst/>
              <a:defRPr/>
            </a:pPr>
            <a:r>
              <a:rPr kumimoji="0" lang="en-US" altLang="en-US" sz="2000" b="1" i="0" u="none" strike="noStrike" kern="0" cap="none" spc="0" normalizeH="0" baseline="0" noProof="0" dirty="0">
                <a:ln>
                  <a:noFill/>
                </a:ln>
                <a:solidFill>
                  <a:srgbClr val="FFFFFF"/>
                </a:solidFill>
                <a:effectLst/>
                <a:uLnTx/>
                <a:uFillTx/>
                <a:latin typeface="GE Inspira Pitch" pitchFamily="34" charset="0"/>
                <a:cs typeface="Times New Roman" pitchFamily="18" charset="0"/>
              </a:rPr>
              <a:t>Aggressive growth expectation of wind and solar generation over the next few decades…</a:t>
            </a:r>
          </a:p>
        </p:txBody>
      </p:sp>
      <p:sp>
        <p:nvSpPr>
          <p:cNvPr id="34" name="TextBox 33">
            <a:extLst>
              <a:ext uri="{FF2B5EF4-FFF2-40B4-BE49-F238E27FC236}">
                <a16:creationId xmlns:a16="http://schemas.microsoft.com/office/drawing/2014/main" id="{F35F52AF-36E8-4AEF-A958-FE10739323E1}"/>
              </a:ext>
            </a:extLst>
          </p:cNvPr>
          <p:cNvSpPr txBox="1"/>
          <p:nvPr/>
        </p:nvSpPr>
        <p:spPr>
          <a:xfrm rot="20407235">
            <a:off x="7412957" y="1271360"/>
            <a:ext cx="4241546" cy="246221"/>
          </a:xfrm>
          <a:prstGeom prst="rect">
            <a:avLst/>
          </a:prstGeom>
          <a:noFill/>
        </p:spPr>
        <p:txBody>
          <a:bodyPr wrap="none" lIns="0" tIns="0" rIns="0" bIns="0" rtlCol="0">
            <a:spAutoFit/>
          </a:bodyPr>
          <a:lstStyle/>
          <a:p>
            <a:r>
              <a:rPr lang="en-US" sz="1600" dirty="0">
                <a:solidFill>
                  <a:srgbClr val="C00000"/>
                </a:solidFill>
              </a:rPr>
              <a:t>Continuous growth of wind and solar deployment</a:t>
            </a:r>
          </a:p>
        </p:txBody>
      </p:sp>
      <p:sp>
        <p:nvSpPr>
          <p:cNvPr id="37" name="TextBox 36">
            <a:extLst>
              <a:ext uri="{FF2B5EF4-FFF2-40B4-BE49-F238E27FC236}">
                <a16:creationId xmlns:a16="http://schemas.microsoft.com/office/drawing/2014/main" id="{7C42FDAF-6C6D-4F5B-B008-0FCA04AED3C2}"/>
              </a:ext>
            </a:extLst>
          </p:cNvPr>
          <p:cNvSpPr txBox="1"/>
          <p:nvPr/>
        </p:nvSpPr>
        <p:spPr>
          <a:xfrm rot="16200000">
            <a:off x="368050" y="4647685"/>
            <a:ext cx="953109" cy="323165"/>
          </a:xfrm>
          <a:prstGeom prst="rect">
            <a:avLst/>
          </a:prstGeom>
          <a:noFill/>
        </p:spPr>
        <p:txBody>
          <a:bodyPr wrap="square" lIns="0" tIns="0" rIns="0" bIns="0" rtlCol="0">
            <a:spAutoFit/>
          </a:bodyPr>
          <a:lstStyle/>
          <a:p>
            <a:pPr algn="ctr"/>
            <a:r>
              <a:rPr lang="en-US" sz="1050" dirty="0">
                <a:solidFill>
                  <a:schemeClr val="accent2"/>
                </a:solidFill>
              </a:rPr>
              <a:t>SA IRP2019</a:t>
            </a:r>
          </a:p>
          <a:p>
            <a:pPr algn="ctr"/>
            <a:r>
              <a:rPr lang="en-US" sz="1050" dirty="0">
                <a:solidFill>
                  <a:schemeClr val="accent2"/>
                </a:solidFill>
              </a:rPr>
              <a:t>PV/Wind plan </a:t>
            </a:r>
          </a:p>
        </p:txBody>
      </p:sp>
      <p:cxnSp>
        <p:nvCxnSpPr>
          <p:cNvPr id="39" name="Straight Arrow Connector 38">
            <a:extLst>
              <a:ext uri="{FF2B5EF4-FFF2-40B4-BE49-F238E27FC236}">
                <a16:creationId xmlns:a16="http://schemas.microsoft.com/office/drawing/2014/main" id="{5D70EAD2-9E50-4FC7-B9FE-1D9D4050F321}"/>
              </a:ext>
            </a:extLst>
          </p:cNvPr>
          <p:cNvCxnSpPr/>
          <p:nvPr/>
        </p:nvCxnSpPr>
        <p:spPr>
          <a:xfrm>
            <a:off x="1482015" y="4147636"/>
            <a:ext cx="311951" cy="177597"/>
          </a:xfrm>
          <a:prstGeom prst="straightConnector1">
            <a:avLst/>
          </a:prstGeom>
          <a:noFill/>
          <a:ln w="28575">
            <a:solidFill>
              <a:schemeClr val="accent2"/>
            </a:solidFill>
            <a:miter lim="800000"/>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40" name="TextBox 39">
            <a:extLst>
              <a:ext uri="{FF2B5EF4-FFF2-40B4-BE49-F238E27FC236}">
                <a16:creationId xmlns:a16="http://schemas.microsoft.com/office/drawing/2014/main" id="{DD72FC32-D9E4-48B1-8AC8-7322F2637A07}"/>
              </a:ext>
            </a:extLst>
          </p:cNvPr>
          <p:cNvSpPr txBox="1"/>
          <p:nvPr/>
        </p:nvSpPr>
        <p:spPr>
          <a:xfrm>
            <a:off x="6416113" y="5197697"/>
            <a:ext cx="5671384" cy="400110"/>
          </a:xfrm>
          <a:prstGeom prst="rect">
            <a:avLst/>
          </a:prstGeom>
          <a:noFill/>
        </p:spPr>
        <p:txBody>
          <a:bodyPr wrap="square">
            <a:spAutoFit/>
          </a:bodyPr>
          <a:lstStyle/>
          <a:p>
            <a:r>
              <a:rPr lang="en-US" sz="1000" dirty="0"/>
              <a:t>Source: </a:t>
            </a:r>
          </a:p>
          <a:p>
            <a:r>
              <a:rPr lang="en-US" sz="1000" i="1" dirty="0"/>
              <a:t>IRENA 2021 report on Planning and Prospects for Renewable Power: Eastern and Southern Africa</a:t>
            </a:r>
          </a:p>
        </p:txBody>
      </p:sp>
      <p:sp>
        <p:nvSpPr>
          <p:cNvPr id="17" name="TextBox 21">
            <a:extLst>
              <a:ext uri="{FF2B5EF4-FFF2-40B4-BE49-F238E27FC236}">
                <a16:creationId xmlns:a16="http://schemas.microsoft.com/office/drawing/2014/main" id="{8A6A5CD1-CE21-423F-B0D1-17BB76A26318}"/>
              </a:ext>
            </a:extLst>
          </p:cNvPr>
          <p:cNvSpPr txBox="1"/>
          <p:nvPr/>
        </p:nvSpPr>
        <p:spPr>
          <a:xfrm>
            <a:off x="3910149" y="6414315"/>
            <a:ext cx="5765074" cy="247839"/>
          </a:xfrm>
          <a:prstGeom prst="rect">
            <a:avLst/>
          </a:prstGeom>
          <a:solidFill>
            <a:sysClr val="window" lastClr="FFFFFF"/>
          </a:solid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63666A"/>
                </a:solidFill>
                <a:effectLst/>
                <a:uLnTx/>
                <a:uFillTx/>
              </a:rPr>
              <a:t>© 2021 General Electric Company. </a:t>
            </a:r>
          </a:p>
        </p:txBody>
      </p:sp>
    </p:spTree>
    <p:extLst>
      <p:ext uri="{BB962C8B-B14F-4D97-AF65-F5344CB8AC3E}">
        <p14:creationId xmlns:p14="http://schemas.microsoft.com/office/powerpoint/2010/main" val="28800076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Energy Storage as an enabler for RE penetration</a:t>
            </a:r>
            <a:endParaRPr lang="en-US" dirty="0"/>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E6A5BD-C011-4A45-AA3A-201790FB7F2B}" type="slidenum">
              <a:rPr kumimoji="0" lang="en-US" sz="1200" b="0" i="0" u="none" strike="noStrike" kern="1200" cap="none" spc="0" normalizeH="0" baseline="0" noProof="0" smtClean="0">
                <a:ln>
                  <a:noFill/>
                </a:ln>
                <a:solidFill>
                  <a:prstClr val="white"/>
                </a:solidFill>
                <a:effectLst/>
                <a:uLnTx/>
                <a:uFillTx/>
                <a:latin typeface="GE Inspira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white"/>
              </a:solidFill>
              <a:effectLst/>
              <a:uLnTx/>
              <a:uFillTx/>
              <a:latin typeface="GE Inspira Sans"/>
              <a:ea typeface="+mn-ea"/>
              <a:cs typeface="+mn-cs"/>
            </a:endParaRPr>
          </a:p>
        </p:txBody>
      </p:sp>
    </p:spTree>
    <p:extLst>
      <p:ext uri="{BB962C8B-B14F-4D97-AF65-F5344CB8AC3E}">
        <p14:creationId xmlns:p14="http://schemas.microsoft.com/office/powerpoint/2010/main" val="19135858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AEAC454-2040-48CC-81EC-3F2AFCF10758}"/>
              </a:ext>
            </a:extLst>
          </p:cNvPr>
          <p:cNvSpPr>
            <a:spLocks noGrp="1"/>
          </p:cNvSpPr>
          <p:nvPr>
            <p:ph type="dt" sz="half" idx="10"/>
          </p:nvPr>
        </p:nvSpPr>
        <p:spPr/>
        <p:txBody>
          <a:bodyPr/>
          <a:lstStyle/>
          <a:p>
            <a:fld id="{847652F8-2028-47EC-8E89-6F1BC4534984}" type="datetime4">
              <a:rPr lang="en-US" smtClean="0"/>
              <a:t>October 18, 2021</a:t>
            </a:fld>
            <a:endParaRPr lang="en-CA" dirty="0"/>
          </a:p>
        </p:txBody>
      </p:sp>
      <p:sp>
        <p:nvSpPr>
          <p:cNvPr id="3" name="Slide Number Placeholder 2">
            <a:extLst>
              <a:ext uri="{FF2B5EF4-FFF2-40B4-BE49-F238E27FC236}">
                <a16:creationId xmlns:a16="http://schemas.microsoft.com/office/drawing/2014/main" id="{5A8B2AC4-77AA-4155-9F42-945C689DF57A}"/>
              </a:ext>
            </a:extLst>
          </p:cNvPr>
          <p:cNvSpPr>
            <a:spLocks noGrp="1"/>
          </p:cNvSpPr>
          <p:nvPr>
            <p:ph type="sldNum" sz="quarter" idx="12"/>
          </p:nvPr>
        </p:nvSpPr>
        <p:spPr/>
        <p:txBody>
          <a:bodyPr/>
          <a:lstStyle/>
          <a:p>
            <a:fld id="{00E6A5BD-C011-4A45-AA3A-201790FB7F2B}" type="slidenum">
              <a:rPr lang="en-CA" smtClean="0"/>
              <a:pPr/>
              <a:t>8</a:t>
            </a:fld>
            <a:endParaRPr lang="en-CA" dirty="0"/>
          </a:p>
        </p:txBody>
      </p:sp>
      <p:sp>
        <p:nvSpPr>
          <p:cNvPr id="4" name="Title 3">
            <a:extLst>
              <a:ext uri="{FF2B5EF4-FFF2-40B4-BE49-F238E27FC236}">
                <a16:creationId xmlns:a16="http://schemas.microsoft.com/office/drawing/2014/main" id="{4923B519-0397-4F79-8A66-2FF21165829E}"/>
              </a:ext>
            </a:extLst>
          </p:cNvPr>
          <p:cNvSpPr>
            <a:spLocks noGrp="1"/>
          </p:cNvSpPr>
          <p:nvPr>
            <p:ph type="title"/>
          </p:nvPr>
        </p:nvSpPr>
        <p:spPr>
          <a:xfrm>
            <a:off x="499268" y="260474"/>
            <a:ext cx="11201400" cy="914400"/>
          </a:xfrm>
        </p:spPr>
        <p:txBody>
          <a:bodyPr/>
          <a:lstStyle/>
          <a:p>
            <a:r>
              <a:rPr lang="en-US" dirty="0"/>
              <a:t>Impact of high Renewable integration on grid operation…</a:t>
            </a:r>
          </a:p>
        </p:txBody>
      </p:sp>
      <p:graphicFrame>
        <p:nvGraphicFramePr>
          <p:cNvPr id="5" name="Table 4">
            <a:extLst>
              <a:ext uri="{FF2B5EF4-FFF2-40B4-BE49-F238E27FC236}">
                <a16:creationId xmlns:a16="http://schemas.microsoft.com/office/drawing/2014/main" id="{25EF45CB-4AAA-4D24-888D-8AD85774D13A}"/>
              </a:ext>
            </a:extLst>
          </p:cNvPr>
          <p:cNvGraphicFramePr>
            <a:graphicFrameLocks noGrp="1"/>
          </p:cNvGraphicFramePr>
          <p:nvPr>
            <p:extLst>
              <p:ext uri="{D42A27DB-BD31-4B8C-83A1-F6EECF244321}">
                <p14:modId xmlns:p14="http://schemas.microsoft.com/office/powerpoint/2010/main" val="189369993"/>
              </p:ext>
            </p:extLst>
          </p:nvPr>
        </p:nvGraphicFramePr>
        <p:xfrm>
          <a:off x="138891" y="905103"/>
          <a:ext cx="7115348" cy="4468371"/>
        </p:xfrm>
        <a:graphic>
          <a:graphicData uri="http://schemas.openxmlformats.org/drawingml/2006/table">
            <a:tbl>
              <a:tblPr firstRow="1" bandRow="1"/>
              <a:tblGrid>
                <a:gridCol w="2068112">
                  <a:extLst>
                    <a:ext uri="{9D8B030D-6E8A-4147-A177-3AD203B41FA5}">
                      <a16:colId xmlns:a16="http://schemas.microsoft.com/office/drawing/2014/main" val="20000"/>
                    </a:ext>
                  </a:extLst>
                </a:gridCol>
                <a:gridCol w="5047236">
                  <a:extLst>
                    <a:ext uri="{9D8B030D-6E8A-4147-A177-3AD203B41FA5}">
                      <a16:colId xmlns:a16="http://schemas.microsoft.com/office/drawing/2014/main" val="20002"/>
                    </a:ext>
                  </a:extLst>
                </a:gridCol>
              </a:tblGrid>
              <a:tr h="449762">
                <a:tc>
                  <a:txBody>
                    <a:bodyPr/>
                    <a:lstStyle>
                      <a:lvl1pPr marL="0" algn="l" defTabSz="914400" rtl="0" eaLnBrk="1" latinLnBrk="0" hangingPunct="1">
                        <a:lnSpc>
                          <a:spcPct val="99000"/>
                        </a:lnSpc>
                        <a:defRPr sz="1400" b="1" kern="1200">
                          <a:solidFill>
                            <a:schemeClr val="lt1"/>
                          </a:solidFill>
                          <a:latin typeface="GE Inspira Pitch"/>
                        </a:defRPr>
                      </a:lvl1pPr>
                      <a:lvl2pPr marL="0" algn="l" defTabSz="914400" rtl="0" eaLnBrk="1" latinLnBrk="0" hangingPunct="1">
                        <a:lnSpc>
                          <a:spcPct val="99000"/>
                        </a:lnSpc>
                        <a:spcBef>
                          <a:spcPts val="900"/>
                        </a:spcBef>
                        <a:defRPr sz="1400" b="1" kern="1200">
                          <a:solidFill>
                            <a:schemeClr val="lt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b="1" kern="1200">
                          <a:solidFill>
                            <a:schemeClr val="lt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lt1"/>
                          </a:solidFill>
                          <a:latin typeface="GE Inspira Pitch"/>
                        </a:defRPr>
                      </a:lvl4pPr>
                      <a:lvl5pPr marL="155448" algn="l" defTabSz="914400" rtl="0" eaLnBrk="1" latinLnBrk="0" hangingPunct="1">
                        <a:lnSpc>
                          <a:spcPct val="99000"/>
                        </a:lnSpc>
                        <a:defRPr sz="1400" b="1" kern="1200">
                          <a:solidFill>
                            <a:schemeClr val="lt1"/>
                          </a:solidFill>
                          <a:latin typeface="GE Inspira Pitch"/>
                        </a:defRPr>
                      </a:lvl5pPr>
                      <a:lvl6pPr marL="0" algn="l" defTabSz="914400" rtl="0" eaLnBrk="1" latinLnBrk="0" hangingPunct="1">
                        <a:lnSpc>
                          <a:spcPct val="99000"/>
                        </a:lnSpc>
                        <a:defRPr sz="1400" b="1" kern="1200">
                          <a:solidFill>
                            <a:schemeClr val="lt1"/>
                          </a:solidFill>
                          <a:latin typeface="GE Inspira Pitch"/>
                        </a:defRPr>
                      </a:lvl6pPr>
                      <a:lvl7pPr marL="0" algn="l" defTabSz="914400" rtl="0" eaLnBrk="1" latinLnBrk="0" hangingPunct="1">
                        <a:lnSpc>
                          <a:spcPct val="99000"/>
                        </a:lnSpc>
                        <a:defRPr sz="1400" b="1" kern="1200">
                          <a:solidFill>
                            <a:schemeClr val="lt1"/>
                          </a:solidFill>
                          <a:latin typeface="GE Inspira Pitch"/>
                        </a:defRPr>
                      </a:lvl7pPr>
                      <a:lvl8pPr marL="0" algn="l" defTabSz="914400" rtl="0" eaLnBrk="1" latinLnBrk="0" hangingPunct="1">
                        <a:lnSpc>
                          <a:spcPct val="99000"/>
                        </a:lnSpc>
                        <a:defRPr sz="1400" b="1" kern="1200">
                          <a:solidFill>
                            <a:schemeClr val="lt1"/>
                          </a:solidFill>
                          <a:latin typeface="GE Inspira Pitch"/>
                        </a:defRPr>
                      </a:lvl8pPr>
                      <a:lvl9pPr marL="0" algn="l" defTabSz="914400" rtl="0" eaLnBrk="1" latinLnBrk="0" hangingPunct="1">
                        <a:lnSpc>
                          <a:spcPct val="99000"/>
                        </a:lnSpc>
                        <a:defRPr sz="1400" b="1" kern="1200">
                          <a:solidFill>
                            <a:schemeClr val="lt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2000" u="none" strike="noStrike" cap="none" normalizeH="0" baseline="0" dirty="0">
                          <a:ln>
                            <a:noFill/>
                          </a:ln>
                          <a:effectLst/>
                        </a:rPr>
                        <a:t>RE Characteristics</a:t>
                      </a:r>
                      <a:endParaRPr kumimoji="0" lang="en-US" sz="2000" b="1" i="0" u="none" strike="noStrike" cap="none" normalizeH="0" baseline="0" dirty="0">
                        <a:ln>
                          <a:noFill/>
                        </a:ln>
                        <a:solidFill>
                          <a:schemeClr val="tx1"/>
                        </a:solidFill>
                        <a:effectLst/>
                        <a:latin typeface="GE Inspira" pitchFamily="34" charset="0"/>
                      </a:endParaRPr>
                    </a:p>
                  </a:txBody>
                  <a:tcPr marL="0" marR="0" marT="45732" marB="45732" anchor="ctr" anchorCtr="1" horzOverflow="overflow">
                    <a:lnL>
                      <a:noFill/>
                    </a:lnL>
                    <a:lnR>
                      <a:noFill/>
                    </a:lnR>
                    <a:lnT>
                      <a:noFill/>
                    </a:lnT>
                    <a:lnB>
                      <a:noFill/>
                    </a:lnB>
                    <a:lnTlToBr w="12700" cmpd="sng">
                      <a:noFill/>
                      <a:prstDash val="solid"/>
                    </a:lnTlToBr>
                    <a:lnBlToTr w="12700" cmpd="sng">
                      <a:noFill/>
                      <a:prstDash val="solid"/>
                    </a:lnBlToTr>
                    <a:solidFill>
                      <a:srgbClr val="1E4191"/>
                    </a:solidFill>
                  </a:tcPr>
                </a:tc>
                <a:tc>
                  <a:txBody>
                    <a:bodyPr/>
                    <a:lstStyle>
                      <a:lvl1pPr marL="0" algn="l" defTabSz="914400" rtl="0" eaLnBrk="1" latinLnBrk="0" hangingPunct="1">
                        <a:lnSpc>
                          <a:spcPct val="99000"/>
                        </a:lnSpc>
                        <a:defRPr sz="1400" b="1" kern="1200">
                          <a:solidFill>
                            <a:schemeClr val="lt1"/>
                          </a:solidFill>
                          <a:latin typeface="GE Inspira Pitch"/>
                        </a:defRPr>
                      </a:lvl1pPr>
                      <a:lvl2pPr marL="0" algn="l" defTabSz="914400" rtl="0" eaLnBrk="1" latinLnBrk="0" hangingPunct="1">
                        <a:lnSpc>
                          <a:spcPct val="99000"/>
                        </a:lnSpc>
                        <a:spcBef>
                          <a:spcPts val="900"/>
                        </a:spcBef>
                        <a:defRPr sz="1400" b="1" kern="1200">
                          <a:solidFill>
                            <a:schemeClr val="lt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b="1" kern="1200">
                          <a:solidFill>
                            <a:schemeClr val="lt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lt1"/>
                          </a:solidFill>
                          <a:latin typeface="GE Inspira Pitch"/>
                        </a:defRPr>
                      </a:lvl4pPr>
                      <a:lvl5pPr marL="155448" algn="l" defTabSz="914400" rtl="0" eaLnBrk="1" latinLnBrk="0" hangingPunct="1">
                        <a:lnSpc>
                          <a:spcPct val="99000"/>
                        </a:lnSpc>
                        <a:defRPr sz="1400" b="1" kern="1200">
                          <a:solidFill>
                            <a:schemeClr val="lt1"/>
                          </a:solidFill>
                          <a:latin typeface="GE Inspira Pitch"/>
                        </a:defRPr>
                      </a:lvl5pPr>
                      <a:lvl6pPr marL="0" algn="l" defTabSz="914400" rtl="0" eaLnBrk="1" latinLnBrk="0" hangingPunct="1">
                        <a:lnSpc>
                          <a:spcPct val="99000"/>
                        </a:lnSpc>
                        <a:defRPr sz="1400" b="1" kern="1200">
                          <a:solidFill>
                            <a:schemeClr val="lt1"/>
                          </a:solidFill>
                          <a:latin typeface="GE Inspira Pitch"/>
                        </a:defRPr>
                      </a:lvl6pPr>
                      <a:lvl7pPr marL="0" algn="l" defTabSz="914400" rtl="0" eaLnBrk="1" latinLnBrk="0" hangingPunct="1">
                        <a:lnSpc>
                          <a:spcPct val="99000"/>
                        </a:lnSpc>
                        <a:defRPr sz="1400" b="1" kern="1200">
                          <a:solidFill>
                            <a:schemeClr val="lt1"/>
                          </a:solidFill>
                          <a:latin typeface="GE Inspira Pitch"/>
                        </a:defRPr>
                      </a:lvl7pPr>
                      <a:lvl8pPr marL="0" algn="l" defTabSz="914400" rtl="0" eaLnBrk="1" latinLnBrk="0" hangingPunct="1">
                        <a:lnSpc>
                          <a:spcPct val="99000"/>
                        </a:lnSpc>
                        <a:defRPr sz="1400" b="1" kern="1200">
                          <a:solidFill>
                            <a:schemeClr val="lt1"/>
                          </a:solidFill>
                          <a:latin typeface="GE Inspira Pitch"/>
                        </a:defRPr>
                      </a:lvl8pPr>
                      <a:lvl9pPr marL="0" algn="l" defTabSz="914400" rtl="0" eaLnBrk="1" latinLnBrk="0" hangingPunct="1">
                        <a:lnSpc>
                          <a:spcPct val="99000"/>
                        </a:lnSpc>
                        <a:defRPr sz="1400" b="1" kern="1200">
                          <a:solidFill>
                            <a:schemeClr val="lt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2000" u="none" strike="noStrike" cap="none" normalizeH="0" baseline="0" dirty="0">
                          <a:ln>
                            <a:noFill/>
                          </a:ln>
                          <a:effectLst/>
                        </a:rPr>
                        <a:t>Potential Grid Integration Challenges</a:t>
                      </a:r>
                      <a:endParaRPr kumimoji="0" lang="en-US" sz="2000" b="1" i="0" u="none" strike="noStrike" cap="none" normalizeH="0" baseline="0" dirty="0">
                        <a:ln>
                          <a:noFill/>
                        </a:ln>
                        <a:solidFill>
                          <a:schemeClr val="tx1"/>
                        </a:solidFill>
                        <a:effectLst/>
                        <a:latin typeface="GE Inspira" pitchFamily="34" charset="0"/>
                      </a:endParaRPr>
                    </a:p>
                  </a:txBody>
                  <a:tcPr marL="0" marR="0" marT="45732" marB="45732" anchor="ctr" anchorCtr="1" horzOverflow="overflow">
                    <a:lnL>
                      <a:noFill/>
                    </a:lnL>
                    <a:lnR>
                      <a:noFill/>
                    </a:lnR>
                    <a:lnT>
                      <a:noFill/>
                    </a:lnT>
                    <a:lnB>
                      <a:noFill/>
                    </a:lnB>
                    <a:lnTlToBr w="12700" cmpd="sng">
                      <a:noFill/>
                      <a:prstDash val="solid"/>
                    </a:lnTlToBr>
                    <a:lnBlToTr w="12700" cmpd="sng">
                      <a:noFill/>
                      <a:prstDash val="solid"/>
                    </a:lnBlToTr>
                    <a:solidFill>
                      <a:srgbClr val="1E4191"/>
                    </a:solidFill>
                  </a:tcPr>
                </a:tc>
                <a:extLst>
                  <a:ext uri="{0D108BD9-81ED-4DB2-BD59-A6C34878D82A}">
                    <a16:rowId xmlns:a16="http://schemas.microsoft.com/office/drawing/2014/main" val="10000"/>
                  </a:ext>
                </a:extLst>
              </a:tr>
              <a:tr h="689663">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rgbClr val="C00000"/>
                          </a:solidFill>
                          <a:effectLst/>
                          <a:latin typeface="GE Inspira Pitch" pitchFamily="34" charset="0"/>
                        </a:rPr>
                        <a:t>Variability</a:t>
                      </a:r>
                      <a:endParaRPr kumimoji="0" lang="en-US" sz="1600" b="1" i="0" u="none" strike="noStrike" cap="none" normalizeH="0" baseline="0" dirty="0">
                        <a:ln>
                          <a:noFill/>
                        </a:ln>
                        <a:solidFill>
                          <a:srgbClr val="C00000"/>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chemeClr val="accent1"/>
                          </a:solidFill>
                          <a:effectLst/>
                          <a:latin typeface="GE Inspira Pitch" pitchFamily="34" charset="0"/>
                        </a:rPr>
                        <a:t>Balancing generation with electricity load requires more flexibility. </a:t>
                      </a:r>
                      <a:endParaRPr kumimoji="0" lang="en-US" sz="1600" b="1" i="0" u="none" strike="noStrike" cap="none" normalizeH="0" baseline="0" dirty="0">
                        <a:ln>
                          <a:noFill/>
                        </a:ln>
                        <a:solidFill>
                          <a:schemeClr val="accent1"/>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extLst>
                  <a:ext uri="{0D108BD9-81ED-4DB2-BD59-A6C34878D82A}">
                    <a16:rowId xmlns:a16="http://schemas.microsoft.com/office/drawing/2014/main" val="10001"/>
                  </a:ext>
                </a:extLst>
              </a:tr>
              <a:tr h="689663">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b="0" i="0" u="none" strike="noStrike" cap="none" normalizeH="0" baseline="0" dirty="0">
                          <a:ln>
                            <a:noFill/>
                          </a:ln>
                          <a:solidFill>
                            <a:srgbClr val="C00000"/>
                          </a:solidFill>
                          <a:effectLst/>
                          <a:latin typeface="GE Inspira Pitch" pitchFamily="34" charset="0"/>
                        </a:rPr>
                        <a:t>Uncertainty </a:t>
                      </a: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chemeClr val="accent1"/>
                          </a:solidFill>
                          <a:effectLst/>
                          <a:latin typeface="GE Inspira Pitch" pitchFamily="34" charset="0"/>
                        </a:rPr>
                        <a:t>System operators could need additional reserves and/or an improved ability to dispatch generation.</a:t>
                      </a:r>
                      <a:endParaRPr kumimoji="0" lang="en-US" sz="1600" b="1" i="0" u="none" strike="noStrike" cap="none" normalizeH="0" baseline="0" dirty="0">
                        <a:ln>
                          <a:noFill/>
                        </a:ln>
                        <a:solidFill>
                          <a:schemeClr val="accent1"/>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extLst>
                  <a:ext uri="{0D108BD9-81ED-4DB2-BD59-A6C34878D82A}">
                    <a16:rowId xmlns:a16="http://schemas.microsoft.com/office/drawing/2014/main" val="10002"/>
                  </a:ext>
                </a:extLst>
              </a:tr>
              <a:tr h="689663">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rgbClr val="C00000"/>
                          </a:solidFill>
                          <a:effectLst/>
                          <a:latin typeface="GE Inspira Pitch" pitchFamily="34" charset="0"/>
                        </a:rPr>
                        <a:t>Location-Specificity</a:t>
                      </a:r>
                      <a:endParaRPr kumimoji="0" lang="en-US" sz="1600" b="1" i="0" u="none" strike="noStrike" cap="none" normalizeH="0" baseline="0" dirty="0">
                        <a:ln>
                          <a:noFill/>
                        </a:ln>
                        <a:solidFill>
                          <a:srgbClr val="C00000"/>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chemeClr val="accent1"/>
                          </a:solidFill>
                          <a:effectLst/>
                          <a:latin typeface="GE Inspira Pitch" pitchFamily="34" charset="0"/>
                        </a:rPr>
                        <a:t>More transmission and more advanced planning could be needed. </a:t>
                      </a:r>
                      <a:endParaRPr kumimoji="0" lang="en-US" sz="1600" b="1" i="0" u="none" strike="noStrike" cap="none" normalizeH="0" baseline="0" dirty="0">
                        <a:ln>
                          <a:noFill/>
                        </a:ln>
                        <a:solidFill>
                          <a:schemeClr val="accent1"/>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extLst>
                  <a:ext uri="{0D108BD9-81ED-4DB2-BD59-A6C34878D82A}">
                    <a16:rowId xmlns:a16="http://schemas.microsoft.com/office/drawing/2014/main" val="10003"/>
                  </a:ext>
                </a:extLst>
              </a:tr>
              <a:tr h="974810">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rgbClr val="C00000"/>
                          </a:solidFill>
                          <a:effectLst/>
                          <a:latin typeface="GE Inspira Pitch" pitchFamily="34" charset="0"/>
                        </a:rPr>
                        <a:t>Non-synchronous generation</a:t>
                      </a:r>
                      <a:endParaRPr kumimoji="0" lang="en-US" sz="1600" b="1" i="0" u="none" strike="noStrike" cap="none" normalizeH="0" baseline="0" dirty="0">
                        <a:ln>
                          <a:noFill/>
                        </a:ln>
                        <a:solidFill>
                          <a:srgbClr val="C00000"/>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chemeClr val="accent1"/>
                          </a:solidFill>
                          <a:effectLst/>
                          <a:latin typeface="GE Inspira Pitch" pitchFamily="34" charset="0"/>
                        </a:rPr>
                        <a:t>Voltage and frequency stability from variable RE generators or additional equipment comes at added capital and/or opportunity costs.</a:t>
                      </a:r>
                      <a:endParaRPr kumimoji="0" lang="en-US" sz="1600" b="1" i="0" u="none" strike="noStrike" cap="none" normalizeH="0" baseline="0" dirty="0">
                        <a:ln>
                          <a:noFill/>
                        </a:ln>
                        <a:solidFill>
                          <a:schemeClr val="accent1"/>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20000"/>
                      </a:srgbClr>
                    </a:solidFill>
                  </a:tcPr>
                </a:tc>
                <a:extLst>
                  <a:ext uri="{0D108BD9-81ED-4DB2-BD59-A6C34878D82A}">
                    <a16:rowId xmlns:a16="http://schemas.microsoft.com/office/drawing/2014/main" val="10004"/>
                  </a:ext>
                </a:extLst>
              </a:tr>
              <a:tr h="974810">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rgbClr val="C00000"/>
                          </a:solidFill>
                          <a:effectLst/>
                          <a:latin typeface="GE Inspira Pitch" pitchFamily="34" charset="0"/>
                        </a:rPr>
                        <a:t>Low capacity factor</a:t>
                      </a:r>
                      <a:endParaRPr kumimoji="0" lang="en-US" sz="1600" b="1" i="0" u="none" strike="noStrike" cap="none" normalizeH="0" baseline="0" dirty="0">
                        <a:ln>
                          <a:noFill/>
                        </a:ln>
                        <a:solidFill>
                          <a:srgbClr val="C00000"/>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tc>
                  <a:txBody>
                    <a:bodyPr/>
                    <a:lstStyle>
                      <a:lvl1pPr marL="0" algn="l" defTabSz="914400" rtl="0" eaLnBrk="1" latinLnBrk="0" hangingPunct="1">
                        <a:lnSpc>
                          <a:spcPct val="99000"/>
                        </a:lnSpc>
                        <a:defRPr sz="1400" kern="1200">
                          <a:solidFill>
                            <a:schemeClr val="dk1"/>
                          </a:solidFill>
                          <a:latin typeface="GE Inspira Pitch"/>
                        </a:defRPr>
                      </a:lvl1pPr>
                      <a:lvl2pPr marL="0" algn="l" defTabSz="914400" rtl="0" eaLnBrk="1" latinLnBrk="0" hangingPunct="1">
                        <a:lnSpc>
                          <a:spcPct val="99000"/>
                        </a:lnSpc>
                        <a:spcBef>
                          <a:spcPts val="900"/>
                        </a:spcBef>
                        <a:defRPr sz="1400" b="1" kern="1200">
                          <a:solidFill>
                            <a:schemeClr val="dk1"/>
                          </a:solidFill>
                          <a:latin typeface="GE Inspira Pitch"/>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dk1"/>
                          </a:solidFill>
                          <a:latin typeface="GE Inspira Pitch"/>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dk1"/>
                          </a:solidFill>
                          <a:latin typeface="GE Inspira Pitch"/>
                        </a:defRPr>
                      </a:lvl4pPr>
                      <a:lvl5pPr marL="155448" algn="l" defTabSz="914400" rtl="0" eaLnBrk="1" latinLnBrk="0" hangingPunct="1">
                        <a:lnSpc>
                          <a:spcPct val="99000"/>
                        </a:lnSpc>
                        <a:defRPr sz="1400" kern="1200">
                          <a:solidFill>
                            <a:schemeClr val="dk1"/>
                          </a:solidFill>
                          <a:latin typeface="GE Inspira Pitch"/>
                        </a:defRPr>
                      </a:lvl5pPr>
                      <a:lvl6pPr marL="0" algn="l" defTabSz="914400" rtl="0" eaLnBrk="1" latinLnBrk="0" hangingPunct="1">
                        <a:lnSpc>
                          <a:spcPct val="99000"/>
                        </a:lnSpc>
                        <a:defRPr sz="1400" kern="1200">
                          <a:solidFill>
                            <a:schemeClr val="dk1"/>
                          </a:solidFill>
                          <a:latin typeface="GE Inspira Pitch"/>
                        </a:defRPr>
                      </a:lvl6pPr>
                      <a:lvl7pPr marL="0" algn="l" defTabSz="914400" rtl="0" eaLnBrk="1" latinLnBrk="0" hangingPunct="1">
                        <a:lnSpc>
                          <a:spcPct val="99000"/>
                        </a:lnSpc>
                        <a:defRPr sz="1400" kern="1200">
                          <a:solidFill>
                            <a:schemeClr val="dk1"/>
                          </a:solidFill>
                          <a:latin typeface="GE Inspira Pitch"/>
                        </a:defRPr>
                      </a:lvl7pPr>
                      <a:lvl8pPr marL="0" algn="l" defTabSz="914400" rtl="0" eaLnBrk="1" latinLnBrk="0" hangingPunct="1">
                        <a:lnSpc>
                          <a:spcPct val="99000"/>
                        </a:lnSpc>
                        <a:defRPr sz="1400" kern="1200">
                          <a:solidFill>
                            <a:schemeClr val="dk1"/>
                          </a:solidFill>
                          <a:latin typeface="GE Inspira Pitch"/>
                        </a:defRPr>
                      </a:lvl8pPr>
                      <a:lvl9pPr marL="0" algn="l" defTabSz="914400" rtl="0" eaLnBrk="1" latinLnBrk="0" hangingPunct="1">
                        <a:lnSpc>
                          <a:spcPct val="99000"/>
                        </a:lnSpc>
                        <a:defRPr sz="1400" kern="1200">
                          <a:solidFill>
                            <a:schemeClr val="dk1"/>
                          </a:solidFill>
                          <a:latin typeface="GE Inspira Pitch"/>
                        </a:defRPr>
                      </a:lvl9pPr>
                    </a:lstStyle>
                    <a:p>
                      <a:pPr marL="0" marR="0" lvl="0" indent="0" algn="ctr" defTabSz="914400" rtl="0" eaLnBrk="1" fontAlgn="base" latinLnBrk="0" hangingPunct="1">
                        <a:lnSpc>
                          <a:spcPct val="90000"/>
                        </a:lnSpc>
                        <a:spcBef>
                          <a:spcPct val="50000"/>
                        </a:spcBef>
                        <a:spcAft>
                          <a:spcPct val="0"/>
                        </a:spcAft>
                        <a:buClr>
                          <a:srgbClr val="004880"/>
                        </a:buClr>
                        <a:buSzTx/>
                        <a:buFontTx/>
                        <a:buNone/>
                        <a:tabLst/>
                      </a:pPr>
                      <a:r>
                        <a:rPr kumimoji="0" lang="en-US" sz="1600" u="none" strike="noStrike" cap="none" normalizeH="0" baseline="0" dirty="0">
                          <a:ln>
                            <a:noFill/>
                          </a:ln>
                          <a:solidFill>
                            <a:schemeClr val="accent1"/>
                          </a:solidFill>
                          <a:effectLst/>
                          <a:latin typeface="GE Inspira Pitch" pitchFamily="34" charset="0"/>
                        </a:rPr>
                        <a:t>Existing conventional generators could be needed to meet demand, but run less than originally anticipated, affecting cost recovery. </a:t>
                      </a:r>
                      <a:endParaRPr kumimoji="0" lang="en-US" sz="1600" b="1" i="0" u="none" strike="noStrike" cap="none" normalizeH="0" baseline="0" dirty="0">
                        <a:ln>
                          <a:noFill/>
                        </a:ln>
                        <a:solidFill>
                          <a:schemeClr val="accent1"/>
                        </a:solidFill>
                        <a:effectLst/>
                        <a:latin typeface="GE Inspira Pitch" pitchFamily="34" charset="0"/>
                      </a:endParaRPr>
                    </a:p>
                  </a:txBody>
                  <a:tcPr marL="45720" marR="45720" marT="45729" marB="45729" anchor="ctr" anchorCtr="1" horzOverflow="overflow">
                    <a:lnL>
                      <a:noFill/>
                    </a:lnL>
                    <a:lnR>
                      <a:noFill/>
                    </a:lnR>
                    <a:lnT>
                      <a:noFill/>
                    </a:lnT>
                    <a:lnB>
                      <a:noFill/>
                    </a:lnB>
                    <a:lnTlToBr w="12700" cmpd="sng">
                      <a:noFill/>
                      <a:prstDash val="solid"/>
                    </a:lnTlToBr>
                    <a:lnBlToTr w="12700" cmpd="sng">
                      <a:noFill/>
                      <a:prstDash val="solid"/>
                    </a:lnBlToTr>
                    <a:solidFill>
                      <a:srgbClr val="1E4191">
                        <a:tint val="40000"/>
                      </a:srgbClr>
                    </a:solidFill>
                  </a:tcPr>
                </a:tc>
                <a:extLst>
                  <a:ext uri="{0D108BD9-81ED-4DB2-BD59-A6C34878D82A}">
                    <a16:rowId xmlns:a16="http://schemas.microsoft.com/office/drawing/2014/main" val="10005"/>
                  </a:ext>
                </a:extLst>
              </a:tr>
            </a:tbl>
          </a:graphicData>
        </a:graphic>
      </p:graphicFrame>
      <p:pic>
        <p:nvPicPr>
          <p:cNvPr id="7" name="Picture 6">
            <a:extLst>
              <a:ext uri="{FF2B5EF4-FFF2-40B4-BE49-F238E27FC236}">
                <a16:creationId xmlns:a16="http://schemas.microsoft.com/office/drawing/2014/main" id="{D9DDA18F-0F82-4BB8-A8B7-A759C501D073}"/>
              </a:ext>
            </a:extLst>
          </p:cNvPr>
          <p:cNvPicPr>
            <a:picLocks noChangeAspect="1"/>
          </p:cNvPicPr>
          <p:nvPr/>
        </p:nvPicPr>
        <p:blipFill>
          <a:blip r:embed="rId2"/>
          <a:stretch>
            <a:fillRect/>
          </a:stretch>
        </p:blipFill>
        <p:spPr>
          <a:xfrm>
            <a:off x="7254239" y="1496152"/>
            <a:ext cx="4533127" cy="3286275"/>
          </a:xfrm>
          <a:prstGeom prst="rect">
            <a:avLst/>
          </a:prstGeom>
        </p:spPr>
      </p:pic>
      <p:sp>
        <p:nvSpPr>
          <p:cNvPr id="9" name="Rectangle 19">
            <a:extLst>
              <a:ext uri="{FF2B5EF4-FFF2-40B4-BE49-F238E27FC236}">
                <a16:creationId xmlns:a16="http://schemas.microsoft.com/office/drawing/2014/main" id="{00BD7C34-F24F-4D23-A714-A94ED872B9AE}"/>
              </a:ext>
            </a:extLst>
          </p:cNvPr>
          <p:cNvSpPr>
            <a:spLocks noChangeArrowheads="1"/>
          </p:cNvSpPr>
          <p:nvPr/>
        </p:nvSpPr>
        <p:spPr bwMode="auto">
          <a:xfrm>
            <a:off x="0" y="5770711"/>
            <a:ext cx="12192000" cy="400110"/>
          </a:xfrm>
          <a:prstGeom prst="rect">
            <a:avLst/>
          </a:prstGeom>
          <a:solidFill>
            <a:srgbClr val="1E4191"/>
          </a:solidFill>
          <a:ln w="25400" cap="rnd">
            <a:solidFill>
              <a:srgbClr val="1E4191"/>
            </a:solidFill>
            <a:round/>
            <a:headEnd/>
            <a:tailEnd/>
          </a:ln>
        </p:spPr>
        <p:txBody>
          <a:bodyPr wrap="square" lIns="45720" rIns="45720">
            <a:spAutoFit/>
          </a:bodyPr>
          <a:lstStyle>
            <a:lvl1pPr eaLnBrk="0" hangingPunct="0">
              <a:lnSpc>
                <a:spcPct val="90000"/>
              </a:lnSpc>
              <a:spcBef>
                <a:spcPct val="50000"/>
              </a:spcBef>
              <a:buClr>
                <a:srgbClr val="004880"/>
              </a:buClr>
              <a:defRPr sz="2800">
                <a:solidFill>
                  <a:srgbClr val="1E4191"/>
                </a:solidFill>
                <a:latin typeface="GE Inspira" pitchFamily="34" charset="0"/>
              </a:defRPr>
            </a:lvl1pPr>
            <a:lvl2pPr marL="742950" indent="-285750" eaLnBrk="0" hangingPunct="0">
              <a:lnSpc>
                <a:spcPct val="90000"/>
              </a:lnSpc>
              <a:spcBef>
                <a:spcPct val="30000"/>
              </a:spcBef>
              <a:buClr>
                <a:srgbClr val="004880"/>
              </a:buClr>
              <a:buFont typeface="GE Inspira" pitchFamily="34" charset="0"/>
              <a:buChar char="•"/>
              <a:defRPr sz="2800">
                <a:solidFill>
                  <a:srgbClr val="1E4191"/>
                </a:solidFill>
                <a:latin typeface="GE Inspira" pitchFamily="34" charset="0"/>
              </a:defRPr>
            </a:lvl2pPr>
            <a:lvl3pPr marL="1143000" indent="-228600" eaLnBrk="0" hangingPunct="0">
              <a:lnSpc>
                <a:spcPct val="90000"/>
              </a:lnSpc>
              <a:spcBef>
                <a:spcPct val="20000"/>
              </a:spcBef>
              <a:buClr>
                <a:srgbClr val="004880"/>
              </a:buClr>
              <a:buChar char="–"/>
              <a:defRPr sz="2800">
                <a:solidFill>
                  <a:srgbClr val="1E4191"/>
                </a:solidFill>
                <a:latin typeface="GE Inspira" pitchFamily="34" charset="0"/>
              </a:defRPr>
            </a:lvl3pPr>
            <a:lvl4pPr marL="1600200" indent="-228600" eaLnBrk="0" hangingPunct="0">
              <a:lnSpc>
                <a:spcPct val="90000"/>
              </a:lnSpc>
              <a:spcBef>
                <a:spcPct val="10000"/>
              </a:spcBef>
              <a:buClr>
                <a:srgbClr val="004880"/>
              </a:buClr>
              <a:buChar char="–"/>
              <a:defRPr sz="2800">
                <a:solidFill>
                  <a:srgbClr val="1E4191"/>
                </a:solidFill>
                <a:latin typeface="GE Inspira" pitchFamily="34" charset="0"/>
              </a:defRPr>
            </a:lvl4pPr>
            <a:lvl5pPr marL="2057400" indent="-228600" eaLnBrk="0" hangingPunct="0">
              <a:lnSpc>
                <a:spcPct val="90000"/>
              </a:lnSpc>
              <a:buClr>
                <a:srgbClr val="004880"/>
              </a:buClr>
              <a:buChar char="–"/>
              <a:defRPr sz="2800">
                <a:solidFill>
                  <a:srgbClr val="1E4191"/>
                </a:solidFill>
                <a:latin typeface="GE Inspira" pitchFamily="34" charset="0"/>
              </a:defRPr>
            </a:lvl5pPr>
            <a:lvl6pPr marL="25146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6pPr>
            <a:lvl7pPr marL="29718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7pPr>
            <a:lvl8pPr marL="34290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8pPr>
            <a:lvl9pPr marL="38862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9pPr>
          </a:lstStyle>
          <a:p>
            <a:pPr marL="0" marR="0" lvl="0" indent="0" algn="ctr" defTabSz="914400" eaLnBrk="1" fontAlgn="base" latinLnBrk="0" hangingPunct="1">
              <a:lnSpc>
                <a:spcPct val="100000"/>
              </a:lnSpc>
              <a:spcBef>
                <a:spcPct val="0"/>
              </a:spcBef>
              <a:spcAft>
                <a:spcPct val="0"/>
              </a:spcAft>
              <a:buClr>
                <a:srgbClr val="004880"/>
              </a:buClr>
              <a:buSzTx/>
              <a:buFontTx/>
              <a:buNone/>
              <a:tabLst/>
              <a:defRPr/>
            </a:pPr>
            <a:r>
              <a:rPr kumimoji="0" lang="en-US" altLang="en-US" sz="2000" b="1" i="0" u="none" strike="noStrike" kern="0" cap="none" spc="0" normalizeH="0" baseline="0" noProof="0" dirty="0">
                <a:ln>
                  <a:noFill/>
                </a:ln>
                <a:solidFill>
                  <a:srgbClr val="FFFFFF"/>
                </a:solidFill>
                <a:effectLst/>
                <a:uLnTx/>
                <a:uFillTx/>
                <a:latin typeface="GE Inspira Pitch" pitchFamily="34" charset="0"/>
                <a:cs typeface="Times New Roman" pitchFamily="18" charset="0"/>
              </a:rPr>
              <a:t>Flexibility of generating assets is core to achieving high variable renewables on the grid</a:t>
            </a:r>
          </a:p>
        </p:txBody>
      </p:sp>
      <p:sp>
        <p:nvSpPr>
          <p:cNvPr id="13" name="TextBox 12">
            <a:extLst>
              <a:ext uri="{FF2B5EF4-FFF2-40B4-BE49-F238E27FC236}">
                <a16:creationId xmlns:a16="http://schemas.microsoft.com/office/drawing/2014/main" id="{04AD0951-038F-48A4-A08B-BA2615F6DAF6}"/>
              </a:ext>
            </a:extLst>
          </p:cNvPr>
          <p:cNvSpPr txBox="1"/>
          <p:nvPr/>
        </p:nvSpPr>
        <p:spPr>
          <a:xfrm>
            <a:off x="69669" y="5370601"/>
            <a:ext cx="7115348" cy="400110"/>
          </a:xfrm>
          <a:prstGeom prst="rect">
            <a:avLst/>
          </a:prstGeom>
          <a:noFill/>
        </p:spPr>
        <p:txBody>
          <a:bodyPr wrap="square">
            <a:spAutoFit/>
          </a:bodyPr>
          <a:lstStyle/>
          <a:p>
            <a:r>
              <a:rPr lang="en-US" sz="1000" dirty="0"/>
              <a:t>Source: </a:t>
            </a:r>
          </a:p>
          <a:p>
            <a:r>
              <a:rPr lang="en-US" sz="1000" i="1" dirty="0"/>
              <a:t>NREL report on Grid Integration and the Carrying Capacity of the U.S. Grid to Incorporate Variable Renewable Energy </a:t>
            </a:r>
          </a:p>
        </p:txBody>
      </p:sp>
    </p:spTree>
    <p:extLst>
      <p:ext uri="{BB962C8B-B14F-4D97-AF65-F5344CB8AC3E}">
        <p14:creationId xmlns:p14="http://schemas.microsoft.com/office/powerpoint/2010/main" val="918410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AEAC454-2040-48CC-81EC-3F2AFCF10758}"/>
              </a:ext>
            </a:extLst>
          </p:cNvPr>
          <p:cNvSpPr>
            <a:spLocks noGrp="1"/>
          </p:cNvSpPr>
          <p:nvPr>
            <p:ph type="dt" sz="half" idx="10"/>
          </p:nvPr>
        </p:nvSpPr>
        <p:spPr/>
        <p:txBody>
          <a:bodyPr/>
          <a:lstStyle/>
          <a:p>
            <a:fld id="{847652F8-2028-47EC-8E89-6F1BC4534984}" type="datetime4">
              <a:rPr lang="en-US" smtClean="0"/>
              <a:t>October 18, 2021</a:t>
            </a:fld>
            <a:endParaRPr lang="en-CA" dirty="0"/>
          </a:p>
        </p:txBody>
      </p:sp>
      <p:sp>
        <p:nvSpPr>
          <p:cNvPr id="3" name="Slide Number Placeholder 2">
            <a:extLst>
              <a:ext uri="{FF2B5EF4-FFF2-40B4-BE49-F238E27FC236}">
                <a16:creationId xmlns:a16="http://schemas.microsoft.com/office/drawing/2014/main" id="{5A8B2AC4-77AA-4155-9F42-945C689DF57A}"/>
              </a:ext>
            </a:extLst>
          </p:cNvPr>
          <p:cNvSpPr>
            <a:spLocks noGrp="1"/>
          </p:cNvSpPr>
          <p:nvPr>
            <p:ph type="sldNum" sz="quarter" idx="12"/>
          </p:nvPr>
        </p:nvSpPr>
        <p:spPr/>
        <p:txBody>
          <a:bodyPr/>
          <a:lstStyle/>
          <a:p>
            <a:fld id="{00E6A5BD-C011-4A45-AA3A-201790FB7F2B}" type="slidenum">
              <a:rPr lang="en-CA" smtClean="0"/>
              <a:pPr/>
              <a:t>9</a:t>
            </a:fld>
            <a:endParaRPr lang="en-CA" dirty="0"/>
          </a:p>
        </p:txBody>
      </p:sp>
      <p:sp>
        <p:nvSpPr>
          <p:cNvPr id="4" name="Title 3">
            <a:extLst>
              <a:ext uri="{FF2B5EF4-FFF2-40B4-BE49-F238E27FC236}">
                <a16:creationId xmlns:a16="http://schemas.microsoft.com/office/drawing/2014/main" id="{4923B519-0397-4F79-8A66-2FF21165829E}"/>
              </a:ext>
            </a:extLst>
          </p:cNvPr>
          <p:cNvSpPr>
            <a:spLocks noGrp="1"/>
          </p:cNvSpPr>
          <p:nvPr>
            <p:ph type="title"/>
          </p:nvPr>
        </p:nvSpPr>
        <p:spPr>
          <a:xfrm>
            <a:off x="499268" y="260474"/>
            <a:ext cx="11201400" cy="914400"/>
          </a:xfrm>
        </p:spPr>
        <p:txBody>
          <a:bodyPr/>
          <a:lstStyle/>
          <a:p>
            <a:r>
              <a:rPr lang="en-US" dirty="0"/>
              <a:t>Grid-scale energy storage as an enabler for RE integration…</a:t>
            </a:r>
          </a:p>
        </p:txBody>
      </p:sp>
      <p:sp>
        <p:nvSpPr>
          <p:cNvPr id="9" name="Rectangle 19">
            <a:extLst>
              <a:ext uri="{FF2B5EF4-FFF2-40B4-BE49-F238E27FC236}">
                <a16:creationId xmlns:a16="http://schemas.microsoft.com/office/drawing/2014/main" id="{D564F1F4-F95A-4BED-95A9-32DE6453F52D}"/>
              </a:ext>
            </a:extLst>
          </p:cNvPr>
          <p:cNvSpPr>
            <a:spLocks noChangeArrowheads="1"/>
          </p:cNvSpPr>
          <p:nvPr/>
        </p:nvSpPr>
        <p:spPr bwMode="auto">
          <a:xfrm>
            <a:off x="0" y="5770711"/>
            <a:ext cx="12192000" cy="369332"/>
          </a:xfrm>
          <a:prstGeom prst="rect">
            <a:avLst/>
          </a:prstGeom>
          <a:solidFill>
            <a:srgbClr val="1E4191"/>
          </a:solidFill>
          <a:ln w="25400" cap="rnd">
            <a:solidFill>
              <a:srgbClr val="1E4191"/>
            </a:solidFill>
            <a:round/>
            <a:headEnd/>
            <a:tailEnd/>
          </a:ln>
        </p:spPr>
        <p:txBody>
          <a:bodyPr wrap="square" lIns="45720" rIns="45720">
            <a:spAutoFit/>
          </a:bodyPr>
          <a:lstStyle>
            <a:lvl1pPr eaLnBrk="0" hangingPunct="0">
              <a:lnSpc>
                <a:spcPct val="90000"/>
              </a:lnSpc>
              <a:spcBef>
                <a:spcPct val="50000"/>
              </a:spcBef>
              <a:buClr>
                <a:srgbClr val="004880"/>
              </a:buClr>
              <a:defRPr sz="2800">
                <a:solidFill>
                  <a:srgbClr val="1E4191"/>
                </a:solidFill>
                <a:latin typeface="GE Inspira" pitchFamily="34" charset="0"/>
              </a:defRPr>
            </a:lvl1pPr>
            <a:lvl2pPr marL="742950" indent="-285750" eaLnBrk="0" hangingPunct="0">
              <a:lnSpc>
                <a:spcPct val="90000"/>
              </a:lnSpc>
              <a:spcBef>
                <a:spcPct val="30000"/>
              </a:spcBef>
              <a:buClr>
                <a:srgbClr val="004880"/>
              </a:buClr>
              <a:buFont typeface="GE Inspira" pitchFamily="34" charset="0"/>
              <a:buChar char="•"/>
              <a:defRPr sz="2800">
                <a:solidFill>
                  <a:srgbClr val="1E4191"/>
                </a:solidFill>
                <a:latin typeface="GE Inspira" pitchFamily="34" charset="0"/>
              </a:defRPr>
            </a:lvl2pPr>
            <a:lvl3pPr marL="1143000" indent="-228600" eaLnBrk="0" hangingPunct="0">
              <a:lnSpc>
                <a:spcPct val="90000"/>
              </a:lnSpc>
              <a:spcBef>
                <a:spcPct val="20000"/>
              </a:spcBef>
              <a:buClr>
                <a:srgbClr val="004880"/>
              </a:buClr>
              <a:buChar char="–"/>
              <a:defRPr sz="2800">
                <a:solidFill>
                  <a:srgbClr val="1E4191"/>
                </a:solidFill>
                <a:latin typeface="GE Inspira" pitchFamily="34" charset="0"/>
              </a:defRPr>
            </a:lvl3pPr>
            <a:lvl4pPr marL="1600200" indent="-228600" eaLnBrk="0" hangingPunct="0">
              <a:lnSpc>
                <a:spcPct val="90000"/>
              </a:lnSpc>
              <a:spcBef>
                <a:spcPct val="10000"/>
              </a:spcBef>
              <a:buClr>
                <a:srgbClr val="004880"/>
              </a:buClr>
              <a:buChar char="–"/>
              <a:defRPr sz="2800">
                <a:solidFill>
                  <a:srgbClr val="1E4191"/>
                </a:solidFill>
                <a:latin typeface="GE Inspira" pitchFamily="34" charset="0"/>
              </a:defRPr>
            </a:lvl4pPr>
            <a:lvl5pPr marL="2057400" indent="-228600" eaLnBrk="0" hangingPunct="0">
              <a:lnSpc>
                <a:spcPct val="90000"/>
              </a:lnSpc>
              <a:buClr>
                <a:srgbClr val="004880"/>
              </a:buClr>
              <a:buChar char="–"/>
              <a:defRPr sz="2800">
                <a:solidFill>
                  <a:srgbClr val="1E4191"/>
                </a:solidFill>
                <a:latin typeface="GE Inspira" pitchFamily="34" charset="0"/>
              </a:defRPr>
            </a:lvl5pPr>
            <a:lvl6pPr marL="25146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6pPr>
            <a:lvl7pPr marL="29718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7pPr>
            <a:lvl8pPr marL="34290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8pPr>
            <a:lvl9pPr marL="3886200" indent="-228600" eaLnBrk="0" fontAlgn="base" hangingPunct="0">
              <a:lnSpc>
                <a:spcPct val="90000"/>
              </a:lnSpc>
              <a:spcBef>
                <a:spcPct val="0"/>
              </a:spcBef>
              <a:spcAft>
                <a:spcPct val="0"/>
              </a:spcAft>
              <a:buClr>
                <a:srgbClr val="004880"/>
              </a:buClr>
              <a:buChar char="–"/>
              <a:defRPr sz="2800">
                <a:solidFill>
                  <a:srgbClr val="1E4191"/>
                </a:solidFill>
                <a:latin typeface="GE Inspira" pitchFamily="34" charset="0"/>
              </a:defRPr>
            </a:lvl9pPr>
          </a:lstStyle>
          <a:p>
            <a:pPr algn="ctr">
              <a:buClr>
                <a:srgbClr val="004880"/>
              </a:buClr>
            </a:pPr>
            <a:r>
              <a:rPr lang="en-US" sz="2000" b="1" dirty="0">
                <a:solidFill>
                  <a:schemeClr val="bg1"/>
                </a:solidFill>
                <a:latin typeface="GE Inspira Pitch" pitchFamily="34" charset="0"/>
              </a:rPr>
              <a:t>Energy storage serves as one of the ways to increase grid flexibility and improve the integration of VRE</a:t>
            </a:r>
          </a:p>
        </p:txBody>
      </p:sp>
      <p:pic>
        <p:nvPicPr>
          <p:cNvPr id="8" name="Picture 7">
            <a:extLst>
              <a:ext uri="{FF2B5EF4-FFF2-40B4-BE49-F238E27FC236}">
                <a16:creationId xmlns:a16="http://schemas.microsoft.com/office/drawing/2014/main" id="{3CD44D97-D7E1-4F05-820B-128191BADABE}"/>
              </a:ext>
            </a:extLst>
          </p:cNvPr>
          <p:cNvPicPr>
            <a:picLocks noChangeAspect="1"/>
          </p:cNvPicPr>
          <p:nvPr/>
        </p:nvPicPr>
        <p:blipFill>
          <a:blip r:embed="rId2"/>
          <a:stretch>
            <a:fillRect/>
          </a:stretch>
        </p:blipFill>
        <p:spPr>
          <a:xfrm>
            <a:off x="242171" y="1435056"/>
            <a:ext cx="6681143" cy="3728051"/>
          </a:xfrm>
          <a:prstGeom prst="rect">
            <a:avLst/>
          </a:prstGeom>
        </p:spPr>
      </p:pic>
      <p:pic>
        <p:nvPicPr>
          <p:cNvPr id="17" name="Picture 16">
            <a:extLst>
              <a:ext uri="{FF2B5EF4-FFF2-40B4-BE49-F238E27FC236}">
                <a16:creationId xmlns:a16="http://schemas.microsoft.com/office/drawing/2014/main" id="{D4EA9EB8-4F33-435D-B16C-9029275F5710}"/>
              </a:ext>
            </a:extLst>
          </p:cNvPr>
          <p:cNvPicPr>
            <a:picLocks noChangeAspect="1"/>
          </p:cNvPicPr>
          <p:nvPr/>
        </p:nvPicPr>
        <p:blipFill rotWithShape="1">
          <a:blip r:embed="rId3"/>
          <a:srcRect l="1084" t="695" r="1121" b="1644"/>
          <a:stretch/>
        </p:blipFill>
        <p:spPr>
          <a:xfrm>
            <a:off x="7236823" y="1079834"/>
            <a:ext cx="3796938" cy="3666337"/>
          </a:xfrm>
          <a:prstGeom prst="rect">
            <a:avLst/>
          </a:prstGeom>
        </p:spPr>
      </p:pic>
      <p:sp>
        <p:nvSpPr>
          <p:cNvPr id="19" name="clipart_drawncirclegreen">
            <a:extLst>
              <a:ext uri="{FF2B5EF4-FFF2-40B4-BE49-F238E27FC236}">
                <a16:creationId xmlns:a16="http://schemas.microsoft.com/office/drawing/2014/main" id="{BC75BCE8-E2CC-4283-BF91-50C30383FD53}"/>
              </a:ext>
            </a:extLst>
          </p:cNvPr>
          <p:cNvSpPr>
            <a:spLocks/>
          </p:cNvSpPr>
          <p:nvPr/>
        </p:nvSpPr>
        <p:spPr bwMode="gray">
          <a:xfrm rot="10800000">
            <a:off x="7158445" y="3953166"/>
            <a:ext cx="1968137" cy="456416"/>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9525">
            <a:solidFill>
              <a:srgbClr val="FF0000"/>
            </a:solidFill>
            <a:round/>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20" name="clipart_drawncirclegreen">
            <a:extLst>
              <a:ext uri="{FF2B5EF4-FFF2-40B4-BE49-F238E27FC236}">
                <a16:creationId xmlns:a16="http://schemas.microsoft.com/office/drawing/2014/main" id="{47069E5B-7C24-4809-B491-725C4C91382F}"/>
              </a:ext>
            </a:extLst>
          </p:cNvPr>
          <p:cNvSpPr>
            <a:spLocks/>
          </p:cNvSpPr>
          <p:nvPr/>
        </p:nvSpPr>
        <p:spPr bwMode="gray">
          <a:xfrm rot="9536883">
            <a:off x="3531449" y="1979294"/>
            <a:ext cx="1968137" cy="802046"/>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FF0000"/>
          </a:solidFill>
          <a:ln w="9525">
            <a:solidFill>
              <a:srgbClr val="FF0000"/>
            </a:solidFill>
            <a:round/>
            <a:headEnd/>
            <a:tailEnd/>
          </a:ln>
        </p:spPr>
        <p:txBody>
          <a:bodyPr tIns="91440" bIns="9144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0" name="TextBox 21">
            <a:extLst>
              <a:ext uri="{FF2B5EF4-FFF2-40B4-BE49-F238E27FC236}">
                <a16:creationId xmlns:a16="http://schemas.microsoft.com/office/drawing/2014/main" id="{6CE01C04-2141-45D4-A9D7-327FC90354F8}"/>
              </a:ext>
            </a:extLst>
          </p:cNvPr>
          <p:cNvSpPr txBox="1"/>
          <p:nvPr/>
        </p:nvSpPr>
        <p:spPr>
          <a:xfrm>
            <a:off x="3840480" y="6399982"/>
            <a:ext cx="5765074" cy="247839"/>
          </a:xfrm>
          <a:prstGeom prst="rect">
            <a:avLst/>
          </a:prstGeom>
          <a:solidFill>
            <a:schemeClr val="bg1"/>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GE Inspira Sans"/>
                <a:ea typeface="+mn-ea"/>
                <a:cs typeface="+mn-cs"/>
              </a:rPr>
              <a:t>© 2021 General Electric Company. </a:t>
            </a:r>
          </a:p>
        </p:txBody>
      </p:sp>
    </p:spTree>
    <p:extLst>
      <p:ext uri="{BB962C8B-B14F-4D97-AF65-F5344CB8AC3E}">
        <p14:creationId xmlns:p14="http://schemas.microsoft.com/office/powerpoint/2010/main" val="13765980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FE6bBKWiDaKG5R_8kAP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99OJIO.MLF4SJxtNEh0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y2TRyzGr8_uGLmf5DRTc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u7yu7.dNnwbTpaIvbMpA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QLne.QSgsgpbFMcnCly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FOzfFEvvrV.TtH70AvGG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fNX8bH5Cr4QePUaZj3p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xBlB3kM9zaq2favGJuL_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0ac8j7dvdXvsxwdOL6kbi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bnwJAr60Gj2cxIrc1Ej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RenCndj6RjzL8ziIFsu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VxLN40OEYCiPB3DnRus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lzfV6vgee6JmW40WYn6d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YJbqnsqMdrvE4xAJl_KY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i3ndXLiGW_rREWB82bF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tAqxa..LL53SEoCPMwe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DkDCVKp9hWyknmY.0avJ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KbX2dj9qciQnt.I0HYMZ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Et5JBgTvwXIVO8GkeOG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06qDWoy.pT5gt25h5ocj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3Fy5ICXe1Tgrvd.A2OCqd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7FOzfFEvvrV.TtH70AvGG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DkDCVKp9hWyknmY.0avJ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Et5JBgTvwXIVO8GkeOGW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_d2ML4cy4unSqP7g76Q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FE6bBKWiDaKG5R_8kAP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Et5JBgTvwXIVO8GkeOGW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y2TRyzGr8_uGLmf5DRTc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u7yu7.dNnwbTpaIvbMpA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sQLne.QSgsgpbFMcnClyX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fNX8bH5Cr4QePUaZj3p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xBlB3kM9zaq2favGJuL_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0ac8j7dvdXvsxwdOL6kbi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tbnwJAr60Gj2cxIrc1Eju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DRenCndj6RjzL8ziIFsul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VxLN40OEYCiPB3DnRus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_d2ML4cy4unSqP7g76QV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TlzfV6vgee6JmW40WYn6d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YJbqnsqMdrvE4xAJl_KY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i3ndXLiGW_rREWB82bF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itAqxa..LL53SEoCPMweg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KbX2dj9qciQnt.I0HYMZ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Et5JBgTvwXIVO8GkeOGW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06qDWoy.pT5gt25h5ocj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3Fy5ICXe1Tgrvd.A2OCqd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tHVvNXf0KLBC1X.hqXcYjw"/>
</p:tagLst>
</file>

<file path=ppt/theme/theme1.xml><?xml version="1.0" encoding="utf-8"?>
<a:theme xmlns:a="http://schemas.openxmlformats.org/drawingml/2006/main" name="GE">
  <a:themeElements>
    <a:clrScheme name="GE Colors">
      <a:dk1>
        <a:srgbClr val="63666A"/>
      </a:dk1>
      <a:lt1>
        <a:sysClr val="window" lastClr="FFFFFF"/>
      </a:lt1>
      <a:dk2>
        <a:srgbClr val="B1B3B3"/>
      </a:dk2>
      <a:lt2>
        <a:srgbClr val="F0F0F0"/>
      </a:lt2>
      <a:accent1>
        <a:srgbClr val="005EB8"/>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GE">
  <a:themeElements>
    <a:clrScheme name="GE Office Colors">
      <a:dk1>
        <a:srgbClr val="63666A"/>
      </a:dk1>
      <a:lt1>
        <a:sysClr val="window" lastClr="FFFFFF"/>
      </a:lt1>
      <a:dk2>
        <a:srgbClr val="B1B3B3"/>
      </a:dk2>
      <a:lt2>
        <a:srgbClr val="F0F0F0"/>
      </a:lt2>
      <a:accent1>
        <a:srgbClr val="005EB8"/>
      </a:accent1>
      <a:accent2>
        <a:srgbClr val="63666A"/>
      </a:accent2>
      <a:accent3>
        <a:srgbClr val="00B5E2"/>
      </a:accent3>
      <a:accent4>
        <a:srgbClr val="13294B"/>
      </a:accent4>
      <a:accent5>
        <a:srgbClr val="B1B3B3"/>
      </a:accent5>
      <a:accent6>
        <a:srgbClr val="00BF6F"/>
      </a:accent6>
      <a:hlink>
        <a:srgbClr val="005CB9"/>
      </a:hlink>
      <a:folHlink>
        <a:srgbClr val="00B5E2"/>
      </a:folHlink>
    </a:clrScheme>
    <a:fontScheme name="GE Office Fonts">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noFill/>
        <a:ln w="28575">
          <a:solidFill>
            <a:schemeClr val="accent2"/>
          </a:solidFill>
          <a:miter lim="800000"/>
        </a:ln>
      </a:spPr>
      <a:bodyPr/>
      <a:lstStyle/>
      <a:style>
        <a:lnRef idx="2">
          <a:schemeClr val="accent1">
            <a:shade val="50000"/>
          </a:schemeClr>
        </a:lnRef>
        <a:fillRef idx="1">
          <a:schemeClr val="accent1"/>
        </a:fillRef>
        <a:effectRef idx="0">
          <a:schemeClr val="accent1"/>
        </a:effectRef>
        <a:fontRef idx="minor">
          <a:schemeClr val="lt1"/>
        </a:fontRef>
      </a:style>
    </a:lnDef>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PrimaryPowerPointTemplate_FEB 15 2017_GA_R2" id="{FE1F3CB3-061D-406C-866C-93512785F34D}" vid="{58F86B7F-B7BC-45B9-817F-FF4DC17439FE}"/>
    </a:ext>
  </a:extLst>
</a:theme>
</file>

<file path=ppt/theme/theme3.xml><?xml version="1.0" encoding="utf-8"?>
<a:theme xmlns:a="http://schemas.openxmlformats.org/drawingml/2006/main" name="5_GE">
  <a:themeElements>
    <a:clrScheme name="GE Office Colors">
      <a:dk1>
        <a:srgbClr val="63666A"/>
      </a:dk1>
      <a:lt1>
        <a:sysClr val="window" lastClr="FFFFFF"/>
      </a:lt1>
      <a:dk2>
        <a:srgbClr val="B1B3B3"/>
      </a:dk2>
      <a:lt2>
        <a:srgbClr val="F0F0F0"/>
      </a:lt2>
      <a:accent1>
        <a:srgbClr val="005EB8"/>
      </a:accent1>
      <a:accent2>
        <a:srgbClr val="63666A"/>
      </a:accent2>
      <a:accent3>
        <a:srgbClr val="00B5E2"/>
      </a:accent3>
      <a:accent4>
        <a:srgbClr val="13294B"/>
      </a:accent4>
      <a:accent5>
        <a:srgbClr val="B1B3B3"/>
      </a:accent5>
      <a:accent6>
        <a:srgbClr val="00BF6F"/>
      </a:accent6>
      <a:hlink>
        <a:srgbClr val="005CB9"/>
      </a:hlink>
      <a:folHlink>
        <a:srgbClr val="00B5E2"/>
      </a:folHlink>
    </a:clrScheme>
    <a:fontScheme name="GE Office Fonts">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noFill/>
        <a:ln w="28575">
          <a:solidFill>
            <a:schemeClr val="accent2"/>
          </a:solidFill>
          <a:miter lim="800000"/>
        </a:ln>
      </a:spPr>
      <a:bodyPr/>
      <a:lstStyle/>
      <a:style>
        <a:lnRef idx="2">
          <a:schemeClr val="accent1">
            <a:shade val="50000"/>
          </a:schemeClr>
        </a:lnRef>
        <a:fillRef idx="1">
          <a:schemeClr val="accent1"/>
        </a:fillRef>
        <a:effectRef idx="0">
          <a:schemeClr val="accent1"/>
        </a:effectRef>
        <a:fontRef idx="minor">
          <a:schemeClr val="lt1"/>
        </a:fontRef>
      </a:style>
    </a:lnDef>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LAN078_GE PPT Template_20170130_5d" id="{EEAAA9A6-259D-416C-A90D-EE5CD6458EC5}" vid="{C873201F-992E-41B7-80DF-4729B2436BBF}"/>
    </a:ext>
  </a:extLst>
</a:theme>
</file>

<file path=ppt/theme/theme4.xml><?xml version="1.0" encoding="utf-8"?>
<a:theme xmlns:a="http://schemas.openxmlformats.org/drawingml/2006/main" name="6_GE">
  <a:themeElements>
    <a:clrScheme name="GE Office Colors">
      <a:dk1>
        <a:srgbClr val="63666A"/>
      </a:dk1>
      <a:lt1>
        <a:sysClr val="window" lastClr="FFFFFF"/>
      </a:lt1>
      <a:dk2>
        <a:srgbClr val="B1B3B3"/>
      </a:dk2>
      <a:lt2>
        <a:srgbClr val="F0F0F0"/>
      </a:lt2>
      <a:accent1>
        <a:srgbClr val="005EB8"/>
      </a:accent1>
      <a:accent2>
        <a:srgbClr val="63666A"/>
      </a:accent2>
      <a:accent3>
        <a:srgbClr val="00B5E2"/>
      </a:accent3>
      <a:accent4>
        <a:srgbClr val="13294B"/>
      </a:accent4>
      <a:accent5>
        <a:srgbClr val="B1B3B3"/>
      </a:accent5>
      <a:accent6>
        <a:srgbClr val="00BF6F"/>
      </a:accent6>
      <a:hlink>
        <a:srgbClr val="005CB9"/>
      </a:hlink>
      <a:folHlink>
        <a:srgbClr val="00B5E2"/>
      </a:folHlink>
    </a:clrScheme>
    <a:fontScheme name="GE Office Fonts">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noFill/>
        <a:ln w="28575">
          <a:solidFill>
            <a:schemeClr val="accent2"/>
          </a:solidFill>
          <a:miter lim="800000"/>
        </a:ln>
      </a:spPr>
      <a:bodyPr/>
      <a:lstStyle/>
      <a:style>
        <a:lnRef idx="2">
          <a:schemeClr val="accent1">
            <a:shade val="50000"/>
          </a:schemeClr>
        </a:lnRef>
        <a:fillRef idx="1">
          <a:schemeClr val="accent1"/>
        </a:fillRef>
        <a:effectRef idx="0">
          <a:schemeClr val="accent1"/>
        </a:effectRef>
        <a:fontRef idx="minor">
          <a:schemeClr val="lt1"/>
        </a:fontRef>
      </a:style>
    </a:lnDef>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LAN078_GE PPT Template_20170130_5d" id="{EEAAA9A6-259D-416C-A90D-EE5CD6458EC5}" vid="{C873201F-992E-41B7-80DF-4729B2436BBF}"/>
    </a:ext>
  </a:extLst>
</a:theme>
</file>

<file path=ppt/theme/theme5.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_x0020_Date xmlns="6dfc6e00-eaa7-471f-8691-9b952787d5c9" xsi:nil="true"/>
    <Action xmlns="6dfc6e00-eaa7-471f-8691-9b952787d5c9">Keep</Action>
    <Keywords0 xmlns="6dfc6e00-eaa7-471f-8691-9b952787d5c9" xsi:nil="true"/>
    <Description_x0020_2 xmlns="6dfc6e00-eaa7-471f-8691-9b952787d5c9" xsi:nil="true"/>
    <Document_x0020_Type xmlns="6dfc6e00-eaa7-471f-8691-9b952787d5c9" xsi:nil="true"/>
    <Description0 xmlns="6dfc6e00-eaa7-471f-8691-9b952787d5c9" xsi:nil="true"/>
    <TaxCatchAll xmlns="cfe53b65-3c36-4587-b144-e9caa3012b85"/>
    <TaxKeywordTaxHTField xmlns="cfe53b65-3c36-4587-b144-e9caa3012b85">
      <Terms xmlns="http://schemas.microsoft.com/office/infopath/2007/PartnerControls"/>
    </TaxKeywordTaxHTField>
  </documentManagement>
</p:properties>
</file>

<file path=customXml/item2.xml><?xml version="1.0" encoding="utf-8"?>
<?mso-contentType ?>
<FormTemplates xmlns="http://schemas.microsoft.com/sharepoint/v3/contenttype/forms"/>
</file>

<file path=customXml/item3.xml><?xml version="1.0" encoding="utf-8"?>
<ct:contentTypeSchema xmlns:ct="http://schemas.microsoft.com/office/2006/metadata/contentType" xmlns:ma="http://schemas.microsoft.com/office/2006/metadata/properties/metaAttributes" ct:_="" ma:_="" ma:contentTypeName="Document" ma:contentTypeID="0x0101008CEA0F26C7743146B81ADA30DB412C57" ma:contentTypeVersion="30" ma:contentTypeDescription="" ma:contentTypeScope="" ma:versionID="d668751f2856d45ee00d63d8cccf028e">
  <xsd:schema xmlns:xsd="http://www.w3.org/2001/XMLSchema" xmlns:xs="http://www.w3.org/2001/XMLSchema" xmlns:p="http://schemas.microsoft.com/office/2006/metadata/properties" xmlns:ns1="http://schemas.microsoft.com/sharepoint/v3" xmlns:ns2="6dfc6e00-eaa7-471f-8691-9b952787d5c9" xmlns:ns3="cfe53b65-3c36-4587-b144-e9caa3012b85" targetNamespace="http://schemas.microsoft.com/office/2006/metadata/properties" ma:root="true" ma:fieldsID="5bf6c6996bc6d4b3bd22f31418018b28" ns1:_="" ns2:_="" ns3:_="">
    <xsd:import namespace="http://schemas.microsoft.com/sharepoint/v3"/>
    <xsd:import namespace="6dfc6e00-eaa7-471f-8691-9b952787d5c9"/>
    <xsd:import namespace="cfe53b65-3c36-4587-b144-e9caa3012b85"/>
    <xsd:element name="properties">
      <xsd:complexType>
        <xsd:sequence>
          <xsd:element name="documentManagement">
            <xsd:complexType>
              <xsd:all>
                <xsd:element ref="ns2:Document_x0020_Date" minOccurs="0"/>
                <xsd:element ref="ns2:Document_x0020_Type" minOccurs="0"/>
                <xsd:element ref="ns2:Description0" minOccurs="0"/>
                <xsd:element ref="ns2:Keywords0" minOccurs="0"/>
                <xsd:element ref="ns2:Description_x0020_2" minOccurs="0"/>
                <xsd:element ref="ns2:Action" minOccurs="0"/>
                <xsd:element ref="ns1:PublishingStartDate" minOccurs="0"/>
                <xsd:element ref="ns1:PublishingExpirationDate" minOccurs="0"/>
                <xsd:element ref="ns3:TaxKeywordTaxHTField" minOccurs="0"/>
                <xsd:element ref="ns3:TaxCatchAll"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0"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1"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dfc6e00-eaa7-471f-8691-9b952787d5c9" elementFormDefault="qualified">
    <xsd:import namespace="http://schemas.microsoft.com/office/2006/documentManagement/types"/>
    <xsd:import namespace="http://schemas.microsoft.com/office/infopath/2007/PartnerControls"/>
    <xsd:element name="Document_x0020_Date" ma:index="2" nillable="true" ma:displayName="Document Date" ma:format="DateOnly" ma:internalName="Document_x0020_Date" ma:readOnly="false">
      <xsd:simpleType>
        <xsd:restriction base="dms:DateTime"/>
      </xsd:simpleType>
    </xsd:element>
    <xsd:element name="Document_x0020_Type" ma:index="3" nillable="true" ma:displayName="Document Type" ma:format="Dropdown" ma:internalName="Document_x0020_Type" ma:readOnly="false">
      <xsd:simpleType>
        <xsd:restriction base="dms:Choice">
          <xsd:enumeration value="Agenda"/>
          <xsd:enumeration value="Draft Agenda"/>
          <xsd:enumeration value="Minutes"/>
          <xsd:enumeration value="Information"/>
        </xsd:restriction>
      </xsd:simpleType>
    </xsd:element>
    <xsd:element name="Description0" ma:index="4" nillable="true" ma:displayName="Description" ma:internalName="Description0" ma:readOnly="false">
      <xsd:simpleType>
        <xsd:restriction base="dms:Note">
          <xsd:maxLength value="255"/>
        </xsd:restriction>
      </xsd:simpleType>
    </xsd:element>
    <xsd:element name="Keywords0" ma:index="5" nillable="true" ma:displayName="Keywords" ma:internalName="Keywords0" ma:readOnly="false">
      <xsd:simpleType>
        <xsd:restriction base="dms:Text">
          <xsd:maxLength value="255"/>
        </xsd:restriction>
      </xsd:simpleType>
    </xsd:element>
    <xsd:element name="Description_x0020_2" ma:index="6" nillable="true" ma:displayName="Description 2" ma:internalName="Description_x0020_2" ma:readOnly="false">
      <xsd:simpleType>
        <xsd:restriction base="dms:Note">
          <xsd:maxLength value="255"/>
        </xsd:restriction>
      </xsd:simpleType>
    </xsd:element>
    <xsd:element name="Action" ma:index="9" nillable="true" ma:displayName="Action" ma:default="Keep" ma:format="Dropdown" ma:internalName="Action" ma:readOnly="false">
      <xsd:simpleType>
        <xsd:restriction base="dms:Choice">
          <xsd:enumeration value="Archive"/>
          <xsd:enumeration value="Delete"/>
          <xsd:enumeration value="HTML"/>
          <xsd:enumeration value="Keep"/>
        </xsd:restriction>
      </xsd:simpleType>
    </xsd:element>
  </xsd:schema>
  <xsd:schema xmlns:xsd="http://www.w3.org/2001/XMLSchema" xmlns:xs="http://www.w3.org/2001/XMLSchema" xmlns:dms="http://schemas.microsoft.com/office/2006/documentManagement/types" xmlns:pc="http://schemas.microsoft.com/office/infopath/2007/PartnerControls" targetNamespace="cfe53b65-3c36-4587-b144-e9caa3012b85" elementFormDefault="qualified">
    <xsd:import namespace="http://schemas.microsoft.com/office/2006/documentManagement/types"/>
    <xsd:import namespace="http://schemas.microsoft.com/office/infopath/2007/PartnerControls"/>
    <xsd:element name="TaxKeywordTaxHTField" ma:index="17" nillable="true" ma:taxonomy="true" ma:internalName="TaxKeywordTaxHTField" ma:taxonomyFieldName="TaxKeyword" ma:displayName="Enterprise Keywords" ma:fieldId="{23f27201-bee3-471e-b2e7-b64fd8b7ca38}" ma:taxonomyMulti="true" ma:sspId="8d75cb8a-db72-4bd2-8553-c0aa1f2d3d3b" ma:termSetId="00000000-0000-0000-0000-000000000000" ma:anchorId="00000000-0000-0000-0000-000000000000" ma:open="true" ma:isKeyword="true">
      <xsd:complexType>
        <xsd:sequence>
          <xsd:element ref="pc:Terms" minOccurs="0" maxOccurs="1"/>
        </xsd:sequence>
      </xsd:complexType>
    </xsd:element>
    <xsd:element name="TaxCatchAll" ma:index="18" nillable="true" ma:displayName="Taxonomy Catch All Column" ma:hidden="true" ma:list="{6de13bb9-1a86-497f-b15a-03a43ff14f46}" ma:internalName="TaxCatchAll" ma:showField="CatchAllData" ma:web="cfe53b65-3c36-4587-b144-e9caa3012b85">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file>

<file path=customXml/itemProps1.xml><?xml version="1.0" encoding="utf-8"?>
<ds:datastoreItem xmlns:ds="http://schemas.openxmlformats.org/officeDocument/2006/customXml" ds:itemID="{0FB46413-AC92-4495-B6AA-4C9AA11D1D30}"/>
</file>

<file path=customXml/itemProps2.xml><?xml version="1.0" encoding="utf-8"?>
<ds:datastoreItem xmlns:ds="http://schemas.openxmlformats.org/officeDocument/2006/customXml" ds:itemID="{0C739F1D-D2D5-4333-ADAC-6B81B705D1B0}"/>
</file>

<file path=customXml/itemProps3.xml><?xml version="1.0" encoding="utf-8"?>
<ds:datastoreItem xmlns:ds="http://schemas.openxmlformats.org/officeDocument/2006/customXml" ds:itemID="{9BABF5DC-4BAB-4F2B-936D-A22832F02B35}"/>
</file>

<file path=customXml/itemProps4.xml><?xml version="1.0" encoding="utf-8"?>
<ds:datastoreItem xmlns:ds="http://schemas.openxmlformats.org/officeDocument/2006/customXml" ds:itemID="{0C739F1D-D2D5-4333-ADAC-6B81B705D1B0}"/>
</file>

<file path=docProps/app.xml><?xml version="1.0" encoding="utf-8"?>
<Properties xmlns="http://schemas.openxmlformats.org/officeDocument/2006/extended-properties" xmlns:vt="http://schemas.openxmlformats.org/officeDocument/2006/docPropsVTypes">
  <Template>blank</Template>
  <TotalTime>4735</TotalTime>
  <Words>2323</Words>
  <Application>Microsoft Office PowerPoint</Application>
  <PresentationFormat>Widescreen</PresentationFormat>
  <Paragraphs>395</Paragraphs>
  <Slides>23</Slides>
  <Notes>4</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35" baseType="lpstr">
      <vt:lpstr>Arial</vt:lpstr>
      <vt:lpstr>Calibri</vt:lpstr>
      <vt:lpstr>Courier New</vt:lpstr>
      <vt:lpstr>GE Inspira</vt:lpstr>
      <vt:lpstr>GE Inspira Pitch</vt:lpstr>
      <vt:lpstr>GE Inspira Sans</vt:lpstr>
      <vt:lpstr>Wingdings</vt:lpstr>
      <vt:lpstr>GE</vt:lpstr>
      <vt:lpstr>1_GE</vt:lpstr>
      <vt:lpstr>5_GE</vt:lpstr>
      <vt:lpstr>6_GE</vt:lpstr>
      <vt:lpstr>Diapositive think-cell</vt:lpstr>
      <vt:lpstr>Value and Use Cases for Energy Storage in Southern Africa</vt:lpstr>
      <vt:lpstr>Agenda</vt:lpstr>
      <vt:lpstr>Evolving energy transition globally and in Southern Africa</vt:lpstr>
      <vt:lpstr>PowerPoint Presentation</vt:lpstr>
      <vt:lpstr>PowerPoint Presentation</vt:lpstr>
      <vt:lpstr>PowerPoint Presentation</vt:lpstr>
      <vt:lpstr>Energy Storage as an enabler for RE penetration</vt:lpstr>
      <vt:lpstr>Impact of high Renewable integration on grid operation…</vt:lpstr>
      <vt:lpstr>Grid-scale energy storage as an enabler for RE integration…</vt:lpstr>
      <vt:lpstr>Integrated System Planning Studies are key to unlocking resiliency for tomorrow’s grid…</vt:lpstr>
      <vt:lpstr>GE Energy Consulting Power System Experts For &gt;100 Years</vt:lpstr>
      <vt:lpstr>Energy Storage use case primer</vt:lpstr>
      <vt:lpstr>PowerPoint Presentation</vt:lpstr>
      <vt:lpstr>Grid-scale Energy Storage Use Case and Value …</vt:lpstr>
      <vt:lpstr>PowerPoint Presentation</vt:lpstr>
      <vt:lpstr>PowerPoint Presentation</vt:lpstr>
      <vt:lpstr>PowerPoint Presentation</vt:lpstr>
      <vt:lpstr>PowerPoint Presentation</vt:lpstr>
      <vt:lpstr>Stackable Value Streams for Energy Storage Systems</vt:lpstr>
      <vt:lpstr>PowerPoint Presentation</vt:lpstr>
      <vt:lpstr>Worldwide Energy Storage Deployment by Technology</vt:lpstr>
      <vt:lpstr>GE has the Energy Storage integration solution to support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alue and Use Cases for Energy Storage for Southern Africa</dc:title>
  <dc:creator>Djan-Sampson, Patrick (GE Gas Power)</dc:creator>
  <dc:description>Version 1.08
Job 1437
August 25, 2016</dc:description>
  <cp:lastModifiedBy>Djan-Sampson, Patrick (GE Gas Power)</cp:lastModifiedBy>
  <cp:revision>64</cp:revision>
  <dcterms:created xsi:type="dcterms:W3CDTF">2021-10-11T14:50:13Z</dcterms:created>
  <dcterms:modified xsi:type="dcterms:W3CDTF">2021-10-18T09:1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CEA0F26C7743146B81ADA30DB412C57</vt:lpwstr>
  </property>
  <property fmtid="{D5CDD505-2E9C-101B-9397-08002B2CF9AE}" pid="3" name="_dlc_DocIdItemGuid">
    <vt:lpwstr>029bc783-6499-4126-918e-444653aa8783</vt:lpwstr>
  </property>
</Properties>
</file>